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2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3.xml" ContentType="application/vnd.openxmlformats-officedocument.presentationml.notesSlid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3"/>
  </p:sldMasterIdLst>
  <p:notesMasterIdLst>
    <p:notesMasterId r:id="rId11"/>
  </p:notesMasterIdLst>
  <p:sldIdLst>
    <p:sldId id="262" r:id="rId4"/>
    <p:sldId id="2147308876" r:id="rId5"/>
    <p:sldId id="270" r:id="rId6"/>
    <p:sldId id="499" r:id="rId7"/>
    <p:sldId id="2147375949" r:id="rId8"/>
    <p:sldId id="2147481327" r:id="rId9"/>
    <p:sldId id="506" r:id="rId10"/>
  </p:sldIdLst>
  <p:sldSz cx="12192000" cy="6858000"/>
  <p:notesSz cx="6797675" cy="9926638"/>
  <p:custDataLst>
    <p:tags r:id="rId12"/>
  </p:custDataLst>
  <p:defaultTextStyle>
    <a:defPPr>
      <a:defRPr lang="en-US"/>
    </a:defPPr>
    <a:lvl1pPr marL="177800" indent="-177800" algn="l" defTabSz="711200" rtl="0" eaLnBrk="1" latinLnBrk="0" hangingPunct="1">
      <a:spcBef>
        <a:spcPts val="1200"/>
      </a:spcBef>
      <a:buChar char="•"/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3556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5334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7112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8890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0668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12446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14224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16002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5C5C5C"/>
    <a:srgbClr val="FAEEC3"/>
    <a:srgbClr val="F2DE8A"/>
    <a:srgbClr val="E9CD49"/>
    <a:srgbClr val="C6AA3D"/>
    <a:srgbClr val="AB8933"/>
    <a:srgbClr val="FAECDB"/>
    <a:srgbClr val="EDDABD"/>
    <a:srgbClr val="CFB7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2D5ABB26-0587-4C30-8999-92F81FD0307C}">
  <a:tblStyle styleId="{9D7B26C5-4107-4FEC-AEDC-1716B250A1EF}" styleName="Light Style 1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9525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solidFill>
            <a:schemeClr val="dk2"/>
          </a:solidFill>
        </a:fill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firstCol>
      <a:tcTxStyle b="on"/>
      <a:tcStyle>
        <a:tcBdr/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1905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accent3"/>
      </a:tcTxStyle>
      <a:tcStyle>
        <a:tcBdr>
          <a:bottom>
            <a:ln w="19050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8" autoAdjust="0"/>
    <p:restoredTop sz="96552" autoAdjust="0"/>
  </p:normalViewPr>
  <p:slideViewPr>
    <p:cSldViewPr snapToGrid="0">
      <p:cViewPr varScale="1">
        <p:scale>
          <a:sx n="81" d="100"/>
          <a:sy n="81" d="100"/>
        </p:scale>
        <p:origin x="58" y="40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presProps" Target="presProps.xml"/><Relationship Id="rId3" Type="http://schemas.openxmlformats.org/officeDocument/2006/relationships/slideMaster" Target="slideMasters/slideMaster1.xml"/><Relationship Id="rId7" Type="http://schemas.openxmlformats.org/officeDocument/2006/relationships/slide" Target="slides/slide4.xml"/><Relationship Id="rId12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2.xml"/><Relationship Id="rId15" Type="http://schemas.openxmlformats.org/officeDocument/2006/relationships/theme" Target="theme/theme1.xml"/><Relationship Id="rId10" Type="http://schemas.openxmlformats.org/officeDocument/2006/relationships/slide" Target="slides/slide7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0F9B5AA-1095-4580-8312-6A915A1D7434}" type="datetimeFigureOut">
              <a:rPr lang="en-US" smtClean="0"/>
              <a:t>6/13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FB13AD5-406F-42FF-8886-7F8F879BEA7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23470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B49BFF-DC3D-432B-B392-E7224AD6375D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14225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5DD7D2-C204-4161-A302-41E42271F293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14912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A65A675-2167-40D4-A784-14D39E5980A8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86550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334963" y="5077602"/>
            <a:ext cx="88485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>
              <a:buNone/>
            </a:pPr>
            <a:r>
              <a:rPr lang="en-US" sz="1600" b="1" cap="all" spc="300" baseline="0" dirty="0">
                <a:solidFill>
                  <a:schemeClr val="tx1"/>
                </a:solidFill>
              </a:rPr>
              <a:t>Draft</a:t>
            </a:r>
          </a:p>
        </p:txBody>
      </p:sp>
      <p:cxnSp>
        <p:nvCxnSpPr>
          <p:cNvPr id="5" name="SeparatorLine"/>
          <p:cNvCxnSpPr/>
          <p:nvPr userDrawn="1"/>
        </p:nvCxnSpPr>
        <p:spPr>
          <a:xfrm>
            <a:off x="0" y="4873803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lientLogo"/>
          <p:cNvSpPr>
            <a:spLocks noGrp="1"/>
          </p:cNvSpPr>
          <p:nvPr>
            <p:ph type="pic" sz="quarter" idx="10"/>
          </p:nvPr>
        </p:nvSpPr>
        <p:spPr>
          <a:xfrm>
            <a:off x="8617039" y="3364443"/>
            <a:ext cx="3239999" cy="139964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8" name="Disclaimer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5468" y="6547288"/>
            <a:ext cx="6407451" cy="274344"/>
          </a:xfrm>
          <a:prstGeom prst="rect">
            <a:avLst/>
          </a:prstGeom>
        </p:spPr>
      </p:pic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334965" y="2420938"/>
            <a:ext cx="11522075" cy="90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add subtitle/contacts/date</a:t>
            </a: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>
          <a:xfrm>
            <a:off x="334964" y="1268413"/>
            <a:ext cx="11522075" cy="900112"/>
          </a:xfrm>
        </p:spPr>
        <p:txBody>
          <a:bodyPr anchor="b"/>
          <a:lstStyle>
            <a:lvl1pPr algn="l">
              <a:spcBef>
                <a:spcPts val="0"/>
              </a:spcBef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12046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42924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cxnSp>
        <p:nvCxnSpPr>
          <p:cNvPr id="39" name="SeparatorLine"/>
          <p:cNvCxnSpPr/>
          <p:nvPr userDrawn="1"/>
        </p:nvCxnSpPr>
        <p:spPr>
          <a:xfrm>
            <a:off x="0" y="5481638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8732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53" userDrawn="1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634442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949F73F-40C4-459A-87F2-5B4A916D8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439456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606" imgH="608" progId="TCLayout.ActiveDocument.1">
                  <p:embed/>
                </p:oleObj>
              </mc:Choice>
              <mc:Fallback>
                <p:oleObj name="think-cell Slide" r:id="rId7" imgW="606" imgH="6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tfpConfiguration" hidden="1"/>
          <p:cNvSpPr txBox="1"/>
          <p:nvPr userDrawn="1"/>
        </p:nvSpPr>
        <p:spPr bwMode="hidden">
          <a:xfrm>
            <a:off x="0" y="0"/>
            <a:ext cx="36000" cy="36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100">
                <a:solidFill>
                  <a:schemeClr val="bg1">
                    <a:alpha val="0"/>
                  </a:schemeClr>
                </a:solidFill>
              </a:rPr>
              <a:t>&lt;BTFP&gt;&lt;!-- BTFPCONFIGURATION:3C627466703E0D0A20203C74656D706C6174652076657273696F6E3D22322E342E302220747970653D226272616E64656422207061676553697A653D227769646573637265656E22202F3E0D0A20203C4775696465733E0D0A202020203C4C656674477569646520786D6C6E733D22323622202F3E0D0A202020203C5269676874477569646520786D6C6E733D2239333422202F3E0D0A202020203C5570706572537469636B6572477569646520786D6C6E733D22363922202F3E0D0A202020203C4C6F776572537469636B6572477569646520786D6C6E733D2231303022202F3E0D0A202020203C426F74746F6D477569646520786D6C6E733D2235313722202F3E0D0A20203C2F4775696465733E0D0A3C2F627466703E --&gt;&lt;/BTFP&gt;</a:t>
            </a:r>
            <a:endParaRPr lang="en-US" sz="100" dirty="0">
              <a:solidFill>
                <a:schemeClr val="bg1">
                  <a:alpha val="0"/>
                </a:schemeClr>
              </a:solidFill>
            </a:endParaRPr>
          </a:p>
        </p:txBody>
      </p:sp>
      <p:sp>
        <p:nvSpPr>
          <p:cNvPr id="19" name="SlideNumber"/>
          <p:cNvSpPr/>
          <p:nvPr userDrawn="1"/>
        </p:nvSpPr>
        <p:spPr bwMode="gray">
          <a:xfrm>
            <a:off x="11715975" y="6649694"/>
            <a:ext cx="141064" cy="138499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spAutoFit/>
          </a:bodyPr>
          <a:lstStyle/>
          <a:p>
            <a:pPr marL="0" indent="0" algn="r" defTabSz="711200" rtl="0" eaLnBrk="1" latinLnBrk="0" hangingPunct="1">
              <a:spcBef>
                <a:spcPts val="1200"/>
              </a:spcBef>
              <a:buNone/>
            </a:pPr>
            <a:fld id="{BB69BBE8-4DB2-4642-B003-B220ACD5A2FD}" type="slidenum">
              <a:rPr lang="en-US" sz="900" b="0" baseline="0" smtClean="0">
                <a:solidFill>
                  <a:schemeClr val="bg2"/>
                </a:solidFill>
                <a:latin typeface="+mn-lt"/>
              </a:rPr>
              <a:pPr marL="0" indent="0" algn="r" defTabSz="711200" rtl="0" eaLnBrk="1" latinLnBrk="0" hangingPunct="1">
                <a:spcBef>
                  <a:spcPts val="1200"/>
                </a:spcBef>
                <a:buNone/>
              </a:pPr>
              <a:t>‹#›</a:t>
            </a:fld>
            <a:endParaRPr lang="en-US" sz="900" b="0" dirty="0">
              <a:solidFill>
                <a:schemeClr val="bg2"/>
              </a:solidFill>
              <a:latin typeface="+mn-lt"/>
            </a:endParaRPr>
          </a:p>
        </p:txBody>
      </p:sp>
      <p:pic>
        <p:nvPicPr>
          <p:cNvPr id="12" name="BainLogo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0000" y="6654664"/>
            <a:ext cx="1152000" cy="144000"/>
          </a:xfrm>
          <a:prstGeom prst="rect">
            <a:avLst/>
          </a:prstGeom>
        </p:spPr>
      </p:pic>
      <p:sp>
        <p:nvSpPr>
          <p:cNvPr id="8" name="CreatedFooter"/>
          <p:cNvSpPr/>
          <p:nvPr userDrawn="1"/>
        </p:nvSpPr>
        <p:spPr>
          <a:xfrm>
            <a:off x="8263033" y="6642830"/>
            <a:ext cx="1368171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CDD sample</a:t>
            </a:r>
            <a:endParaRPr lang="en-US" sz="600" dirty="0">
              <a:solidFill>
                <a:srgbClr val="FFFFFF"/>
              </a:solidFill>
            </a:endParaRPr>
          </a:p>
        </p:txBody>
      </p:sp>
      <p:sp>
        <p:nvSpPr>
          <p:cNvPr id="7" name="OfficeCode"/>
          <p:cNvSpPr/>
          <p:nvPr userDrawn="1"/>
        </p:nvSpPr>
        <p:spPr>
          <a:xfrm>
            <a:off x="7348519" y="6642830"/>
            <a:ext cx="288036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DBS</a:t>
            </a:r>
            <a:endParaRPr lang="en-US" sz="600" dirty="0">
              <a:solidFill>
                <a:srgbClr val="FFFFFF"/>
              </a:solidFill>
            </a:endParaRPr>
          </a:p>
        </p:txBody>
      </p:sp>
      <p:pic>
        <p:nvPicPr>
          <p:cNvPr id="14" name="Disclaimer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316547" y="6641266"/>
            <a:ext cx="6407451" cy="176799"/>
          </a:xfrm>
          <a:prstGeom prst="rect">
            <a:avLst/>
          </a:prstGeom>
        </p:spPr>
      </p:pic>
      <p:cxnSp>
        <p:nvCxnSpPr>
          <p:cNvPr id="20" name="FooterSeparatorLine"/>
          <p:cNvCxnSpPr/>
          <p:nvPr userDrawn="1"/>
        </p:nvCxnSpPr>
        <p:spPr>
          <a:xfrm>
            <a:off x="0" y="6598800"/>
            <a:ext cx="11857037" cy="0"/>
          </a:xfrm>
          <a:prstGeom prst="line">
            <a:avLst/>
          </a:prstGeom>
          <a:ln w="9525" cap="flat">
            <a:solidFill>
              <a:schemeClr val="accent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334435" y="1268413"/>
            <a:ext cx="11522603" cy="5292725"/>
          </a:xfrm>
          <a:prstGeom prst="rect">
            <a:avLst/>
          </a:prstGeom>
        </p:spPr>
        <p:txBody>
          <a:bodyPr vert="horz" lIns="36000" tIns="36000" rIns="36000" bIns="3600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23" name="TitleSeparatorLine"/>
          <p:cNvCxnSpPr/>
          <p:nvPr userDrawn="1"/>
        </p:nvCxnSpPr>
        <p:spPr>
          <a:xfrm>
            <a:off x="0" y="873125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Title"/>
          <p:cNvSpPr>
            <a:spLocks noGrp="1"/>
          </p:cNvSpPr>
          <p:nvPr>
            <p:ph type="title"/>
          </p:nvPr>
        </p:nvSpPr>
        <p:spPr>
          <a:xfrm>
            <a:off x="334963" y="1"/>
            <a:ext cx="11522075" cy="876687"/>
          </a:xfrm>
          <a:prstGeom prst="rect">
            <a:avLst/>
          </a:prstGeom>
        </p:spPr>
        <p:txBody>
          <a:bodyPr vert="horz" lIns="36000" tIns="36000" rIns="36000" bIns="7200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9795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63" r:id="rId3"/>
    <p:sldLayoutId id="2147483655" r:id="rId4"/>
  </p:sldLayoutIdLst>
  <p:txStyles>
    <p:titleStyle>
      <a:lvl1pPr algn="l" defTabSz="7112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354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4988" indent="-173038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177800" indent="-177800" algn="l" defTabSz="711200" rtl="0" eaLnBrk="1" latinLnBrk="0" hangingPunct="1">
        <a:spcBef>
          <a:spcPts val="1200"/>
        </a:spcBef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34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12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890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668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446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4224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6002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50" userDrawn="1">
          <p15:clr>
            <a:srgbClr val="D1D1D1"/>
          </p15:clr>
        </p15:guide>
        <p15:guide id="4" orient="horz" pos="799" userDrawn="1">
          <p15:clr>
            <a:srgbClr val="D1D1D1"/>
          </p15:clr>
        </p15:guide>
        <p15:guide id="7" orient="horz" pos="4133" userDrawn="1">
          <p15:clr>
            <a:srgbClr val="D1D1D1"/>
          </p15:clr>
        </p15:guide>
        <p15:guide id="8" pos="208" userDrawn="1">
          <p15:clr>
            <a:srgbClr val="CCCCCC"/>
          </p15:clr>
        </p15:guide>
        <p15:guide id="9" pos="7472" userDrawn="1">
          <p15:clr>
            <a:srgbClr val="CCCCCC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5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5" Type="http://schemas.openxmlformats.org/officeDocument/2006/relationships/tags" Target="../tags/tag7.xml"/><Relationship Id="rId10" Type="http://schemas.openxmlformats.org/officeDocument/2006/relationships/image" Target="../media/image6.jpeg"/><Relationship Id="rId4" Type="http://schemas.openxmlformats.org/officeDocument/2006/relationships/tags" Target="../tags/tag6.xml"/><Relationship Id="rId9" Type="http://schemas.openxmlformats.org/officeDocument/2006/relationships/image" Target="../media/image5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3" Type="http://schemas.openxmlformats.org/officeDocument/2006/relationships/tags" Target="../tags/tag11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tags" Target="../tags/tag14.xml"/><Relationship Id="rId11" Type="http://schemas.openxmlformats.org/officeDocument/2006/relationships/image" Target="../media/image6.jpeg"/><Relationship Id="rId5" Type="http://schemas.openxmlformats.org/officeDocument/2006/relationships/tags" Target="../tags/tag13.xml"/><Relationship Id="rId10" Type="http://schemas.openxmlformats.org/officeDocument/2006/relationships/image" Target="../media/image5.emf"/><Relationship Id="rId4" Type="http://schemas.openxmlformats.org/officeDocument/2006/relationships/tags" Target="../tags/tag12.xml"/><Relationship Id="rId9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17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5" Type="http://schemas.openxmlformats.org/officeDocument/2006/relationships/tags" Target="../tags/tag19.xml"/><Relationship Id="rId10" Type="http://schemas.openxmlformats.org/officeDocument/2006/relationships/image" Target="../media/image6.jpeg"/><Relationship Id="rId4" Type="http://schemas.openxmlformats.org/officeDocument/2006/relationships/tags" Target="../tags/tag18.xml"/><Relationship Id="rId9" Type="http://schemas.openxmlformats.org/officeDocument/2006/relationships/image" Target="../media/image5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13" Type="http://schemas.openxmlformats.org/officeDocument/2006/relationships/image" Target="../media/image1.emf"/><Relationship Id="rId18" Type="http://schemas.openxmlformats.org/officeDocument/2006/relationships/image" Target="../media/image10.emf"/><Relationship Id="rId3" Type="http://schemas.openxmlformats.org/officeDocument/2006/relationships/tags" Target="../tags/tag23.xml"/><Relationship Id="rId7" Type="http://schemas.openxmlformats.org/officeDocument/2006/relationships/tags" Target="../tags/tag27.xml"/><Relationship Id="rId12" Type="http://schemas.openxmlformats.org/officeDocument/2006/relationships/oleObject" Target="../embeddings/oleObject5.bin"/><Relationship Id="rId17" Type="http://schemas.openxmlformats.org/officeDocument/2006/relationships/image" Target="../media/image9.emf"/><Relationship Id="rId2" Type="http://schemas.openxmlformats.org/officeDocument/2006/relationships/tags" Target="../tags/tag22.xml"/><Relationship Id="rId16" Type="http://schemas.openxmlformats.org/officeDocument/2006/relationships/image" Target="../media/image8.emf"/><Relationship Id="rId1" Type="http://schemas.openxmlformats.org/officeDocument/2006/relationships/tags" Target="../tags/tag21.xml"/><Relationship Id="rId6" Type="http://schemas.openxmlformats.org/officeDocument/2006/relationships/tags" Target="../tags/tag26.xml"/><Relationship Id="rId11" Type="http://schemas.openxmlformats.org/officeDocument/2006/relationships/notesSlide" Target="../notesSlides/notesSlide2.xml"/><Relationship Id="rId5" Type="http://schemas.openxmlformats.org/officeDocument/2006/relationships/tags" Target="../tags/tag25.xml"/><Relationship Id="rId15" Type="http://schemas.openxmlformats.org/officeDocument/2006/relationships/image" Target="../media/image7.emf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24.xml"/><Relationship Id="rId9" Type="http://schemas.openxmlformats.org/officeDocument/2006/relationships/tags" Target="../tags/tag29.xml"/><Relationship Id="rId14" Type="http://schemas.openxmlformats.org/officeDocument/2006/relationships/image" Target="../media/image6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2.xml"/><Relationship Id="rId7" Type="http://schemas.openxmlformats.org/officeDocument/2006/relationships/oleObject" Target="../embeddings/oleObject6.bin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34.xml"/><Relationship Id="rId10" Type="http://schemas.openxmlformats.org/officeDocument/2006/relationships/image" Target="../media/image11.emf"/><Relationship Id="rId4" Type="http://schemas.openxmlformats.org/officeDocument/2006/relationships/tags" Target="../tags/tag33.xml"/><Relationship Id="rId9" Type="http://schemas.openxmlformats.org/officeDocument/2006/relationships/image" Target="../media/image6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42.xml"/><Relationship Id="rId13" Type="http://schemas.openxmlformats.org/officeDocument/2006/relationships/oleObject" Target="../embeddings/oleObject7.bin"/><Relationship Id="rId3" Type="http://schemas.openxmlformats.org/officeDocument/2006/relationships/tags" Target="../tags/tag37.xml"/><Relationship Id="rId7" Type="http://schemas.openxmlformats.org/officeDocument/2006/relationships/tags" Target="../tags/tag41.xml"/><Relationship Id="rId12" Type="http://schemas.openxmlformats.org/officeDocument/2006/relationships/notesSlide" Target="../notesSlides/notesSlide3.xml"/><Relationship Id="rId2" Type="http://schemas.openxmlformats.org/officeDocument/2006/relationships/tags" Target="../tags/tag36.xml"/><Relationship Id="rId16" Type="http://schemas.openxmlformats.org/officeDocument/2006/relationships/image" Target="../media/image12.emf"/><Relationship Id="rId1" Type="http://schemas.openxmlformats.org/officeDocument/2006/relationships/tags" Target="../tags/tag35.xml"/><Relationship Id="rId6" Type="http://schemas.openxmlformats.org/officeDocument/2006/relationships/tags" Target="../tags/tag40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39.xml"/><Relationship Id="rId15" Type="http://schemas.openxmlformats.org/officeDocument/2006/relationships/image" Target="../media/image6.jpeg"/><Relationship Id="rId10" Type="http://schemas.openxmlformats.org/officeDocument/2006/relationships/tags" Target="../tags/tag44.xml"/><Relationship Id="rId4" Type="http://schemas.openxmlformats.org/officeDocument/2006/relationships/tags" Target="../tags/tag38.xml"/><Relationship Id="rId9" Type="http://schemas.openxmlformats.org/officeDocument/2006/relationships/tags" Target="../tags/tag43.xml"/><Relationship Id="rId14" Type="http://schemas.openxmlformats.org/officeDocument/2006/relationships/image" Target="../media/image5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52.xml"/><Relationship Id="rId13" Type="http://schemas.openxmlformats.org/officeDocument/2006/relationships/tags" Target="../tags/tag57.xml"/><Relationship Id="rId18" Type="http://schemas.openxmlformats.org/officeDocument/2006/relationships/image" Target="../media/image13.emf"/><Relationship Id="rId3" Type="http://schemas.openxmlformats.org/officeDocument/2006/relationships/tags" Target="../tags/tag47.xml"/><Relationship Id="rId7" Type="http://schemas.openxmlformats.org/officeDocument/2006/relationships/tags" Target="../tags/tag51.xml"/><Relationship Id="rId12" Type="http://schemas.openxmlformats.org/officeDocument/2006/relationships/tags" Target="../tags/tag56.xml"/><Relationship Id="rId17" Type="http://schemas.openxmlformats.org/officeDocument/2006/relationships/image" Target="../media/image6.jpeg"/><Relationship Id="rId2" Type="http://schemas.openxmlformats.org/officeDocument/2006/relationships/tags" Target="../tags/tag46.xml"/><Relationship Id="rId16" Type="http://schemas.openxmlformats.org/officeDocument/2006/relationships/image" Target="../media/image5.emf"/><Relationship Id="rId1" Type="http://schemas.openxmlformats.org/officeDocument/2006/relationships/tags" Target="../tags/tag45.xml"/><Relationship Id="rId6" Type="http://schemas.openxmlformats.org/officeDocument/2006/relationships/tags" Target="../tags/tag50.xml"/><Relationship Id="rId11" Type="http://schemas.openxmlformats.org/officeDocument/2006/relationships/tags" Target="../tags/tag55.xml"/><Relationship Id="rId5" Type="http://schemas.openxmlformats.org/officeDocument/2006/relationships/tags" Target="../tags/tag49.xml"/><Relationship Id="rId15" Type="http://schemas.openxmlformats.org/officeDocument/2006/relationships/oleObject" Target="../embeddings/oleObject8.bin"/><Relationship Id="rId10" Type="http://schemas.openxmlformats.org/officeDocument/2006/relationships/tags" Target="../tags/tag54.xml"/><Relationship Id="rId4" Type="http://schemas.openxmlformats.org/officeDocument/2006/relationships/tags" Target="../tags/tag48.xml"/><Relationship Id="rId9" Type="http://schemas.openxmlformats.org/officeDocument/2006/relationships/tags" Target="../tags/tag53.xml"/><Relationship Id="rId1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635CE4E3-2DD3-5820-7065-A273A28B2B8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95" imgH="396" progId="TCLayout.ActiveDocument.1">
                  <p:embed/>
                </p:oleObj>
              </mc:Choice>
              <mc:Fallback>
                <p:oleObj name="think-cell Slide" r:id="rId8" imgW="395" imgH="396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5CE4E3-2DD3-5820-7065-A273A28B2B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 descr="Red and black diagonal lines">
            <a:extLst>
              <a:ext uri="{FF2B5EF4-FFF2-40B4-BE49-F238E27FC236}">
                <a16:creationId xmlns:a16="http://schemas.microsoft.com/office/drawing/2014/main" id="{14224848-9653-5F18-9717-230F363A53E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-25733"/>
            <a:ext cx="12191999" cy="843464"/>
          </a:xfrm>
          <a:prstGeom prst="rect">
            <a:avLst/>
          </a:prstGeom>
        </p:spPr>
      </p:pic>
      <p:grpSp>
        <p:nvGrpSpPr>
          <p:cNvPr id="12" name="btfpColumnIndicatorGroup2">
            <a:extLst>
              <a:ext uri="{FF2B5EF4-FFF2-40B4-BE49-F238E27FC236}">
                <a16:creationId xmlns:a16="http://schemas.microsoft.com/office/drawing/2014/main" id="{2A6773FB-F5E8-00E4-9081-A613527249BB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0" name="btfpColumnGapBlocker867842">
              <a:extLst>
                <a:ext uri="{FF2B5EF4-FFF2-40B4-BE49-F238E27FC236}">
                  <a16:creationId xmlns:a16="http://schemas.microsoft.com/office/drawing/2014/main" id="{FD2DEBA0-694B-50C9-FAA9-9619C9359094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8" name="btfpColumnGapBlocker320638">
              <a:extLst>
                <a:ext uri="{FF2B5EF4-FFF2-40B4-BE49-F238E27FC236}">
                  <a16:creationId xmlns:a16="http://schemas.microsoft.com/office/drawing/2014/main" id="{45F38BAF-5D6A-055B-CB38-0BA7690A71F2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6" name="btfpColumnIndicator448207">
              <a:extLst>
                <a:ext uri="{FF2B5EF4-FFF2-40B4-BE49-F238E27FC236}">
                  <a16:creationId xmlns:a16="http://schemas.microsoft.com/office/drawing/2014/main" id="{6AE37EC0-A779-2298-A744-C4C5AC5A05B8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745492">
              <a:extLst>
                <a:ext uri="{FF2B5EF4-FFF2-40B4-BE49-F238E27FC236}">
                  <a16:creationId xmlns:a16="http://schemas.microsoft.com/office/drawing/2014/main" id="{21A359F3-41A6-B654-B280-1E0378286030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btfpColumnIndicatorGroup1">
            <a:extLst>
              <a:ext uri="{FF2B5EF4-FFF2-40B4-BE49-F238E27FC236}">
                <a16:creationId xmlns:a16="http://schemas.microsoft.com/office/drawing/2014/main" id="{D4B67C90-ADDF-744B-0603-414FA13EE885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9" name="btfpColumnGapBlocker318071">
              <a:extLst>
                <a:ext uri="{FF2B5EF4-FFF2-40B4-BE49-F238E27FC236}">
                  <a16:creationId xmlns:a16="http://schemas.microsoft.com/office/drawing/2014/main" id="{7AD47816-DC97-ECF9-5D6A-AE7579BF926A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7" name="btfpColumnGapBlocker981458">
              <a:extLst>
                <a:ext uri="{FF2B5EF4-FFF2-40B4-BE49-F238E27FC236}">
                  <a16:creationId xmlns:a16="http://schemas.microsoft.com/office/drawing/2014/main" id="{E5A4BDAC-BE05-F064-869A-19B64CC1B06D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5" name="btfpColumnIndicator980980">
              <a:extLst>
                <a:ext uri="{FF2B5EF4-FFF2-40B4-BE49-F238E27FC236}">
                  <a16:creationId xmlns:a16="http://schemas.microsoft.com/office/drawing/2014/main" id="{A748F3FB-725F-FFC2-4994-895B8361E156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btfpColumnIndicator611980">
              <a:extLst>
                <a:ext uri="{FF2B5EF4-FFF2-40B4-BE49-F238E27FC236}">
                  <a16:creationId xmlns:a16="http://schemas.microsoft.com/office/drawing/2014/main" id="{60457498-030E-5BFA-AE43-4E860C574026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DA221548-7DCA-1C00-B2A4-5E64ABDD8B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b="1">
                <a:solidFill>
                  <a:schemeClr val="bg1"/>
                </a:solidFill>
              </a:rPr>
              <a:t>Market sizing:</a:t>
            </a:r>
            <a:r>
              <a:rPr lang="en-GB">
                <a:solidFill>
                  <a:schemeClr val="bg1"/>
                </a:solidFill>
              </a:rPr>
              <a:t> US data backup and recovery software’s TAM estimated at ~$5.7B; currently served market is ~$4.3B, implying ~75% penetration of TAM</a:t>
            </a:r>
            <a:endParaRPr lang="en-US">
              <a:solidFill>
                <a:schemeClr val="bg1"/>
              </a:solidFill>
            </a:endParaRPr>
          </a:p>
        </p:txBody>
      </p:sp>
      <p:graphicFrame>
        <p:nvGraphicFramePr>
          <p:cNvPr id="15" name="btfpTable255823">
            <a:extLst>
              <a:ext uri="{FF2B5EF4-FFF2-40B4-BE49-F238E27FC236}">
                <a16:creationId xmlns:a16="http://schemas.microsoft.com/office/drawing/2014/main" id="{C8B6EAA9-1273-E565-83D0-EBDF640C82C7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1270000"/>
          <a:ext cx="11531599" cy="472846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709283">
                  <a:extLst>
                    <a:ext uri="{9D8B030D-6E8A-4147-A177-3AD203B41FA5}">
                      <a16:colId xmlns:a16="http://schemas.microsoft.com/office/drawing/2014/main" val="2192929484"/>
                    </a:ext>
                  </a:extLst>
                </a:gridCol>
                <a:gridCol w="1123692">
                  <a:extLst>
                    <a:ext uri="{9D8B030D-6E8A-4147-A177-3AD203B41FA5}">
                      <a16:colId xmlns:a16="http://schemas.microsoft.com/office/drawing/2014/main" val="1474087256"/>
                    </a:ext>
                  </a:extLst>
                </a:gridCol>
                <a:gridCol w="929641">
                  <a:extLst>
                    <a:ext uri="{9D8B030D-6E8A-4147-A177-3AD203B41FA5}">
                      <a16:colId xmlns:a16="http://schemas.microsoft.com/office/drawing/2014/main" val="455533319"/>
                    </a:ext>
                  </a:extLst>
                </a:gridCol>
                <a:gridCol w="881721">
                  <a:extLst>
                    <a:ext uri="{9D8B030D-6E8A-4147-A177-3AD203B41FA5}">
                      <a16:colId xmlns:a16="http://schemas.microsoft.com/office/drawing/2014/main" val="4063381965"/>
                    </a:ext>
                  </a:extLst>
                </a:gridCol>
                <a:gridCol w="872138">
                  <a:extLst>
                    <a:ext uri="{9D8B030D-6E8A-4147-A177-3AD203B41FA5}">
                      <a16:colId xmlns:a16="http://schemas.microsoft.com/office/drawing/2014/main" val="2517521430"/>
                    </a:ext>
                  </a:extLst>
                </a:gridCol>
                <a:gridCol w="795466">
                  <a:extLst>
                    <a:ext uri="{9D8B030D-6E8A-4147-A177-3AD203B41FA5}">
                      <a16:colId xmlns:a16="http://schemas.microsoft.com/office/drawing/2014/main" val="2992676627"/>
                    </a:ext>
                  </a:extLst>
                </a:gridCol>
                <a:gridCol w="4219658">
                  <a:extLst>
                    <a:ext uri="{9D8B030D-6E8A-4147-A177-3AD203B41FA5}">
                      <a16:colId xmlns:a16="http://schemas.microsoft.com/office/drawing/2014/main" val="181986197"/>
                    </a:ext>
                  </a:extLst>
                </a:gridCol>
              </a:tblGrid>
              <a:tr h="321914"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endParaRPr lang="en-US" sz="900">
                        <a:latin typeface="+mj-lt"/>
                      </a:endParaRP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5">
                  <a:txBody>
                    <a:bodyPr/>
                    <a:lstStyle/>
                    <a:p>
                      <a:pPr marL="0" indent="0" algn="ctr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>
                          <a:solidFill>
                            <a:schemeClr val="bg1"/>
                          </a:solidFill>
                          <a:latin typeface="+mj-lt"/>
                        </a:rPr>
                        <a:t>Company size (by FTE)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8D8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indent="0" algn="ctr">
                        <a:spcBef>
                          <a:spcPct val="0"/>
                        </a:spcBef>
                        <a:buFontTx/>
                        <a:buNone/>
                      </a:pPr>
                      <a:endParaRPr lang="en-US" sz="90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indent="0" algn="ctr">
                        <a:spcBef>
                          <a:spcPct val="0"/>
                        </a:spcBef>
                        <a:buFontTx/>
                        <a:buNone/>
                      </a:pPr>
                      <a:endParaRPr lang="en-US" sz="90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indent="0" algn="ctr">
                        <a:spcBef>
                          <a:spcPct val="0"/>
                        </a:spcBef>
                        <a:buFontTx/>
                        <a:buNone/>
                      </a:pPr>
                      <a:endParaRPr lang="en-US" sz="90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indent="0" algn="ctr">
                        <a:buNone/>
                      </a:pPr>
                      <a:endParaRPr lang="en-US" sz="900" b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ct val="0"/>
                        </a:spcBef>
                        <a:buFontTx/>
                        <a:buNone/>
                      </a:pPr>
                      <a:endParaRPr lang="en-US" sz="90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6077993"/>
                  </a:ext>
                </a:extLst>
              </a:tr>
              <a:tr h="321914"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endParaRPr lang="en-US" sz="900">
                        <a:latin typeface="+mj-lt"/>
                      </a:endParaRP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050" b="1">
                          <a:solidFill>
                            <a:schemeClr val="tx1"/>
                          </a:solidFill>
                          <a:latin typeface="+mj-lt"/>
                        </a:rPr>
                        <a:t>100-1K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 w="1905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050" b="1">
                          <a:solidFill>
                            <a:schemeClr val="tx1"/>
                          </a:solidFill>
                          <a:latin typeface="+mj-lt"/>
                        </a:rPr>
                        <a:t>1k-5k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 w="1905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050" b="1">
                          <a:solidFill>
                            <a:schemeClr val="tx1"/>
                          </a:solidFill>
                          <a:latin typeface="+mj-lt"/>
                        </a:rPr>
                        <a:t>5k+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 w="1905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050" b="1">
                          <a:solidFill>
                            <a:schemeClr val="tx1"/>
                          </a:solidFill>
                          <a:latin typeface="+mj-lt"/>
                        </a:rPr>
                        <a:t>Top 100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 w="1905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sz="1050" b="1">
                          <a:solidFill>
                            <a:schemeClr val="tx1"/>
                          </a:solidFill>
                          <a:latin typeface="+mj-lt"/>
                        </a:rPr>
                        <a:t>Total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 w="1905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050" b="1">
                          <a:solidFill>
                            <a:schemeClr val="tx1"/>
                          </a:solidFill>
                          <a:latin typeface="+mj-lt"/>
                        </a:rPr>
                        <a:t>Commentary</a:t>
                      </a:r>
                    </a:p>
                  </a:txBody>
                  <a:tcPr anchor="b">
                    <a:lnL>
                      <a:noFill/>
                    </a:lnL>
                    <a:lnT w="1905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86521710"/>
                  </a:ext>
                </a:extLst>
              </a:tr>
              <a:tr h="360482"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sz="1000" b="0">
                          <a:solidFill>
                            <a:schemeClr val="tx1"/>
                          </a:solidFill>
                          <a:latin typeface="+mn-lt"/>
                        </a:rPr>
                        <a:t>Total Companies (k)</a:t>
                      </a:r>
                    </a:p>
                  </a:txBody>
                  <a:tcPr marL="36000" marR="36000" marT="36000" marB="3600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mpd="sng">
                      <a:noFill/>
                    </a:lnT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spcBef>
                          <a:spcPts val="48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en-US" sz="900" b="0">
                          <a:latin typeface="+mn-lt"/>
                        </a:rPr>
                        <a:t>106.6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spcBef>
                          <a:spcPts val="480"/>
                        </a:spcBef>
                        <a:spcAft>
                          <a:spcPct val="0"/>
                        </a:spcAft>
                        <a:buFontTx/>
                        <a:buNone/>
                      </a:pPr>
                      <a:r>
                        <a:rPr lang="en-US" sz="900" b="0">
                          <a:latin typeface="+mn-lt"/>
                        </a:rPr>
                        <a:t>8.4</a:t>
                      </a:r>
                    </a:p>
                  </a:txBody>
                  <a:tcPr marL="36000" marR="36000" marT="36000" marB="36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spcBef>
                          <a:spcPts val="48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en-US" sz="900" b="0">
                          <a:latin typeface="+mn-lt"/>
                        </a:rPr>
                        <a:t>2.2</a:t>
                      </a:r>
                    </a:p>
                  </a:txBody>
                  <a:tcPr marL="36000" marR="36000" marT="36000" marB="36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spcBef>
                          <a:spcPts val="48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en-US" sz="900" b="0">
                          <a:latin typeface="+mn-lt"/>
                        </a:rPr>
                        <a:t>0.1</a:t>
                      </a:r>
                    </a:p>
                  </a:txBody>
                  <a:tcPr marL="36000" marR="36000" marT="36000" marB="3600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sz="900" b="1">
                          <a:latin typeface="+mn-lt"/>
                        </a:rPr>
                        <a:t>117.3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177800" lvl="0" indent="-177800">
                        <a:spcBef>
                          <a:spcPts val="480"/>
                        </a:spcBef>
                        <a:spcAft>
                          <a:spcPct val="0"/>
                        </a:spcAft>
                      </a:pPr>
                      <a:r>
                        <a:rPr lang="en-US" sz="900" b="0">
                          <a:latin typeface="+mn-lt"/>
                        </a:rPr>
                        <a:t>US census data of total US companies segmented by industry vertical and FTE size</a:t>
                      </a:r>
                    </a:p>
                    <a:p>
                      <a:pPr marL="177800" lvl="0" indent="-177800">
                        <a:spcBef>
                          <a:spcPts val="480"/>
                        </a:spcBef>
                        <a:spcAft>
                          <a:spcPct val="0"/>
                        </a:spcAft>
                      </a:pPr>
                      <a:endParaRPr lang="en-US" sz="900" b="0">
                        <a:latin typeface="+mn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245069955"/>
                  </a:ext>
                </a:extLst>
              </a:tr>
              <a:tr h="229996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US" sz="1000" b="0">
                          <a:solidFill>
                            <a:schemeClr val="tx1"/>
                          </a:solidFill>
                          <a:latin typeface="+mn-lt"/>
                        </a:rPr>
                        <a:t>Addressability by size</a:t>
                      </a:r>
                    </a:p>
                  </a:txBody>
                  <a:tcPr marL="36000" marR="36000" marT="36000" marB="3600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defTabSz="711200" rtl="0" eaLnBrk="1" latinLnBrk="0" hangingPunct="1">
                        <a:spcBef>
                          <a:spcPts val="480"/>
                        </a:spcBef>
                        <a:spcAft>
                          <a:spcPct val="0"/>
                        </a:spcAft>
                        <a:buFontTx/>
                        <a:buNone/>
                      </a:pPr>
                      <a:r>
                        <a:rPr lang="en-US" sz="900" baseline="0">
                          <a:latin typeface="+mn-lt"/>
                        </a:rPr>
                        <a:t>75%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lvl="0" indent="0" algn="ctr" defTabSz="711200" rtl="0" eaLnBrk="1" latinLnBrk="0" hangingPunct="1">
                        <a:spcBef>
                          <a:spcPts val="480"/>
                        </a:spcBef>
                        <a:spcAft>
                          <a:spcPct val="0"/>
                        </a:spcAft>
                        <a:buFontTx/>
                        <a:buNone/>
                      </a:pPr>
                      <a:r>
                        <a:rPr lang="en-US" sz="900">
                          <a:latin typeface="+mn-lt"/>
                        </a:rPr>
                        <a:t>100%</a:t>
                      </a: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lvl="0" indent="0" algn="ctr" defTabSz="711200" rtl="0" eaLnBrk="1" latinLnBrk="0" hangingPunct="1">
                        <a:spcBef>
                          <a:spcPts val="480"/>
                        </a:spcBef>
                        <a:spcAft>
                          <a:spcPct val="0"/>
                        </a:spcAft>
                        <a:buFontTx/>
                        <a:buNone/>
                      </a:pPr>
                      <a:r>
                        <a:rPr lang="en-US" sz="900">
                          <a:latin typeface="+mn-lt"/>
                        </a:rPr>
                        <a:t>100%</a:t>
                      </a: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lvl="0" indent="0" algn="ctr" defTabSz="711200" rtl="0" eaLnBrk="1" latinLnBrk="0" hangingPunct="1">
                        <a:spcBef>
                          <a:spcPts val="480"/>
                        </a:spcBef>
                        <a:spcAft>
                          <a:spcPct val="0"/>
                        </a:spcAft>
                        <a:buFontTx/>
                        <a:buNone/>
                      </a:pPr>
                      <a:r>
                        <a:rPr lang="en-US" sz="900">
                          <a:latin typeface="+mn-lt"/>
                        </a:rPr>
                        <a:t>100%</a:t>
                      </a:r>
                    </a:p>
                  </a:txBody>
                  <a:tcPr marL="36000" marR="36000" marT="36000" marB="3600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sz="900" b="1">
                          <a:latin typeface="+mn-lt"/>
                        </a:rPr>
                        <a:t>77%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177800" lvl="0" indent="-177800">
                        <a:spcBef>
                          <a:spcPts val="480"/>
                        </a:spcBef>
                        <a:spcAft>
                          <a:spcPct val="0"/>
                        </a:spcAft>
                      </a:pPr>
                      <a:r>
                        <a:rPr lang="en-US" sz="900" b="0">
                          <a:latin typeface="+mn-lt"/>
                        </a:rPr>
                        <a:t>Companies with &lt;100 FTE are considered </a:t>
                      </a:r>
                      <a:r>
                        <a:rPr lang="en-US" sz="900" b="0" err="1">
                          <a:latin typeface="+mn-lt"/>
                        </a:rPr>
                        <a:t>unaddressable</a:t>
                      </a:r>
                      <a:r>
                        <a:rPr lang="en-US" sz="900" b="0">
                          <a:latin typeface="+mn-lt"/>
                        </a:rPr>
                        <a:t> to enterprise B&amp;R providers at simpler backup tools (or no formal backup) may be sufficient (e.g., Company 1, Company 2)</a:t>
                      </a:r>
                    </a:p>
                    <a:p>
                      <a:pPr marL="177800" lvl="0" indent="-177800">
                        <a:spcBef>
                          <a:spcPts val="480"/>
                        </a:spcBef>
                        <a:spcAft>
                          <a:spcPct val="0"/>
                        </a:spcAft>
                      </a:pPr>
                      <a:r>
                        <a:rPr lang="en-US" sz="900" b="0">
                          <a:latin typeface="+mn-lt"/>
                        </a:rPr>
                        <a:t>Portion of companies with 100-1,000 FTE considered </a:t>
                      </a:r>
                      <a:r>
                        <a:rPr lang="en-US" sz="900" b="0" err="1">
                          <a:latin typeface="+mn-lt"/>
                        </a:rPr>
                        <a:t>unaddressable</a:t>
                      </a:r>
                      <a:r>
                        <a:rPr lang="en-US" sz="900" b="0">
                          <a:latin typeface="+mn-lt"/>
                        </a:rPr>
                        <a:t> as companies in certain industries (e.g., restaurants, hospitality) may generate less data and have limited need for enterprise solutions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627096496"/>
                  </a:ext>
                </a:extLst>
              </a:tr>
              <a:tr h="312796"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sz="1000" baseline="0">
                          <a:solidFill>
                            <a:schemeClr val="tx1"/>
                          </a:solidFill>
                          <a:latin typeface="+mn-lt"/>
                        </a:rPr>
                        <a:t>Total addressable companies (k)</a:t>
                      </a:r>
                      <a:endParaRPr lang="en-US" sz="10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48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80.0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48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8.4</a:t>
                      </a:r>
                    </a:p>
                  </a:txBody>
                  <a:tcPr marL="36000" marR="36000" marT="36000" marB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48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.2</a:t>
                      </a:r>
                    </a:p>
                  </a:txBody>
                  <a:tcPr marL="36000" marR="36000" marT="36000" marB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defTabSz="711200" rtl="0" eaLnBrk="1" latinLnBrk="0" hangingPunct="1">
                        <a:spcBef>
                          <a:spcPts val="480"/>
                        </a:spcBef>
                        <a:spcAft>
                          <a:spcPct val="0"/>
                        </a:spcAft>
                        <a:buFontTx/>
                        <a:buNone/>
                      </a:pPr>
                      <a:r>
                        <a:rPr lang="en-US" sz="900">
                          <a:latin typeface="+mn-lt"/>
                        </a:rPr>
                        <a:t>0.1</a:t>
                      </a:r>
                    </a:p>
                  </a:txBody>
                  <a:tcPr marL="36000" marR="36000" marT="36000" marB="3600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sz="900" b="1">
                          <a:latin typeface="+mn-lt"/>
                        </a:rPr>
                        <a:t>90.4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7800" lvl="0" indent="-177800">
                        <a:spcBef>
                          <a:spcPts val="480"/>
                        </a:spcBef>
                        <a:spcAft>
                          <a:spcPct val="0"/>
                        </a:spcAft>
                      </a:pPr>
                      <a:r>
                        <a:rPr lang="en-US" sz="900" b="0">
                          <a:latin typeface="+mn-lt"/>
                        </a:rPr>
                        <a:t>Total US addressable companies for a B&amp;R software solution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505254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sz="1000" b="0">
                          <a:solidFill>
                            <a:schemeClr val="tx1"/>
                          </a:solidFill>
                          <a:latin typeface="+mn-lt"/>
                        </a:rPr>
                        <a:t>Average B&amp;R solution spend ($k)</a:t>
                      </a:r>
                    </a:p>
                  </a:txBody>
                  <a:tcPr marL="36000" marR="36000" marT="36000" marB="3600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defTabSz="711200" rtl="0" eaLnBrk="1" latinLnBrk="0" hangingPunct="1">
                        <a:spcBef>
                          <a:spcPts val="480"/>
                        </a:spcBef>
                        <a:spcAft>
                          <a:spcPct val="0"/>
                        </a:spcAft>
                        <a:buFontTx/>
                        <a:buNone/>
                      </a:pPr>
                      <a:r>
                        <a:rPr lang="en-US" sz="900">
                          <a:latin typeface="+mn-lt"/>
                        </a:rPr>
                        <a:t>~$40k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48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~$225k</a:t>
                      </a: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48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~$530k</a:t>
                      </a: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lvl="0" indent="0" algn="ctr" defTabSz="711200" rtl="0" eaLnBrk="1" latinLnBrk="0" hangingPunct="1">
                        <a:spcBef>
                          <a:spcPts val="480"/>
                        </a:spcBef>
                        <a:spcAft>
                          <a:spcPct val="0"/>
                        </a:spcAft>
                        <a:buFontTx/>
                        <a:buNone/>
                      </a:pPr>
                      <a:r>
                        <a:rPr lang="en-US" sz="900">
                          <a:latin typeface="+mn-lt"/>
                        </a:rPr>
                        <a:t>~$2.2m</a:t>
                      </a:r>
                    </a:p>
                  </a:txBody>
                  <a:tcPr marL="36000" marR="36000" marT="36000" marB="3600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sz="900" b="1">
                          <a:latin typeface="+mn-lt"/>
                        </a:rPr>
                        <a:t>~$65k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177800" lvl="0" indent="-177800">
                        <a:spcBef>
                          <a:spcPts val="480"/>
                        </a:spcBef>
                        <a:spcAft>
                          <a:spcPct val="0"/>
                        </a:spcAft>
                      </a:pPr>
                      <a:r>
                        <a:rPr lang="en-US" sz="900" b="0">
                          <a:latin typeface="+mn-lt"/>
                        </a:rPr>
                        <a:t>Average spend on B&amp;R solutions based on customer feedback and Cube ARR data; spend escalates with company size as larger companies tend to store more data and have more complex IT stacks</a:t>
                      </a:r>
                      <a:endParaRPr lang="en-US" sz="900">
                        <a:latin typeface="+mn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008680220"/>
                  </a:ext>
                </a:extLst>
              </a:tr>
              <a:tr h="229996"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sz="1000" b="1">
                          <a:solidFill>
                            <a:schemeClr val="tx1"/>
                          </a:solidFill>
                          <a:latin typeface="+mn-lt"/>
                        </a:rPr>
                        <a:t>Theoretical total addressable market ($B </a:t>
                      </a:r>
                      <a:r>
                        <a:rPr lang="en-US" sz="1000" b="1" err="1">
                          <a:solidFill>
                            <a:schemeClr val="tx1"/>
                          </a:solidFill>
                          <a:latin typeface="+mn-lt"/>
                        </a:rPr>
                        <a:t>tTAM</a:t>
                      </a:r>
                      <a:r>
                        <a:rPr lang="en-US" sz="1000" b="1">
                          <a:solidFill>
                            <a:schemeClr val="tx1"/>
                          </a:solidFill>
                          <a:latin typeface="+mn-lt"/>
                        </a:rPr>
                        <a:t>)</a:t>
                      </a:r>
                    </a:p>
                  </a:txBody>
                  <a:tcPr marL="36000" marR="36000" marT="36000" marB="3600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defTabSz="711200" rtl="0" eaLnBrk="1" fontAlgn="ctr" latinLnBrk="0" hangingPunct="1">
                        <a:spcBef>
                          <a:spcPts val="480"/>
                        </a:spcBef>
                        <a:spcAft>
                          <a:spcPct val="0"/>
                        </a:spcAft>
                        <a:buSzPct val="180000"/>
                        <a:buFont typeface="Arial" panose="020B0604020202020204" pitchFamily="34" charset="0"/>
                        <a:buNone/>
                      </a:pPr>
                      <a:r>
                        <a:rPr lang="en-US" sz="900" baseline="0">
                          <a:latin typeface="+mj-lt"/>
                        </a:rPr>
                        <a:t>3.7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480"/>
                        </a:spcBef>
                        <a:spcAft>
                          <a:spcPct val="0"/>
                        </a:spcAft>
                        <a:buClrTx/>
                        <a:buSzPct val="180000"/>
                        <a:buFont typeface="Arial" panose="020B0604020202020204" pitchFamily="34" charset="0"/>
                        <a:buNone/>
                        <a:defRPr/>
                      </a:pPr>
                      <a:r>
                        <a:rPr kumimoji="0" lang="en-US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1.9</a:t>
                      </a:r>
                    </a:p>
                  </a:txBody>
                  <a:tcPr marL="36000" marR="36000" marT="36000" marB="3600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480"/>
                        </a:spcBef>
                        <a:spcAft>
                          <a:spcPct val="0"/>
                        </a:spcAft>
                        <a:buClrTx/>
                        <a:buSzPct val="180000"/>
                        <a:buFont typeface="Arial" panose="020B0604020202020204" pitchFamily="34" charset="0"/>
                        <a:buNone/>
                        <a:defRPr/>
                      </a:pPr>
                      <a:r>
                        <a:rPr kumimoji="0" lang="en-US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1.1</a:t>
                      </a:r>
                    </a:p>
                  </a:txBody>
                  <a:tcPr marL="36000" marR="36000" marT="36000" marB="3600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defTabSz="711200" rtl="0" eaLnBrk="1" fontAlgn="ctr" latinLnBrk="0" hangingPunct="1">
                        <a:spcBef>
                          <a:spcPts val="480"/>
                        </a:spcBef>
                        <a:spcAft>
                          <a:spcPct val="0"/>
                        </a:spcAft>
                        <a:buSzPct val="180000"/>
                        <a:buFont typeface="Arial" panose="020B0604020202020204" pitchFamily="34" charset="0"/>
                        <a:buNone/>
                      </a:pPr>
                      <a:r>
                        <a:rPr lang="en-US" sz="900" baseline="0">
                          <a:latin typeface="+mj-lt"/>
                        </a:rPr>
                        <a:t>0.2</a:t>
                      </a:r>
                    </a:p>
                  </a:txBody>
                  <a:tcPr marL="36000" marR="36000" marT="36000" marB="3600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Font typeface="Arial" panose="020B0604020202020204" pitchFamily="34" charset="0"/>
                        <a:buNone/>
                      </a:pPr>
                      <a:r>
                        <a:rPr lang="en-US" sz="900" b="1" baseline="0">
                          <a:latin typeface="+mj-lt"/>
                        </a:rPr>
                        <a:t>6.9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7800" lvl="0" indent="-177800">
                        <a:spcBef>
                          <a:spcPts val="480"/>
                        </a:spcBef>
                        <a:spcAft>
                          <a:spcPct val="0"/>
                        </a:spcAft>
                      </a:pPr>
                      <a:r>
                        <a:rPr lang="en-US" sz="900" b="0">
                          <a:latin typeface="+mn-lt"/>
                        </a:rPr>
                        <a:t>Value of theoretical addressable enterprise B&amp;R market, assuming full B&amp;R penetration across all environments</a:t>
                      </a:r>
                      <a:endParaRPr lang="en-US" sz="900" b="0" kern="1200">
                        <a:solidFill>
                          <a:srgbClr val="191B29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4761183"/>
                  </a:ext>
                </a:extLst>
              </a:tr>
              <a:tr h="229996"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sz="1000" b="0">
                          <a:solidFill>
                            <a:schemeClr val="tx1"/>
                          </a:solidFill>
                          <a:latin typeface="+mn-lt"/>
                        </a:rPr>
                        <a:t>Realistic addressability ceiling by environment </a:t>
                      </a:r>
                    </a:p>
                  </a:txBody>
                  <a:tcPr marL="36000" marR="36000" marT="36000" marB="3600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defTabSz="711200" rtl="0" eaLnBrk="1" fontAlgn="ctr" latinLnBrk="0" hangingPunct="1">
                        <a:spcBef>
                          <a:spcPts val="480"/>
                        </a:spcBef>
                        <a:spcAft>
                          <a:spcPct val="0"/>
                        </a:spcAft>
                        <a:buSzPct val="180000"/>
                        <a:buFont typeface="Arial" panose="020B0604020202020204" pitchFamily="34" charset="0"/>
                        <a:buNone/>
                      </a:pPr>
                      <a:r>
                        <a:rPr lang="en-US" sz="900" baseline="0">
                          <a:latin typeface="+mj-lt"/>
                        </a:rPr>
                        <a:t>~75%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480"/>
                        </a:spcBef>
                        <a:spcAft>
                          <a:spcPct val="0"/>
                        </a:spcAft>
                        <a:buClrTx/>
                        <a:buSzPct val="180000"/>
                        <a:buFont typeface="Arial" panose="020B0604020202020204" pitchFamily="34" charset="0"/>
                        <a:buNone/>
                        <a:defRPr/>
                      </a:pPr>
                      <a:r>
                        <a:rPr kumimoji="0" lang="en-US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~85%</a:t>
                      </a: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480"/>
                        </a:spcBef>
                        <a:spcAft>
                          <a:spcPct val="0"/>
                        </a:spcAft>
                        <a:buClrTx/>
                        <a:buSzPct val="180000"/>
                        <a:buFont typeface="Arial" panose="020B0604020202020204" pitchFamily="34" charset="0"/>
                        <a:buNone/>
                        <a:defRPr/>
                      </a:pPr>
                      <a:r>
                        <a:rPr kumimoji="0" lang="en-US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~95%</a:t>
                      </a: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480"/>
                        </a:spcBef>
                        <a:spcAft>
                          <a:spcPct val="0"/>
                        </a:spcAft>
                        <a:buClrTx/>
                        <a:buSzPct val="18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~95%</a:t>
                      </a:r>
                    </a:p>
                    <a:p>
                      <a:pPr marL="0" lvl="0" indent="0" algn="ctr" defTabSz="711200" rtl="0" eaLnBrk="1" fontAlgn="ctr" latinLnBrk="0" hangingPunct="1">
                        <a:spcBef>
                          <a:spcPts val="480"/>
                        </a:spcBef>
                        <a:spcAft>
                          <a:spcPct val="0"/>
                        </a:spcAft>
                        <a:buSzPct val="180000"/>
                        <a:buFont typeface="Arial" panose="020B0604020202020204" pitchFamily="34" charset="0"/>
                        <a:buNone/>
                      </a:pPr>
                      <a:endParaRPr lang="en-US" sz="900" baseline="0">
                        <a:latin typeface="+mj-lt"/>
                      </a:endParaRPr>
                    </a:p>
                  </a:txBody>
                  <a:tcPr marL="36000" marR="36000" marT="36000" marB="3600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Font typeface="Arial" panose="020B0604020202020204" pitchFamily="34" charset="0"/>
                        <a:buNone/>
                      </a:pPr>
                      <a:r>
                        <a:rPr lang="en-US" sz="900" b="1" baseline="0">
                          <a:latin typeface="+mj-lt"/>
                        </a:rPr>
                        <a:t>~80%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177800" lvl="0" indent="-177800">
                        <a:spcBef>
                          <a:spcPts val="480"/>
                        </a:spcBef>
                        <a:spcAft>
                          <a:spcPct val="0"/>
                        </a:spcAft>
                      </a:pPr>
                      <a:r>
                        <a:rPr lang="en-US" sz="900" b="0">
                          <a:latin typeface="+mn-lt"/>
                        </a:rPr>
                        <a:t>Addressability ceiling for environments is based on potential peneteration of 3P B&amp;R solutions with each environment (assuming not all workloads may be addressable for backup)</a:t>
                      </a:r>
                      <a:endParaRPr lang="en-US" sz="900" b="0" kern="1200">
                        <a:solidFill>
                          <a:srgbClr val="191B29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717554557"/>
                  </a:ext>
                </a:extLst>
              </a:tr>
              <a:tr h="229996"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sz="1000" b="1">
                          <a:solidFill>
                            <a:schemeClr val="bg1"/>
                          </a:solidFill>
                          <a:latin typeface="+mn-lt"/>
                        </a:rPr>
                        <a:t>Realistic addressable market ($B rTAM)</a:t>
                      </a:r>
                    </a:p>
                  </a:txBody>
                  <a:tcPr marL="36000" marR="36000" marT="36000" marB="3600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defTabSz="711200" rtl="0" eaLnBrk="1" fontAlgn="ctr" latinLnBrk="0" hangingPunct="1">
                        <a:spcBef>
                          <a:spcPts val="480"/>
                        </a:spcBef>
                        <a:spcAft>
                          <a:spcPct val="0"/>
                        </a:spcAft>
                        <a:buSzPct val="180000"/>
                        <a:buFont typeface="Arial" panose="020B0604020202020204" pitchFamily="34" charset="0"/>
                        <a:buNone/>
                      </a:pPr>
                      <a:r>
                        <a:rPr lang="en-US" sz="900" baseline="0">
                          <a:solidFill>
                            <a:schemeClr val="bg1"/>
                          </a:solidFill>
                          <a:latin typeface="+mj-lt"/>
                        </a:rPr>
                        <a:t>2.8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480"/>
                        </a:spcBef>
                        <a:spcAft>
                          <a:spcPct val="0"/>
                        </a:spcAft>
                        <a:buClrTx/>
                        <a:buSzPct val="180000"/>
                        <a:buFont typeface="Arial" panose="020B0604020202020204" pitchFamily="34" charset="0"/>
                        <a:buNone/>
                        <a:defRPr/>
                      </a:pPr>
                      <a:r>
                        <a:rPr kumimoji="0" lang="en-US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1.6</a:t>
                      </a:r>
                    </a:p>
                  </a:txBody>
                  <a:tcPr marL="36000" marR="36000" marT="36000" marB="3600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480"/>
                        </a:spcBef>
                        <a:spcAft>
                          <a:spcPct val="0"/>
                        </a:spcAft>
                        <a:buClrTx/>
                        <a:buSzPct val="180000"/>
                        <a:buFont typeface="Arial" panose="020B0604020202020204" pitchFamily="34" charset="0"/>
                        <a:buNone/>
                        <a:defRPr/>
                      </a:pPr>
                      <a:r>
                        <a:rPr kumimoji="0" lang="en-US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1.1</a:t>
                      </a:r>
                    </a:p>
                  </a:txBody>
                  <a:tcPr marL="36000" marR="36000" marT="36000" marB="3600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defTabSz="711200" rtl="0" eaLnBrk="1" fontAlgn="ctr" latinLnBrk="0" hangingPunct="1">
                        <a:spcBef>
                          <a:spcPts val="480"/>
                        </a:spcBef>
                        <a:spcAft>
                          <a:spcPct val="0"/>
                        </a:spcAft>
                        <a:buSzPct val="180000"/>
                        <a:buFont typeface="Arial" panose="020B0604020202020204" pitchFamily="34" charset="0"/>
                        <a:buNone/>
                      </a:pPr>
                      <a:r>
                        <a:rPr lang="en-US" sz="900" baseline="0">
                          <a:solidFill>
                            <a:schemeClr val="bg1"/>
                          </a:solidFill>
                          <a:latin typeface="+mj-lt"/>
                        </a:rPr>
                        <a:t>0.2</a:t>
                      </a:r>
                    </a:p>
                  </a:txBody>
                  <a:tcPr marL="36000" marR="36000" marT="36000" marB="3600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Font typeface="Arial" panose="020B0604020202020204" pitchFamily="34" charset="0"/>
                        <a:buNone/>
                      </a:pPr>
                      <a:r>
                        <a:rPr lang="en-US" sz="900" b="1" baseline="0">
                          <a:solidFill>
                            <a:schemeClr val="bg1"/>
                          </a:solidFill>
                          <a:latin typeface="+mj-lt"/>
                        </a:rPr>
                        <a:t>5.7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7800" lvl="0" indent="-177800">
                        <a:spcBef>
                          <a:spcPts val="480"/>
                        </a:spcBef>
                        <a:spcAft>
                          <a:spcPct val="0"/>
                        </a:spcAft>
                      </a:pPr>
                      <a:r>
                        <a:rPr lang="en-US" sz="900" b="0">
                          <a:solidFill>
                            <a:schemeClr val="bg1"/>
                          </a:solidFill>
                          <a:latin typeface="+mn-lt"/>
                        </a:rPr>
                        <a:t>Value of full potential enterprise B&amp;R market, account for realistic penetration ceilings by environment 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76517116"/>
                  </a:ext>
                </a:extLst>
              </a:tr>
              <a:tr h="229996"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sz="1000" b="0">
                          <a:solidFill>
                            <a:schemeClr val="tx1"/>
                          </a:solidFill>
                          <a:latin typeface="+mn-lt"/>
                        </a:rPr>
                        <a:t>Realistic addressable market ($B </a:t>
                      </a:r>
                      <a:r>
                        <a:rPr lang="en-US" sz="1000" b="0" err="1">
                          <a:solidFill>
                            <a:schemeClr val="tx1"/>
                          </a:solidFill>
                          <a:latin typeface="+mn-lt"/>
                        </a:rPr>
                        <a:t>rTAM</a:t>
                      </a:r>
                      <a:r>
                        <a:rPr lang="en-US" sz="1000" b="0">
                          <a:solidFill>
                            <a:schemeClr val="tx1"/>
                          </a:solidFill>
                          <a:latin typeface="+mn-lt"/>
                        </a:rPr>
                        <a:t>)</a:t>
                      </a:r>
                    </a:p>
                  </a:txBody>
                  <a:tcPr marL="36000" marR="36000" marT="36000" marB="3600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defTabSz="711200" rtl="0" eaLnBrk="1" fontAlgn="ctr" latinLnBrk="0" hangingPunct="1">
                        <a:spcBef>
                          <a:spcPts val="480"/>
                        </a:spcBef>
                        <a:spcAft>
                          <a:spcPct val="0"/>
                        </a:spcAft>
                        <a:buSzPct val="180000"/>
                        <a:buFont typeface="Arial" panose="020B0604020202020204" pitchFamily="34" charset="0"/>
                        <a:buNone/>
                      </a:pPr>
                      <a:r>
                        <a:rPr lang="en-US" sz="900" baseline="0">
                          <a:latin typeface="+mj-lt"/>
                        </a:rPr>
                        <a:t>~65%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480"/>
                        </a:spcBef>
                        <a:spcAft>
                          <a:spcPct val="0"/>
                        </a:spcAft>
                        <a:buClrTx/>
                        <a:buSzPct val="180000"/>
                        <a:buFont typeface="Arial" panose="020B0604020202020204" pitchFamily="34" charset="0"/>
                        <a:buNone/>
                        <a:defRPr/>
                      </a:pPr>
                      <a:r>
                        <a:rPr kumimoji="0" lang="en-US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~80%</a:t>
                      </a: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480"/>
                        </a:spcBef>
                        <a:spcAft>
                          <a:spcPct val="0"/>
                        </a:spcAft>
                        <a:buClrTx/>
                        <a:buSzPct val="180000"/>
                        <a:buFont typeface="Arial" panose="020B0604020202020204" pitchFamily="34" charset="0"/>
                        <a:buNone/>
                        <a:defRPr/>
                      </a:pPr>
                      <a:r>
                        <a:rPr kumimoji="0" lang="en-US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~90%</a:t>
                      </a: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lvl="0" indent="0" algn="ctr" defTabSz="711200" rtl="0" eaLnBrk="1" fontAlgn="ctr" latinLnBrk="0" hangingPunct="1">
                        <a:spcBef>
                          <a:spcPts val="480"/>
                        </a:spcBef>
                        <a:spcAft>
                          <a:spcPct val="0"/>
                        </a:spcAft>
                        <a:buSzPct val="180000"/>
                        <a:buFont typeface="Arial" panose="020B0604020202020204" pitchFamily="34" charset="0"/>
                        <a:buNone/>
                      </a:pPr>
                      <a:r>
                        <a:rPr lang="en-US" sz="900" baseline="0">
                          <a:latin typeface="+mj-lt"/>
                        </a:rPr>
                        <a:t>~100%</a:t>
                      </a:r>
                    </a:p>
                  </a:txBody>
                  <a:tcPr marL="36000" marR="36000" marT="36000" marB="3600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Font typeface="Arial" panose="020B0604020202020204" pitchFamily="34" charset="0"/>
                        <a:buNone/>
                      </a:pPr>
                      <a:r>
                        <a:rPr lang="en-US" sz="900" b="1" baseline="0">
                          <a:latin typeface="+mj-lt"/>
                        </a:rPr>
                        <a:t>~75%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177800" lvl="0" indent="-177800">
                        <a:spcBef>
                          <a:spcPts val="480"/>
                        </a:spcBef>
                        <a:spcAft>
                          <a:spcPct val="0"/>
                        </a:spcAft>
                      </a:pPr>
                      <a:r>
                        <a:rPr lang="en-US" sz="900" b="0">
                          <a:latin typeface="+mn-lt"/>
                        </a:rPr>
                        <a:t>Applies estimated penetration by company size segment and workload environment to determine actual realized spend in market today</a:t>
                      </a:r>
                      <a:endParaRPr lang="en-US" sz="900" b="0" kern="1200">
                        <a:solidFill>
                          <a:srgbClr val="191B29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721273687"/>
                  </a:ext>
                </a:extLst>
              </a:tr>
              <a:tr h="229996"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>
                          <a:solidFill>
                            <a:schemeClr val="bg1"/>
                          </a:solidFill>
                          <a:latin typeface="+mn-lt"/>
                        </a:rPr>
                        <a:t>Served addressable market ($B SAM)</a:t>
                      </a:r>
                    </a:p>
                  </a:txBody>
                  <a:tcPr marL="36000" marR="36000" marT="36000" marB="3600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defTabSz="711200" rtl="0" eaLnBrk="1" fontAlgn="ctr" latinLnBrk="0" hangingPunct="1">
                        <a:spcBef>
                          <a:spcPts val="480"/>
                        </a:spcBef>
                        <a:spcAft>
                          <a:spcPct val="0"/>
                        </a:spcAft>
                        <a:buSzPct val="180000"/>
                        <a:buFont typeface="Arial" panose="020B0604020202020204" pitchFamily="34" charset="0"/>
                        <a:buNone/>
                      </a:pPr>
                      <a:r>
                        <a:rPr lang="en-US" sz="900" baseline="0">
                          <a:solidFill>
                            <a:schemeClr val="bg1"/>
                          </a:solidFill>
                          <a:latin typeface="+mj-lt"/>
                        </a:rPr>
                        <a:t>1.8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480"/>
                        </a:spcBef>
                        <a:spcAft>
                          <a:spcPct val="0"/>
                        </a:spcAft>
                        <a:buClrTx/>
                        <a:buSzPct val="180000"/>
                        <a:buFont typeface="Arial" panose="020B0604020202020204" pitchFamily="34" charset="0"/>
                        <a:buNone/>
                        <a:defRPr/>
                      </a:pPr>
                      <a:r>
                        <a:rPr kumimoji="0" lang="en-US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1.3</a:t>
                      </a:r>
                    </a:p>
                  </a:txBody>
                  <a:tcPr marL="36000" marR="36000" marT="36000" marB="36000" anchor="ctr"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480"/>
                        </a:spcBef>
                        <a:spcAft>
                          <a:spcPct val="0"/>
                        </a:spcAft>
                        <a:buClrTx/>
                        <a:buSzPct val="180000"/>
                        <a:buFont typeface="Arial" panose="020B0604020202020204" pitchFamily="34" charset="0"/>
                        <a:buNone/>
                        <a:defRPr/>
                      </a:pPr>
                      <a:r>
                        <a:rPr kumimoji="0" lang="en-US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1.0</a:t>
                      </a:r>
                    </a:p>
                  </a:txBody>
                  <a:tcPr marL="36000" marR="36000" marT="36000" marB="36000" anchor="ctr"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defTabSz="711200" rtl="0" eaLnBrk="1" fontAlgn="ctr" latinLnBrk="0" hangingPunct="1">
                        <a:spcBef>
                          <a:spcPts val="480"/>
                        </a:spcBef>
                        <a:spcAft>
                          <a:spcPct val="0"/>
                        </a:spcAft>
                        <a:buSzPct val="180000"/>
                        <a:buFont typeface="Arial" panose="020B0604020202020204" pitchFamily="34" charset="0"/>
                        <a:buNone/>
                      </a:pPr>
                      <a:r>
                        <a:rPr lang="en-US" sz="900" baseline="0">
                          <a:solidFill>
                            <a:schemeClr val="bg1"/>
                          </a:solidFill>
                          <a:latin typeface="+mj-lt"/>
                        </a:rPr>
                        <a:t>0.2</a:t>
                      </a:r>
                    </a:p>
                  </a:txBody>
                  <a:tcPr marL="36000" marR="36000" marT="36000" marB="3600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Font typeface="Arial" panose="020B0604020202020204" pitchFamily="34" charset="0"/>
                        <a:buNone/>
                      </a:pPr>
                      <a:r>
                        <a:rPr lang="en-US" sz="900" b="1" baseline="0">
                          <a:solidFill>
                            <a:schemeClr val="bg1"/>
                          </a:solidFill>
                          <a:latin typeface="+mj-lt"/>
                        </a:rPr>
                        <a:t>4.3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7800" lvl="0" indent="-177800">
                        <a:spcBef>
                          <a:spcPts val="480"/>
                        </a:spcBef>
                        <a:spcAft>
                          <a:spcPct val="0"/>
                        </a:spcAft>
                      </a:pPr>
                      <a:r>
                        <a:rPr lang="en-US" sz="900" b="0">
                          <a:solidFill>
                            <a:schemeClr val="bg1"/>
                          </a:solidFill>
                          <a:latin typeface="+mn-lt"/>
                        </a:rPr>
                        <a:t>Value of currently served enterprise B&amp;R software</a:t>
                      </a:r>
                      <a:endParaRPr lang="en-US" sz="900" b="0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6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5971903"/>
                  </a:ext>
                </a:extLst>
              </a:tr>
            </a:tbl>
          </a:graphicData>
        </a:graphic>
      </p:graphicFrame>
      <p:sp>
        <p:nvSpPr>
          <p:cNvPr id="16" name="btfpNotesBox706479">
            <a:extLst>
              <a:ext uri="{FF2B5EF4-FFF2-40B4-BE49-F238E27FC236}">
                <a16:creationId xmlns:a16="http://schemas.microsoft.com/office/drawing/2014/main" id="{B1727511-CCCE-FD05-9A5E-D04A1B36CDD0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330200" y="6322060"/>
            <a:ext cx="11531600" cy="243840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ct val="0"/>
              </a:spcBef>
              <a:buNone/>
            </a:pPr>
            <a:r>
              <a:rPr lang="en-US" sz="800">
                <a:solidFill>
                  <a:srgbClr val="000000"/>
                </a:solidFill>
                <a:latin typeface="+mj-lt"/>
              </a:rPr>
              <a:t>Note: Some figures may not be sum due to rounding </a:t>
            </a:r>
          </a:p>
          <a:p>
            <a:pPr marL="0" indent="0">
              <a:spcBef>
                <a:spcPct val="0"/>
              </a:spcBef>
              <a:buNone/>
            </a:pPr>
            <a:r>
              <a:rPr lang="en-US" sz="800">
                <a:solidFill>
                  <a:srgbClr val="000000"/>
                </a:solidFill>
                <a:latin typeface="+mj-lt"/>
              </a:rPr>
              <a:t>Source: Bain analysis market participants interviews, US Census data</a:t>
            </a:r>
          </a:p>
        </p:txBody>
      </p:sp>
      <p:grpSp>
        <p:nvGrpSpPr>
          <p:cNvPr id="23" name="btfpRunningAgenda1Level736512">
            <a:extLst>
              <a:ext uri="{FF2B5EF4-FFF2-40B4-BE49-F238E27FC236}">
                <a16:creationId xmlns:a16="http://schemas.microsoft.com/office/drawing/2014/main" id="{3C2DD03E-DF82-3725-55B1-1FBD929DB5BF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0" y="944429"/>
            <a:ext cx="2747767" cy="257442"/>
            <a:chOff x="0" y="876300"/>
            <a:chExt cx="2747767" cy="257442"/>
          </a:xfrm>
        </p:grpSpPr>
        <p:sp>
          <p:nvSpPr>
            <p:cNvPr id="22" name="btfpRunningAgenda1LevelBarLeft736512">
              <a:extLst>
                <a:ext uri="{FF2B5EF4-FFF2-40B4-BE49-F238E27FC236}">
                  <a16:creationId xmlns:a16="http://schemas.microsoft.com/office/drawing/2014/main" id="{B27E5E1A-E356-5D5F-2D52-5A96C5E66096}"/>
                </a:ext>
              </a:extLst>
            </p:cNvPr>
            <p:cNvSpPr/>
            <p:nvPr/>
          </p:nvSpPr>
          <p:spPr bwMode="gray">
            <a:xfrm>
              <a:off x="0" y="876300"/>
              <a:ext cx="2747767" cy="257442"/>
            </a:xfrm>
            <a:custGeom>
              <a:avLst/>
              <a:gdLst>
                <a:gd name="connsiteX0" fmla="*/ 968434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68434 w 1816204"/>
                <a:gd name="connsiteY0" fmla="*/ 0 h 257442"/>
                <a:gd name="connsiteX1" fmla="*/ 913714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68434 w 968434"/>
                <a:gd name="connsiteY0" fmla="*/ 0 h 257442"/>
                <a:gd name="connsiteX1" fmla="*/ 913714 w 968434"/>
                <a:gd name="connsiteY1" fmla="*/ 257442 h 257442"/>
                <a:gd name="connsiteX2" fmla="*/ 1 w 968434"/>
                <a:gd name="connsiteY2" fmla="*/ 257442 h 257442"/>
                <a:gd name="connsiteX3" fmla="*/ 0 w 968434"/>
                <a:gd name="connsiteY3" fmla="*/ 257442 h 257442"/>
                <a:gd name="connsiteX0" fmla="*/ 968433 w 968433"/>
                <a:gd name="connsiteY0" fmla="*/ 0 h 257442"/>
                <a:gd name="connsiteX1" fmla="*/ 913713 w 968433"/>
                <a:gd name="connsiteY1" fmla="*/ 257442 h 257442"/>
                <a:gd name="connsiteX2" fmla="*/ 0 w 968433"/>
                <a:gd name="connsiteY2" fmla="*/ 257442 h 257442"/>
                <a:gd name="connsiteX3" fmla="*/ 0 w 968433"/>
                <a:gd name="connsiteY3" fmla="*/ 0 h 257442"/>
                <a:gd name="connsiteX0" fmla="*/ 1136749 w 1136749"/>
                <a:gd name="connsiteY0" fmla="*/ 0 h 257442"/>
                <a:gd name="connsiteX1" fmla="*/ 913713 w 1136749"/>
                <a:gd name="connsiteY1" fmla="*/ 257442 h 257442"/>
                <a:gd name="connsiteX2" fmla="*/ 0 w 1136749"/>
                <a:gd name="connsiteY2" fmla="*/ 257442 h 257442"/>
                <a:gd name="connsiteX3" fmla="*/ 0 w 1136749"/>
                <a:gd name="connsiteY3" fmla="*/ 0 h 257442"/>
                <a:gd name="connsiteX0" fmla="*/ 1136749 w 1136749"/>
                <a:gd name="connsiteY0" fmla="*/ 0 h 257442"/>
                <a:gd name="connsiteX1" fmla="*/ 1082028 w 1136749"/>
                <a:gd name="connsiteY1" fmla="*/ 257442 h 257442"/>
                <a:gd name="connsiteX2" fmla="*/ 0 w 1136749"/>
                <a:gd name="connsiteY2" fmla="*/ 257442 h 257442"/>
                <a:gd name="connsiteX3" fmla="*/ 0 w 1136749"/>
                <a:gd name="connsiteY3" fmla="*/ 0 h 257442"/>
                <a:gd name="connsiteX0" fmla="*/ 1136749 w 1136749"/>
                <a:gd name="connsiteY0" fmla="*/ 0 h 257442"/>
                <a:gd name="connsiteX1" fmla="*/ 1082028 w 1136749"/>
                <a:gd name="connsiteY1" fmla="*/ 257442 h 257442"/>
                <a:gd name="connsiteX2" fmla="*/ 0 w 1136749"/>
                <a:gd name="connsiteY2" fmla="*/ 257442 h 257442"/>
                <a:gd name="connsiteX3" fmla="*/ 0 w 1136749"/>
                <a:gd name="connsiteY3" fmla="*/ 0 h 257442"/>
                <a:gd name="connsiteX0" fmla="*/ 1136749 w 1136749"/>
                <a:gd name="connsiteY0" fmla="*/ 0 h 257442"/>
                <a:gd name="connsiteX1" fmla="*/ 1082028 w 1136749"/>
                <a:gd name="connsiteY1" fmla="*/ 257442 h 257442"/>
                <a:gd name="connsiteX2" fmla="*/ 0 w 1136749"/>
                <a:gd name="connsiteY2" fmla="*/ 257442 h 257442"/>
                <a:gd name="connsiteX3" fmla="*/ 0 w 1136749"/>
                <a:gd name="connsiteY3" fmla="*/ 0 h 257442"/>
                <a:gd name="connsiteX0" fmla="*/ 1305064 w 1305064"/>
                <a:gd name="connsiteY0" fmla="*/ 0 h 257442"/>
                <a:gd name="connsiteX1" fmla="*/ 1082028 w 1305064"/>
                <a:gd name="connsiteY1" fmla="*/ 257442 h 257442"/>
                <a:gd name="connsiteX2" fmla="*/ 0 w 1305064"/>
                <a:gd name="connsiteY2" fmla="*/ 257442 h 257442"/>
                <a:gd name="connsiteX3" fmla="*/ 0 w 1305064"/>
                <a:gd name="connsiteY3" fmla="*/ 0 h 257442"/>
                <a:gd name="connsiteX0" fmla="*/ 1305064 w 1305064"/>
                <a:gd name="connsiteY0" fmla="*/ 0 h 257442"/>
                <a:gd name="connsiteX1" fmla="*/ 1250342 w 1305064"/>
                <a:gd name="connsiteY1" fmla="*/ 257442 h 257442"/>
                <a:gd name="connsiteX2" fmla="*/ 0 w 1305064"/>
                <a:gd name="connsiteY2" fmla="*/ 257442 h 257442"/>
                <a:gd name="connsiteX3" fmla="*/ 0 w 1305064"/>
                <a:gd name="connsiteY3" fmla="*/ 0 h 257442"/>
                <a:gd name="connsiteX0" fmla="*/ 1305065 w 1305065"/>
                <a:gd name="connsiteY0" fmla="*/ 0 h 257442"/>
                <a:gd name="connsiteX1" fmla="*/ 1250343 w 1305065"/>
                <a:gd name="connsiteY1" fmla="*/ 257442 h 257442"/>
                <a:gd name="connsiteX2" fmla="*/ 0 w 1305065"/>
                <a:gd name="connsiteY2" fmla="*/ 257442 h 257442"/>
                <a:gd name="connsiteX3" fmla="*/ 1 w 1305065"/>
                <a:gd name="connsiteY3" fmla="*/ 0 h 257442"/>
                <a:gd name="connsiteX0" fmla="*/ 1305065 w 1305065"/>
                <a:gd name="connsiteY0" fmla="*/ 0 h 257442"/>
                <a:gd name="connsiteX1" fmla="*/ 1250343 w 1305065"/>
                <a:gd name="connsiteY1" fmla="*/ 257442 h 257442"/>
                <a:gd name="connsiteX2" fmla="*/ 0 w 1305065"/>
                <a:gd name="connsiteY2" fmla="*/ 257442 h 257442"/>
                <a:gd name="connsiteX3" fmla="*/ 1 w 1305065"/>
                <a:gd name="connsiteY3" fmla="*/ 0 h 257442"/>
                <a:gd name="connsiteX0" fmla="*/ 1473381 w 1473381"/>
                <a:gd name="connsiteY0" fmla="*/ 0 h 257442"/>
                <a:gd name="connsiteX1" fmla="*/ 1250343 w 1473381"/>
                <a:gd name="connsiteY1" fmla="*/ 257442 h 257442"/>
                <a:gd name="connsiteX2" fmla="*/ 0 w 1473381"/>
                <a:gd name="connsiteY2" fmla="*/ 257442 h 257442"/>
                <a:gd name="connsiteX3" fmla="*/ 1 w 1473381"/>
                <a:gd name="connsiteY3" fmla="*/ 0 h 257442"/>
                <a:gd name="connsiteX0" fmla="*/ 1473381 w 1473381"/>
                <a:gd name="connsiteY0" fmla="*/ 0 h 257442"/>
                <a:gd name="connsiteX1" fmla="*/ 1418660 w 1473381"/>
                <a:gd name="connsiteY1" fmla="*/ 257442 h 257442"/>
                <a:gd name="connsiteX2" fmla="*/ 0 w 1473381"/>
                <a:gd name="connsiteY2" fmla="*/ 257442 h 257442"/>
                <a:gd name="connsiteX3" fmla="*/ 1 w 1473381"/>
                <a:gd name="connsiteY3" fmla="*/ 0 h 257442"/>
                <a:gd name="connsiteX0" fmla="*/ 1473380 w 1473380"/>
                <a:gd name="connsiteY0" fmla="*/ 0 h 257442"/>
                <a:gd name="connsiteX1" fmla="*/ 1418659 w 1473380"/>
                <a:gd name="connsiteY1" fmla="*/ 257442 h 257442"/>
                <a:gd name="connsiteX2" fmla="*/ 0 w 1473380"/>
                <a:gd name="connsiteY2" fmla="*/ 257442 h 257442"/>
                <a:gd name="connsiteX3" fmla="*/ 0 w 1473380"/>
                <a:gd name="connsiteY3" fmla="*/ 0 h 257442"/>
                <a:gd name="connsiteX0" fmla="*/ 1473381 w 1473381"/>
                <a:gd name="connsiteY0" fmla="*/ 0 h 257442"/>
                <a:gd name="connsiteX1" fmla="*/ 1418660 w 1473381"/>
                <a:gd name="connsiteY1" fmla="*/ 257442 h 257442"/>
                <a:gd name="connsiteX2" fmla="*/ 1 w 1473381"/>
                <a:gd name="connsiteY2" fmla="*/ 257442 h 257442"/>
                <a:gd name="connsiteX3" fmla="*/ 0 w 1473381"/>
                <a:gd name="connsiteY3" fmla="*/ 0 h 257442"/>
                <a:gd name="connsiteX0" fmla="*/ 1633681 w 1633681"/>
                <a:gd name="connsiteY0" fmla="*/ 0 h 257442"/>
                <a:gd name="connsiteX1" fmla="*/ 1418660 w 1633681"/>
                <a:gd name="connsiteY1" fmla="*/ 257442 h 257442"/>
                <a:gd name="connsiteX2" fmla="*/ 1 w 1633681"/>
                <a:gd name="connsiteY2" fmla="*/ 257442 h 257442"/>
                <a:gd name="connsiteX3" fmla="*/ 0 w 1633681"/>
                <a:gd name="connsiteY3" fmla="*/ 0 h 257442"/>
                <a:gd name="connsiteX0" fmla="*/ 1633681 w 1633681"/>
                <a:gd name="connsiteY0" fmla="*/ 0 h 257442"/>
                <a:gd name="connsiteX1" fmla="*/ 1578960 w 1633681"/>
                <a:gd name="connsiteY1" fmla="*/ 257442 h 257442"/>
                <a:gd name="connsiteX2" fmla="*/ 1 w 1633681"/>
                <a:gd name="connsiteY2" fmla="*/ 257442 h 257442"/>
                <a:gd name="connsiteX3" fmla="*/ 0 w 1633681"/>
                <a:gd name="connsiteY3" fmla="*/ 0 h 257442"/>
                <a:gd name="connsiteX0" fmla="*/ 1633681 w 1633681"/>
                <a:gd name="connsiteY0" fmla="*/ 0 h 257442"/>
                <a:gd name="connsiteX1" fmla="*/ 1578960 w 1633681"/>
                <a:gd name="connsiteY1" fmla="*/ 257442 h 257442"/>
                <a:gd name="connsiteX2" fmla="*/ 1 w 1633681"/>
                <a:gd name="connsiteY2" fmla="*/ 257442 h 257442"/>
                <a:gd name="connsiteX3" fmla="*/ 0 w 1633681"/>
                <a:gd name="connsiteY3" fmla="*/ 0 h 257442"/>
                <a:gd name="connsiteX0" fmla="*/ 1633680 w 1633680"/>
                <a:gd name="connsiteY0" fmla="*/ 0 h 257442"/>
                <a:gd name="connsiteX1" fmla="*/ 1578959 w 1633680"/>
                <a:gd name="connsiteY1" fmla="*/ 257442 h 257442"/>
                <a:gd name="connsiteX2" fmla="*/ 0 w 1633680"/>
                <a:gd name="connsiteY2" fmla="*/ 257442 h 257442"/>
                <a:gd name="connsiteX3" fmla="*/ 0 w 1633680"/>
                <a:gd name="connsiteY3" fmla="*/ 0 h 257442"/>
                <a:gd name="connsiteX0" fmla="*/ 1886954 w 1886954"/>
                <a:gd name="connsiteY0" fmla="*/ 0 h 257442"/>
                <a:gd name="connsiteX1" fmla="*/ 1578959 w 1886954"/>
                <a:gd name="connsiteY1" fmla="*/ 257442 h 257442"/>
                <a:gd name="connsiteX2" fmla="*/ 0 w 1886954"/>
                <a:gd name="connsiteY2" fmla="*/ 257442 h 257442"/>
                <a:gd name="connsiteX3" fmla="*/ 0 w 1886954"/>
                <a:gd name="connsiteY3" fmla="*/ 0 h 257442"/>
                <a:gd name="connsiteX0" fmla="*/ 1886954 w 1886954"/>
                <a:gd name="connsiteY0" fmla="*/ 0 h 257442"/>
                <a:gd name="connsiteX1" fmla="*/ 1832233 w 1886954"/>
                <a:gd name="connsiteY1" fmla="*/ 257442 h 257442"/>
                <a:gd name="connsiteX2" fmla="*/ 0 w 1886954"/>
                <a:gd name="connsiteY2" fmla="*/ 257442 h 257442"/>
                <a:gd name="connsiteX3" fmla="*/ 0 w 1886954"/>
                <a:gd name="connsiteY3" fmla="*/ 0 h 257442"/>
                <a:gd name="connsiteX0" fmla="*/ 1886955 w 1886955"/>
                <a:gd name="connsiteY0" fmla="*/ 0 h 257442"/>
                <a:gd name="connsiteX1" fmla="*/ 1832234 w 1886955"/>
                <a:gd name="connsiteY1" fmla="*/ 257442 h 257442"/>
                <a:gd name="connsiteX2" fmla="*/ 0 w 1886955"/>
                <a:gd name="connsiteY2" fmla="*/ 257442 h 257442"/>
                <a:gd name="connsiteX3" fmla="*/ 1 w 1886955"/>
                <a:gd name="connsiteY3" fmla="*/ 0 h 257442"/>
                <a:gd name="connsiteX0" fmla="*/ 1886955 w 1886955"/>
                <a:gd name="connsiteY0" fmla="*/ 0 h 257442"/>
                <a:gd name="connsiteX1" fmla="*/ 1832234 w 1886955"/>
                <a:gd name="connsiteY1" fmla="*/ 257442 h 257442"/>
                <a:gd name="connsiteX2" fmla="*/ 0 w 1886955"/>
                <a:gd name="connsiteY2" fmla="*/ 257442 h 257442"/>
                <a:gd name="connsiteX3" fmla="*/ 1 w 1886955"/>
                <a:gd name="connsiteY3" fmla="*/ 0 h 257442"/>
                <a:gd name="connsiteX0" fmla="*/ 2047256 w 2047256"/>
                <a:gd name="connsiteY0" fmla="*/ 0 h 257442"/>
                <a:gd name="connsiteX1" fmla="*/ 1832234 w 2047256"/>
                <a:gd name="connsiteY1" fmla="*/ 257442 h 257442"/>
                <a:gd name="connsiteX2" fmla="*/ 0 w 2047256"/>
                <a:gd name="connsiteY2" fmla="*/ 257442 h 257442"/>
                <a:gd name="connsiteX3" fmla="*/ 1 w 2047256"/>
                <a:gd name="connsiteY3" fmla="*/ 0 h 257442"/>
                <a:gd name="connsiteX0" fmla="*/ 2047256 w 2047256"/>
                <a:gd name="connsiteY0" fmla="*/ 0 h 257442"/>
                <a:gd name="connsiteX1" fmla="*/ 1992534 w 2047256"/>
                <a:gd name="connsiteY1" fmla="*/ 257442 h 257442"/>
                <a:gd name="connsiteX2" fmla="*/ 0 w 2047256"/>
                <a:gd name="connsiteY2" fmla="*/ 257442 h 257442"/>
                <a:gd name="connsiteX3" fmla="*/ 1 w 2047256"/>
                <a:gd name="connsiteY3" fmla="*/ 0 h 257442"/>
                <a:gd name="connsiteX0" fmla="*/ 2047256 w 2047256"/>
                <a:gd name="connsiteY0" fmla="*/ 0 h 257442"/>
                <a:gd name="connsiteX1" fmla="*/ 1992534 w 2047256"/>
                <a:gd name="connsiteY1" fmla="*/ 257442 h 257442"/>
                <a:gd name="connsiteX2" fmla="*/ 0 w 2047256"/>
                <a:gd name="connsiteY2" fmla="*/ 257442 h 257442"/>
                <a:gd name="connsiteX3" fmla="*/ 1 w 2047256"/>
                <a:gd name="connsiteY3" fmla="*/ 0 h 257442"/>
                <a:gd name="connsiteX0" fmla="*/ 2047256 w 2047256"/>
                <a:gd name="connsiteY0" fmla="*/ 0 h 257442"/>
                <a:gd name="connsiteX1" fmla="*/ 1992534 w 2047256"/>
                <a:gd name="connsiteY1" fmla="*/ 257442 h 257442"/>
                <a:gd name="connsiteX2" fmla="*/ 0 w 2047256"/>
                <a:gd name="connsiteY2" fmla="*/ 257442 h 257442"/>
                <a:gd name="connsiteX3" fmla="*/ 0 w 2047256"/>
                <a:gd name="connsiteY3" fmla="*/ 0 h 257442"/>
                <a:gd name="connsiteX0" fmla="*/ 2300530 w 2300530"/>
                <a:gd name="connsiteY0" fmla="*/ 0 h 257442"/>
                <a:gd name="connsiteX1" fmla="*/ 1992534 w 2300530"/>
                <a:gd name="connsiteY1" fmla="*/ 257442 h 257442"/>
                <a:gd name="connsiteX2" fmla="*/ 0 w 2300530"/>
                <a:gd name="connsiteY2" fmla="*/ 257442 h 257442"/>
                <a:gd name="connsiteX3" fmla="*/ 0 w 2300530"/>
                <a:gd name="connsiteY3" fmla="*/ 0 h 257442"/>
                <a:gd name="connsiteX0" fmla="*/ 2300530 w 2300530"/>
                <a:gd name="connsiteY0" fmla="*/ 0 h 257442"/>
                <a:gd name="connsiteX1" fmla="*/ 2245809 w 2300530"/>
                <a:gd name="connsiteY1" fmla="*/ 257442 h 257442"/>
                <a:gd name="connsiteX2" fmla="*/ 0 w 2300530"/>
                <a:gd name="connsiteY2" fmla="*/ 257442 h 257442"/>
                <a:gd name="connsiteX3" fmla="*/ 0 w 2300530"/>
                <a:gd name="connsiteY3" fmla="*/ 0 h 257442"/>
                <a:gd name="connsiteX0" fmla="*/ 2300530 w 2300530"/>
                <a:gd name="connsiteY0" fmla="*/ 0 h 257442"/>
                <a:gd name="connsiteX1" fmla="*/ 2245809 w 2300530"/>
                <a:gd name="connsiteY1" fmla="*/ 257442 h 257442"/>
                <a:gd name="connsiteX2" fmla="*/ 0 w 2300530"/>
                <a:gd name="connsiteY2" fmla="*/ 257442 h 257442"/>
                <a:gd name="connsiteX3" fmla="*/ 0 w 2300530"/>
                <a:gd name="connsiteY3" fmla="*/ 0 h 257442"/>
                <a:gd name="connsiteX0" fmla="*/ 2300530 w 2300530"/>
                <a:gd name="connsiteY0" fmla="*/ 0 h 257442"/>
                <a:gd name="connsiteX1" fmla="*/ 2245809 w 2300530"/>
                <a:gd name="connsiteY1" fmla="*/ 257442 h 257442"/>
                <a:gd name="connsiteX2" fmla="*/ 0 w 2300530"/>
                <a:gd name="connsiteY2" fmla="*/ 257442 h 257442"/>
                <a:gd name="connsiteX3" fmla="*/ 0 w 2300530"/>
                <a:gd name="connsiteY3" fmla="*/ 0 h 257442"/>
                <a:gd name="connsiteX0" fmla="*/ 2569834 w 2569834"/>
                <a:gd name="connsiteY0" fmla="*/ 0 h 257442"/>
                <a:gd name="connsiteX1" fmla="*/ 2245809 w 2569834"/>
                <a:gd name="connsiteY1" fmla="*/ 257442 h 257442"/>
                <a:gd name="connsiteX2" fmla="*/ 0 w 2569834"/>
                <a:gd name="connsiteY2" fmla="*/ 257442 h 257442"/>
                <a:gd name="connsiteX3" fmla="*/ 0 w 2569834"/>
                <a:gd name="connsiteY3" fmla="*/ 0 h 257442"/>
                <a:gd name="connsiteX0" fmla="*/ 2569834 w 2569834"/>
                <a:gd name="connsiteY0" fmla="*/ 0 h 257442"/>
                <a:gd name="connsiteX1" fmla="*/ 2515113 w 2569834"/>
                <a:gd name="connsiteY1" fmla="*/ 257442 h 257442"/>
                <a:gd name="connsiteX2" fmla="*/ 0 w 2569834"/>
                <a:gd name="connsiteY2" fmla="*/ 257442 h 257442"/>
                <a:gd name="connsiteX3" fmla="*/ 0 w 2569834"/>
                <a:gd name="connsiteY3" fmla="*/ 0 h 257442"/>
                <a:gd name="connsiteX0" fmla="*/ 2569834 w 2569834"/>
                <a:gd name="connsiteY0" fmla="*/ 0 h 257442"/>
                <a:gd name="connsiteX1" fmla="*/ 2515113 w 2569834"/>
                <a:gd name="connsiteY1" fmla="*/ 257442 h 257442"/>
                <a:gd name="connsiteX2" fmla="*/ 0 w 2569834"/>
                <a:gd name="connsiteY2" fmla="*/ 257442 h 257442"/>
                <a:gd name="connsiteX3" fmla="*/ 0 w 2569834"/>
                <a:gd name="connsiteY3" fmla="*/ 0 h 257442"/>
                <a:gd name="connsiteX0" fmla="*/ 2569834 w 2569834"/>
                <a:gd name="connsiteY0" fmla="*/ 0 h 257442"/>
                <a:gd name="connsiteX1" fmla="*/ 2515113 w 2569834"/>
                <a:gd name="connsiteY1" fmla="*/ 257442 h 257442"/>
                <a:gd name="connsiteX2" fmla="*/ 0 w 2569834"/>
                <a:gd name="connsiteY2" fmla="*/ 257442 h 257442"/>
                <a:gd name="connsiteX3" fmla="*/ 0 w 2569834"/>
                <a:gd name="connsiteY3" fmla="*/ 0 h 257442"/>
                <a:gd name="connsiteX0" fmla="*/ 2747767 w 2747767"/>
                <a:gd name="connsiteY0" fmla="*/ 0 h 257442"/>
                <a:gd name="connsiteX1" fmla="*/ 2515113 w 2747767"/>
                <a:gd name="connsiteY1" fmla="*/ 257442 h 257442"/>
                <a:gd name="connsiteX2" fmla="*/ 0 w 2747767"/>
                <a:gd name="connsiteY2" fmla="*/ 257442 h 257442"/>
                <a:gd name="connsiteX3" fmla="*/ 0 w 2747767"/>
                <a:gd name="connsiteY3" fmla="*/ 0 h 257442"/>
                <a:gd name="connsiteX0" fmla="*/ 2747767 w 2747767"/>
                <a:gd name="connsiteY0" fmla="*/ 0 h 257442"/>
                <a:gd name="connsiteX1" fmla="*/ 2693046 w 2747767"/>
                <a:gd name="connsiteY1" fmla="*/ 257442 h 257442"/>
                <a:gd name="connsiteX2" fmla="*/ 0 w 2747767"/>
                <a:gd name="connsiteY2" fmla="*/ 257442 h 257442"/>
                <a:gd name="connsiteX3" fmla="*/ 0 w 2747767"/>
                <a:gd name="connsiteY3" fmla="*/ 0 h 257442"/>
                <a:gd name="connsiteX0" fmla="*/ 2747767 w 2747767"/>
                <a:gd name="connsiteY0" fmla="*/ 0 h 257442"/>
                <a:gd name="connsiteX1" fmla="*/ 2693046 w 2747767"/>
                <a:gd name="connsiteY1" fmla="*/ 257442 h 257442"/>
                <a:gd name="connsiteX2" fmla="*/ 0 w 2747767"/>
                <a:gd name="connsiteY2" fmla="*/ 257442 h 257442"/>
                <a:gd name="connsiteX3" fmla="*/ 0 w 2747767"/>
                <a:gd name="connsiteY3" fmla="*/ 0 h 257442"/>
                <a:gd name="connsiteX0" fmla="*/ 2747767 w 2747767"/>
                <a:gd name="connsiteY0" fmla="*/ 0 h 257442"/>
                <a:gd name="connsiteX1" fmla="*/ 2693046 w 2747767"/>
                <a:gd name="connsiteY1" fmla="*/ 257442 h 257442"/>
                <a:gd name="connsiteX2" fmla="*/ 0 w 2747767"/>
                <a:gd name="connsiteY2" fmla="*/ 257442 h 257442"/>
                <a:gd name="connsiteX3" fmla="*/ 0 w 2747767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47767" h="257442">
                  <a:moveTo>
                    <a:pt x="2747767" y="0"/>
                  </a:moveTo>
                  <a:lnTo>
                    <a:pt x="2693046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21" name="btfpRunningAgenda1LevelTextLeft736512">
              <a:extLst>
                <a:ext uri="{FF2B5EF4-FFF2-40B4-BE49-F238E27FC236}">
                  <a16:creationId xmlns:a16="http://schemas.microsoft.com/office/drawing/2014/main" id="{5C690AA0-ECD4-02D8-B2A7-4C734D753559}"/>
                </a:ext>
              </a:extLst>
            </p:cNvPr>
            <p:cNvSpPr txBox="1"/>
            <p:nvPr/>
          </p:nvSpPr>
          <p:spPr bwMode="gray">
            <a:xfrm>
              <a:off x="0" y="876300"/>
              <a:ext cx="2693046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Market sizing</a:t>
              </a:r>
            </a:p>
          </p:txBody>
        </p: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173926D5-C07E-C1B1-F6CF-6DB8E64B96E4}"/>
              </a:ext>
            </a:extLst>
          </p:cNvPr>
          <p:cNvSpPr txBox="1"/>
          <p:nvPr/>
        </p:nvSpPr>
        <p:spPr bwMode="gray">
          <a:xfrm rot="3048423">
            <a:off x="11431924" y="190878"/>
            <a:ext cx="914400" cy="257369"/>
          </a:xfrm>
          <a:prstGeom prst="rect">
            <a:avLst/>
          </a:prstGeom>
          <a:solidFill>
            <a:srgbClr val="CC0000"/>
          </a:solidFill>
        </p:spPr>
        <p:txBody>
          <a:bodyPr wrap="square" lIns="36000" tIns="36000" rIns="36000" bIns="36000" rtlCol="0">
            <a:spAutoFit/>
          </a:bodyPr>
          <a:lstStyle/>
          <a:p>
            <a:pPr marL="0" indent="0" algn="ctr">
              <a:buNone/>
            </a:pPr>
            <a:r>
              <a:rPr lang="en-US" sz="1200">
                <a:solidFill>
                  <a:srgbClr val="FFFFFF"/>
                </a:solidFill>
              </a:rPr>
              <a:t>SAMPLE</a:t>
            </a:r>
          </a:p>
        </p:txBody>
      </p:sp>
      <p:grpSp>
        <p:nvGrpSpPr>
          <p:cNvPr id="17" name="btfpStatusSticker515089">
            <a:extLst>
              <a:ext uri="{FF2B5EF4-FFF2-40B4-BE49-F238E27FC236}">
                <a16:creationId xmlns:a16="http://schemas.microsoft.com/office/drawing/2014/main" id="{93278A28-B335-3A16-8D40-D6440705AF52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0077254" y="964771"/>
            <a:ext cx="1779784" cy="235611"/>
            <a:chOff x="-6024177" y="876300"/>
            <a:chExt cx="1759136" cy="235611"/>
          </a:xfrm>
        </p:grpSpPr>
        <p:sp>
          <p:nvSpPr>
            <p:cNvPr id="18" name="btfpStatusStickerText515089">
              <a:extLst>
                <a:ext uri="{FF2B5EF4-FFF2-40B4-BE49-F238E27FC236}">
                  <a16:creationId xmlns:a16="http://schemas.microsoft.com/office/drawing/2014/main" id="{1E3B78EC-4998-3810-B10D-36799EB34C2E}"/>
                </a:ext>
              </a:extLst>
            </p:cNvPr>
            <p:cNvSpPr txBox="1"/>
            <p:nvPr/>
          </p:nvSpPr>
          <p:spPr bwMode="gray">
            <a:xfrm>
              <a:off x="-6024177" y="876300"/>
              <a:ext cx="1759136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marR="0" lvl="0" indent="0" algn="r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all" spc="45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Microsoft YaHei"/>
                  <a:cs typeface="+mn-cs"/>
                </a:rPr>
                <a:t>DIRECTIONAL</a:t>
              </a:r>
            </a:p>
          </p:txBody>
        </p:sp>
        <p:cxnSp>
          <p:nvCxnSpPr>
            <p:cNvPr id="20" name="btfpStatusStickerLine515089">
              <a:extLst>
                <a:ext uri="{FF2B5EF4-FFF2-40B4-BE49-F238E27FC236}">
                  <a16:creationId xmlns:a16="http://schemas.microsoft.com/office/drawing/2014/main" id="{ECD24155-1904-02E5-5721-5A172C97CFF8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6024177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1"/>
    </p:custDataLst>
    <p:extLst>
      <p:ext uri="{BB962C8B-B14F-4D97-AF65-F5344CB8AC3E}">
        <p14:creationId xmlns:p14="http://schemas.microsoft.com/office/powerpoint/2010/main" val="15543153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28C0F95D-9BA3-2E40-C6E4-31C9714C9A3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95" imgH="396" progId="TCLayout.ActiveDocument.1">
                  <p:embed/>
                </p:oleObj>
              </mc:Choice>
              <mc:Fallback>
                <p:oleObj name="think-cell Slide" r:id="rId9" imgW="395" imgH="39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8C0F95D-9BA3-2E40-C6E4-31C9714C9A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17" descr="Red and black diagonal lines">
            <a:extLst>
              <a:ext uri="{FF2B5EF4-FFF2-40B4-BE49-F238E27FC236}">
                <a16:creationId xmlns:a16="http://schemas.microsoft.com/office/drawing/2014/main" id="{6BEE926A-B06B-12C2-1D57-463512F1637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-3360"/>
            <a:ext cx="12191999" cy="843464"/>
          </a:xfrm>
          <a:prstGeom prst="rect">
            <a:avLst/>
          </a:prstGeom>
        </p:spPr>
      </p:pic>
      <p:grpSp>
        <p:nvGrpSpPr>
          <p:cNvPr id="44" name="btfpColumnIndicatorGroup2">
            <a:extLst>
              <a:ext uri="{FF2B5EF4-FFF2-40B4-BE49-F238E27FC236}">
                <a16:creationId xmlns:a16="http://schemas.microsoft.com/office/drawing/2014/main" id="{693DD4B7-1BDB-4A0C-8738-4772F10AEF0D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37" name="btfpColumnGapBlocker414325">
              <a:extLst>
                <a:ext uri="{FF2B5EF4-FFF2-40B4-BE49-F238E27FC236}">
                  <a16:creationId xmlns:a16="http://schemas.microsoft.com/office/drawing/2014/main" id="{A5709744-6423-42A7-B99C-EDA8A010E651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34" name="btfpColumnGapBlocker302567">
              <a:extLst>
                <a:ext uri="{FF2B5EF4-FFF2-40B4-BE49-F238E27FC236}">
                  <a16:creationId xmlns:a16="http://schemas.microsoft.com/office/drawing/2014/main" id="{9572527F-CCFC-40EE-BF1A-34FE2651BF71}"/>
                </a:ext>
              </a:extLst>
            </p:cNvPr>
            <p:cNvSpPr/>
            <p:nvPr/>
          </p:nvSpPr>
          <p:spPr bwMode="gray">
            <a:xfrm>
              <a:off x="7837752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32" name="btfpColumnIndicator227427">
              <a:extLst>
                <a:ext uri="{FF2B5EF4-FFF2-40B4-BE49-F238E27FC236}">
                  <a16:creationId xmlns:a16="http://schemas.microsoft.com/office/drawing/2014/main" id="{5FB70A25-FF16-40E6-B0C7-9816D406AD57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btfpColumnIndicator168360">
              <a:extLst>
                <a:ext uri="{FF2B5EF4-FFF2-40B4-BE49-F238E27FC236}">
                  <a16:creationId xmlns:a16="http://schemas.microsoft.com/office/drawing/2014/main" id="{567DFA41-BD6B-4C47-9400-F60E54C991D5}"/>
                </a:ext>
              </a:extLst>
            </p:cNvPr>
            <p:cNvCxnSpPr/>
            <p:nvPr/>
          </p:nvCxnSpPr>
          <p:spPr bwMode="gray">
            <a:xfrm flipV="1">
              <a:off x="8378296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btfpColumnGapBlocker882486">
              <a:extLst>
                <a:ext uri="{FF2B5EF4-FFF2-40B4-BE49-F238E27FC236}">
                  <a16:creationId xmlns:a16="http://schemas.microsoft.com/office/drawing/2014/main" id="{E86F36C8-E63F-49FA-B75B-DFAD5F5235BD}"/>
                </a:ext>
              </a:extLst>
            </p:cNvPr>
            <p:cNvSpPr/>
            <p:nvPr/>
          </p:nvSpPr>
          <p:spPr bwMode="gray">
            <a:xfrm>
              <a:off x="3813704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5" name="btfpColumnIndicator340482">
              <a:extLst>
                <a:ext uri="{FF2B5EF4-FFF2-40B4-BE49-F238E27FC236}">
                  <a16:creationId xmlns:a16="http://schemas.microsoft.com/office/drawing/2014/main" id="{6F330268-3D2E-4F1D-9E10-DB1EAD0278A7}"/>
                </a:ext>
              </a:extLst>
            </p:cNvPr>
            <p:cNvCxnSpPr/>
            <p:nvPr/>
          </p:nvCxnSpPr>
          <p:spPr bwMode="gray">
            <a:xfrm flipV="1">
              <a:off x="783775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btfpColumnIndicator999545">
              <a:extLst>
                <a:ext uri="{FF2B5EF4-FFF2-40B4-BE49-F238E27FC236}">
                  <a16:creationId xmlns:a16="http://schemas.microsoft.com/office/drawing/2014/main" id="{F0F0461E-EE24-4038-8AB8-EF0CC2278FD2}"/>
                </a:ext>
              </a:extLst>
            </p:cNvPr>
            <p:cNvCxnSpPr/>
            <p:nvPr/>
          </p:nvCxnSpPr>
          <p:spPr bwMode="gray">
            <a:xfrm flipV="1">
              <a:off x="435424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btfpColumnGapBlocker697467">
              <a:extLst>
                <a:ext uri="{FF2B5EF4-FFF2-40B4-BE49-F238E27FC236}">
                  <a16:creationId xmlns:a16="http://schemas.microsoft.com/office/drawing/2014/main" id="{FC9FDDC7-667D-4D8B-A01A-137DC2D34794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9" name="btfpColumnIndicator118032">
              <a:extLst>
                <a:ext uri="{FF2B5EF4-FFF2-40B4-BE49-F238E27FC236}">
                  <a16:creationId xmlns:a16="http://schemas.microsoft.com/office/drawing/2014/main" id="{B4E03834-83B8-496C-BFF3-DBD662529777}"/>
                </a:ext>
              </a:extLst>
            </p:cNvPr>
            <p:cNvCxnSpPr/>
            <p:nvPr/>
          </p:nvCxnSpPr>
          <p:spPr bwMode="gray">
            <a:xfrm flipV="1">
              <a:off x="3813704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219568">
              <a:extLst>
                <a:ext uri="{FF2B5EF4-FFF2-40B4-BE49-F238E27FC236}">
                  <a16:creationId xmlns:a16="http://schemas.microsoft.com/office/drawing/2014/main" id="{440E89FE-65CC-403B-8225-0A940AA64CB1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8" name="btfpColumnIndicatorGroup1">
            <a:extLst>
              <a:ext uri="{FF2B5EF4-FFF2-40B4-BE49-F238E27FC236}">
                <a16:creationId xmlns:a16="http://schemas.microsoft.com/office/drawing/2014/main" id="{F175C37E-4DD1-4B5A-9608-200311C8AF1F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35" name="btfpColumnGapBlocker251296">
              <a:extLst>
                <a:ext uri="{FF2B5EF4-FFF2-40B4-BE49-F238E27FC236}">
                  <a16:creationId xmlns:a16="http://schemas.microsoft.com/office/drawing/2014/main" id="{F86598C6-6029-46DC-8B51-70B97B023AD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33" name="btfpColumnGapBlocker145580">
              <a:extLst>
                <a:ext uri="{FF2B5EF4-FFF2-40B4-BE49-F238E27FC236}">
                  <a16:creationId xmlns:a16="http://schemas.microsoft.com/office/drawing/2014/main" id="{0A4D312E-B4F9-4CDB-85C7-46176D967B75}"/>
                </a:ext>
              </a:extLst>
            </p:cNvPr>
            <p:cNvSpPr/>
            <p:nvPr/>
          </p:nvSpPr>
          <p:spPr bwMode="gray">
            <a:xfrm>
              <a:off x="7837752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31" name="btfpColumnIndicator786089">
              <a:extLst>
                <a:ext uri="{FF2B5EF4-FFF2-40B4-BE49-F238E27FC236}">
                  <a16:creationId xmlns:a16="http://schemas.microsoft.com/office/drawing/2014/main" id="{86B4EE4B-0B69-4BF8-B574-03C3DC927ACA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btfpColumnIndicator806753">
              <a:extLst>
                <a:ext uri="{FF2B5EF4-FFF2-40B4-BE49-F238E27FC236}">
                  <a16:creationId xmlns:a16="http://schemas.microsoft.com/office/drawing/2014/main" id="{E919FBA4-2982-4A34-A193-9F9F9899E505}"/>
                </a:ext>
              </a:extLst>
            </p:cNvPr>
            <p:cNvCxnSpPr/>
            <p:nvPr/>
          </p:nvCxnSpPr>
          <p:spPr bwMode="gray">
            <a:xfrm flipV="1">
              <a:off x="8378296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btfpColumnGapBlocker675747">
              <a:extLst>
                <a:ext uri="{FF2B5EF4-FFF2-40B4-BE49-F238E27FC236}">
                  <a16:creationId xmlns:a16="http://schemas.microsoft.com/office/drawing/2014/main" id="{58BF63F9-FCA7-4E1A-81D9-1E8C04A0AA7C}"/>
                </a:ext>
              </a:extLst>
            </p:cNvPr>
            <p:cNvSpPr/>
            <p:nvPr/>
          </p:nvSpPr>
          <p:spPr bwMode="gray">
            <a:xfrm>
              <a:off x="3813704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4" name="btfpColumnIndicator930465">
              <a:extLst>
                <a:ext uri="{FF2B5EF4-FFF2-40B4-BE49-F238E27FC236}">
                  <a16:creationId xmlns:a16="http://schemas.microsoft.com/office/drawing/2014/main" id="{76843678-943D-4E10-A0B6-0D3A4A115C69}"/>
                </a:ext>
              </a:extLst>
            </p:cNvPr>
            <p:cNvCxnSpPr/>
            <p:nvPr/>
          </p:nvCxnSpPr>
          <p:spPr bwMode="gray">
            <a:xfrm flipV="1">
              <a:off x="783775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btfpColumnIndicator124327">
              <a:extLst>
                <a:ext uri="{FF2B5EF4-FFF2-40B4-BE49-F238E27FC236}">
                  <a16:creationId xmlns:a16="http://schemas.microsoft.com/office/drawing/2014/main" id="{EA968346-93FF-4A83-9195-F0E6CBC8C942}"/>
                </a:ext>
              </a:extLst>
            </p:cNvPr>
            <p:cNvCxnSpPr/>
            <p:nvPr/>
          </p:nvCxnSpPr>
          <p:spPr bwMode="gray">
            <a:xfrm flipV="1">
              <a:off x="435424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btfpColumnGapBlocker192088">
              <a:extLst>
                <a:ext uri="{FF2B5EF4-FFF2-40B4-BE49-F238E27FC236}">
                  <a16:creationId xmlns:a16="http://schemas.microsoft.com/office/drawing/2014/main" id="{38E6C8B9-5F46-41C6-93A0-3D4749416C6C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9" name="btfpColumnIndicator374506">
              <a:extLst>
                <a:ext uri="{FF2B5EF4-FFF2-40B4-BE49-F238E27FC236}">
                  <a16:creationId xmlns:a16="http://schemas.microsoft.com/office/drawing/2014/main" id="{484009C4-5FB5-4CE0-BCFF-F006C35A3391}"/>
                </a:ext>
              </a:extLst>
            </p:cNvPr>
            <p:cNvCxnSpPr/>
            <p:nvPr/>
          </p:nvCxnSpPr>
          <p:spPr bwMode="gray">
            <a:xfrm flipV="1">
              <a:off x="3813704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btfpColumnIndicator460194">
              <a:extLst>
                <a:ext uri="{FF2B5EF4-FFF2-40B4-BE49-F238E27FC236}">
                  <a16:creationId xmlns:a16="http://schemas.microsoft.com/office/drawing/2014/main" id="{24CF4D02-1604-4FE1-8EFC-08DCE9FD9283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1"/>
            <a:ext cx="11526837" cy="876687"/>
          </a:xfrm>
        </p:spPr>
        <p:txBody>
          <a:bodyPr vert="horz"/>
          <a:lstStyle/>
          <a:p>
            <a:r>
              <a:rPr lang="en-US">
                <a:solidFill>
                  <a:schemeClr val="bg1"/>
                </a:solidFill>
              </a:rPr>
              <a:t>Potential disruptors in the </a:t>
            </a:r>
            <a:r>
              <a:rPr lang="en-US" err="1">
                <a:solidFill>
                  <a:schemeClr val="bg1"/>
                </a:solidFill>
              </a:rPr>
              <a:t>IIoT</a:t>
            </a:r>
            <a:r>
              <a:rPr lang="en-US">
                <a:solidFill>
                  <a:schemeClr val="bg1"/>
                </a:solidFill>
              </a:rPr>
              <a:t> software space</a:t>
            </a:r>
          </a:p>
        </p:txBody>
      </p:sp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1165951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0_131877865477275442 columns_1_131877858609432845 4_1_131877862630112610 20_1_131877868194893952 9_1_131877928753005298 7_1_131895827264253832 11_1_131895898868823697 </a:t>
            </a:r>
            <a:endParaRPr lang="en-US" sz="100" err="1">
              <a:solidFill>
                <a:srgbClr val="FFFFFF">
                  <a:alpha val="0"/>
                </a:srgbClr>
              </a:solidFill>
            </a:endParaRPr>
          </a:p>
        </p:txBody>
      </p:sp>
      <p:graphicFrame>
        <p:nvGraphicFramePr>
          <p:cNvPr id="4" name="btfpTable960418"/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27740" y="1268413"/>
          <a:ext cx="11534060" cy="484771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12286">
                  <a:extLst>
                    <a:ext uri="{9D8B030D-6E8A-4147-A177-3AD203B41FA5}">
                      <a16:colId xmlns:a16="http://schemas.microsoft.com/office/drawing/2014/main" val="203063348"/>
                    </a:ext>
                  </a:extLst>
                </a:gridCol>
                <a:gridCol w="1658281">
                  <a:extLst>
                    <a:ext uri="{9D8B030D-6E8A-4147-A177-3AD203B41FA5}">
                      <a16:colId xmlns:a16="http://schemas.microsoft.com/office/drawing/2014/main" val="2026455240"/>
                    </a:ext>
                  </a:extLst>
                </a:gridCol>
                <a:gridCol w="1129072">
                  <a:extLst>
                    <a:ext uri="{9D8B030D-6E8A-4147-A177-3AD203B41FA5}">
                      <a16:colId xmlns:a16="http://schemas.microsoft.com/office/drawing/2014/main" val="415841606"/>
                    </a:ext>
                  </a:extLst>
                </a:gridCol>
                <a:gridCol w="3926153">
                  <a:extLst>
                    <a:ext uri="{9D8B030D-6E8A-4147-A177-3AD203B41FA5}">
                      <a16:colId xmlns:a16="http://schemas.microsoft.com/office/drawing/2014/main" val="2670913578"/>
                    </a:ext>
                  </a:extLst>
                </a:gridCol>
                <a:gridCol w="3708268">
                  <a:extLst>
                    <a:ext uri="{9D8B030D-6E8A-4147-A177-3AD203B41FA5}">
                      <a16:colId xmlns:a16="http://schemas.microsoft.com/office/drawing/2014/main" val="2451022882"/>
                    </a:ext>
                  </a:extLst>
                </a:gridCol>
              </a:tblGrid>
              <a:tr h="327881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US" sz="900">
                          <a:latin typeface="+mj-lt"/>
                        </a:rPr>
                        <a:t>Company </a:t>
                      </a:r>
                      <a:br>
                        <a:rPr lang="en-US" sz="900">
                          <a:latin typeface="+mj-lt"/>
                        </a:rPr>
                      </a:br>
                      <a:r>
                        <a:rPr lang="en-US" sz="900">
                          <a:latin typeface="+mj-lt"/>
                        </a:rPr>
                        <a:t>(HQ, founded) 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US" sz="900">
                          <a:latin typeface="+mj-lt"/>
                        </a:rPr>
                        <a:t>Key investors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US" sz="900" b="1" kern="120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Total funding in last 5 years (last funding date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Description</a:t>
                      </a:r>
                      <a:endParaRPr lang="en-US" sz="90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j-lt"/>
                        </a:rPr>
                        <a:t>Recent developments</a:t>
                      </a:r>
                    </a:p>
                  </a:txBody>
                  <a:tcPr marL="45720" marR="45720" anchor="b"/>
                </a:tc>
                <a:extLst>
                  <a:ext uri="{0D108BD9-81ED-4DB2-BD59-A6C34878D82A}">
                    <a16:rowId xmlns:a16="http://schemas.microsoft.com/office/drawing/2014/main" val="3873146837"/>
                  </a:ext>
                </a:extLst>
              </a:tr>
              <a:tr h="1042888">
                <a:tc>
                  <a:txBody>
                    <a:bodyPr/>
                    <a:lstStyle/>
                    <a:p>
                      <a:pPr marL="0" marR="0" lvl="0" indent="0" algn="ctr" defTabSz="711200" rtl="0" eaLnBrk="1" fontAlgn="b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0" i="1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711200" rtl="0" eaLnBrk="1" fontAlgn="b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1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U.S., 2017)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fr-FR" sz="1000">
                          <a:solidFill>
                            <a:schemeClr val="tx1"/>
                          </a:solidFill>
                          <a:latin typeface="+mj-lt"/>
                        </a:rPr>
                        <a:t>D4 Investments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US" sz="1000">
                          <a:solidFill>
                            <a:schemeClr val="tx1"/>
                          </a:solidFill>
                          <a:latin typeface="+mj-lt"/>
                        </a:rPr>
                        <a:t>~$12M (2020)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marL="177800" indent="-177800" algn="l" defTabSz="711200" rtl="0" eaLnBrk="1" latinLnBrk="0" hangingPunct="1">
                        <a:spcBef>
                          <a:spcPts val="600"/>
                        </a:spcBef>
                      </a:pPr>
                      <a:r>
                        <a:rPr lang="en-US" sz="1000" b="0" kern="1200" baseline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Provides cloud based IoT solutions for customers across the machine manufacturing, construction, oil &amp; gas, agriculture, utilities and fleet management industries</a:t>
                      </a:r>
                    </a:p>
                    <a:p>
                      <a:pPr marL="177800" indent="-177800" algn="l" defTabSz="711200" rtl="0" eaLnBrk="1" latinLnBrk="0" hangingPunct="1">
                        <a:spcBef>
                          <a:spcPts val="600"/>
                        </a:spcBef>
                      </a:pPr>
                      <a:r>
                        <a:rPr lang="en-US" sz="1000" b="1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ey features: </a:t>
                      </a:r>
                      <a:r>
                        <a:rPr lang="en-US" sz="1000" b="0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vides solutions for asset tracking, asset management, predictive maintenance and ERP</a:t>
                      </a:r>
                      <a:endParaRPr lang="en-US" sz="1000" b="0" kern="1200" baseline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Jan 2022:</a:t>
                      </a: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Announced &lt;solution&gt;, an asset tracking solution that delivers geolocation, in-service time, geofencing, track and trace &amp; conditional maintenance</a:t>
                      </a:r>
                    </a:p>
                  </a:txBody>
                  <a:tcPr marL="45720" marR="45720"/>
                </a:tc>
                <a:extLst>
                  <a:ext uri="{0D108BD9-81ED-4DB2-BD59-A6C34878D82A}">
                    <a16:rowId xmlns:a16="http://schemas.microsoft.com/office/drawing/2014/main" val="1724005850"/>
                  </a:ext>
                </a:extLst>
              </a:tr>
              <a:tr h="985422">
                <a:tc>
                  <a:txBody>
                    <a:bodyPr/>
                    <a:lstStyle/>
                    <a:p>
                      <a:pPr marL="0" marR="0" lvl="0" indent="0" algn="ctr" defTabSz="711200" rtl="0" eaLnBrk="1" fontAlgn="b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1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U.S., 2013)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fr-FR" sz="1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GCI </a:t>
                      </a:r>
                      <a:r>
                        <a:rPr lang="fr-FR" sz="1000" kern="120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limate</a:t>
                      </a:r>
                      <a:r>
                        <a:rPr lang="fr-FR" sz="1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Investments</a:t>
                      </a:r>
                      <a:endParaRPr lang="fr-FR" sz="100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US" sz="1000">
                          <a:solidFill>
                            <a:schemeClr val="tx1"/>
                          </a:solidFill>
                          <a:latin typeface="+mj-lt"/>
                        </a:rPr>
                        <a:t>~$17M (2021)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marL="177800" indent="-177800" algn="l" defTabSz="711200" rtl="0" eaLnBrk="1" latinLnBrk="0" hangingPunct="1">
                        <a:spcBef>
                          <a:spcPts val="600"/>
                        </a:spcBef>
                      </a:pPr>
                      <a:r>
                        <a:rPr lang="en-US" sz="1000" b="0" kern="1200" baseline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Provides </a:t>
                      </a:r>
                      <a:r>
                        <a:rPr lang="en-US" sz="1000" b="0" kern="1200" baseline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IIoT</a:t>
                      </a:r>
                      <a:r>
                        <a:rPr lang="en-US" sz="1000" b="0" kern="1200" baseline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powered remote-field monitoring and communications technologies for the oil and gas industry</a:t>
                      </a:r>
                    </a:p>
                    <a:p>
                      <a:pPr marL="177800" indent="-177800" algn="l" defTabSz="711200" rtl="0" eaLnBrk="1" latinLnBrk="0" hangingPunct="1">
                        <a:spcBef>
                          <a:spcPts val="600"/>
                        </a:spcBef>
                      </a:pPr>
                      <a:r>
                        <a:rPr lang="en-US" sz="1000" b="1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ey features:</a:t>
                      </a:r>
                      <a:r>
                        <a:rPr lang="en-US" sz="1000" b="0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Provides solutions for object detection, flare monitoring, thermal tank telemetry and fleet connectivity solutions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pr 2021:</a:t>
                      </a: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Secured $15M Series A funding led by &lt;investor&gt;</a:t>
                      </a:r>
                    </a:p>
                  </a:txBody>
                  <a:tcPr marL="45720" marR="45720"/>
                </a:tc>
                <a:extLst>
                  <a:ext uri="{0D108BD9-81ED-4DB2-BD59-A6C34878D82A}">
                    <a16:rowId xmlns:a16="http://schemas.microsoft.com/office/drawing/2014/main" val="1152719380"/>
                  </a:ext>
                </a:extLst>
              </a:tr>
              <a:tr h="966152">
                <a:tc>
                  <a:txBody>
                    <a:bodyPr/>
                    <a:lstStyle/>
                    <a:p>
                      <a:pPr marL="0" marR="0" lvl="0" indent="0" algn="ctr" defTabSz="711200" rtl="0" eaLnBrk="1" fontAlgn="b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1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U.S., 1995)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>
                          <a:solidFill>
                            <a:schemeClr val="tx1"/>
                          </a:solidFill>
                          <a:latin typeface="+mj-lt"/>
                        </a:rPr>
                        <a:t>Accel</a:t>
                      </a:r>
                      <a:endParaRPr lang="fr-FR" sz="100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US" sz="1000">
                          <a:solidFill>
                            <a:schemeClr val="tx1"/>
                          </a:solidFill>
                          <a:latin typeface="+mj-lt"/>
                        </a:rPr>
                        <a:t>~$100M (2020)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marL="177800" indent="-177800" algn="l" defTabSz="711200" rtl="0" eaLnBrk="1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 b="0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vides smart manufacturing solutions that connects, automates, tracks and analyzes manufacturing operations for Automotive, F&amp;B, Aerospace, Plastic &amp; Rubber industries. Started as a client/server manufacturing software provider </a:t>
                      </a:r>
                    </a:p>
                    <a:p>
                      <a:pPr marL="177800" indent="-177800" algn="l" defTabSz="711200" rtl="0" eaLnBrk="1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 b="1" kern="1200" baseline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Key features</a:t>
                      </a:r>
                      <a:r>
                        <a:rPr lang="en-US" sz="1000" b="0" kern="1200" baseline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: </a:t>
                      </a:r>
                      <a:r>
                        <a:rPr lang="en-US" sz="1000" b="0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elivers a Smart Manufacturing Platform that offers fully-integrated *MES, ERP, and SCM in one solution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ov 2021</a:t>
                      </a:r>
                      <a:r>
                        <a:rPr kumimoji="0" lang="en-U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: Announced the launch of &lt;solution&gt;, a new quick-start solution that helps manufacturers gain visibility into real-time plant floor data</a:t>
                      </a:r>
                    </a:p>
                  </a:txBody>
                  <a:tcPr marL="45720" marR="45720"/>
                </a:tc>
                <a:extLst>
                  <a:ext uri="{0D108BD9-81ED-4DB2-BD59-A6C34878D82A}">
                    <a16:rowId xmlns:a16="http://schemas.microsoft.com/office/drawing/2014/main" val="1885014653"/>
                  </a:ext>
                </a:extLst>
              </a:tr>
              <a:tr h="1123950">
                <a:tc>
                  <a:txBody>
                    <a:bodyPr/>
                    <a:lstStyle/>
                    <a:p>
                      <a:pPr marL="0" marR="0" lvl="0" indent="0" algn="ctr" defTabSz="711200" rtl="0" eaLnBrk="1" fontAlgn="b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China, 2017)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it-IT" sz="1000">
                          <a:solidFill>
                            <a:schemeClr val="tx1"/>
                          </a:solidFill>
                          <a:latin typeface="+mj-lt"/>
                        </a:rPr>
                        <a:t>Sequoia Capital</a:t>
                      </a:r>
                      <a:endParaRPr lang="fr-FR" sz="100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US" sz="1000">
                          <a:solidFill>
                            <a:schemeClr val="tx1"/>
                          </a:solidFill>
                          <a:latin typeface="+mj-lt"/>
                        </a:rPr>
                        <a:t>~$69M (2021)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marL="177800" indent="-177800" algn="l" defTabSz="711200" rtl="0" eaLnBrk="1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 b="0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vider of big data storage and management solutions which offers an innovative solution to collect, store, compute and analyze time-series data. Its platform is designed and optimized for IoT, Connected Vehicles, and Industrial IoT</a:t>
                      </a:r>
                    </a:p>
                    <a:p>
                      <a:pPr marL="177800" indent="-177800" algn="l" defTabSz="711200" rtl="0" eaLnBrk="1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 b="1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ey features:</a:t>
                      </a:r>
                      <a:r>
                        <a:rPr lang="en-US" sz="1000" b="0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Offers &lt;feature&gt;, an open-source big data platform that provides caching, stream computing, message queuing to reduce the complexity and costs of development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ec 2021: </a:t>
                      </a:r>
                      <a:r>
                        <a:rPr kumimoji="0" lang="en-US" sz="10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aunched &lt;feature&gt;, a companion tool that provides an easy-to-use and efficient way to ingest data from data collecting agents directly</a:t>
                      </a:r>
                    </a:p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ay 2021: </a:t>
                      </a:r>
                      <a:r>
                        <a:rPr kumimoji="0" lang="en-US" sz="10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aised $47M in Series B funding led by &lt;investor&gt;, to be used for technology development and market expansion</a:t>
                      </a:r>
                    </a:p>
                  </a:txBody>
                  <a:tcPr marL="45720" marR="45720"/>
                </a:tc>
                <a:extLst>
                  <a:ext uri="{0D108BD9-81ED-4DB2-BD59-A6C34878D82A}">
                    <a16:rowId xmlns:a16="http://schemas.microsoft.com/office/drawing/2014/main" val="2475962310"/>
                  </a:ext>
                </a:extLst>
              </a:tr>
            </a:tbl>
          </a:graphicData>
        </a:graphic>
      </p:graphicFrame>
      <p:grpSp>
        <p:nvGrpSpPr>
          <p:cNvPr id="45" name="btfpStatusSticker788084">
            <a:extLst>
              <a:ext uri="{FF2B5EF4-FFF2-40B4-BE49-F238E27FC236}">
                <a16:creationId xmlns:a16="http://schemas.microsoft.com/office/drawing/2014/main" id="{97A1D34A-A9C2-417B-863B-BB03EBB847E7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100356" y="955344"/>
            <a:ext cx="1761444" cy="235611"/>
            <a:chOff x="-4295151" y="876300"/>
            <a:chExt cx="1761444" cy="235611"/>
          </a:xfrm>
        </p:grpSpPr>
        <p:sp>
          <p:nvSpPr>
            <p:cNvPr id="46" name="btfpStatusStickerText788084">
              <a:extLst>
                <a:ext uri="{FF2B5EF4-FFF2-40B4-BE49-F238E27FC236}">
                  <a16:creationId xmlns:a16="http://schemas.microsoft.com/office/drawing/2014/main" id="{97D1E512-E30F-495F-93C0-850C59E755AD}"/>
                </a:ext>
              </a:extLst>
            </p:cNvPr>
            <p:cNvSpPr txBox="1"/>
            <p:nvPr/>
          </p:nvSpPr>
          <p:spPr bwMode="gray">
            <a:xfrm>
              <a:off x="-4295151" y="876300"/>
              <a:ext cx="1761444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preliminary</a:t>
              </a:r>
            </a:p>
          </p:txBody>
        </p:sp>
        <p:cxnSp>
          <p:nvCxnSpPr>
            <p:cNvPr id="47" name="btfpStatusStickerLine788084">
              <a:extLst>
                <a:ext uri="{FF2B5EF4-FFF2-40B4-BE49-F238E27FC236}">
                  <a16:creationId xmlns:a16="http://schemas.microsoft.com/office/drawing/2014/main" id="{28141372-EF20-49F2-B0A1-CE9D28221C77}"/>
                </a:ext>
              </a:extLst>
            </p:cNvPr>
            <p:cNvCxnSpPr/>
            <p:nvPr/>
          </p:nvCxnSpPr>
          <p:spPr bwMode="gray">
            <a:xfrm rot="720000">
              <a:off x="-4295151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btfpNotesBox635479">
            <a:extLst>
              <a:ext uri="{FF2B5EF4-FFF2-40B4-BE49-F238E27FC236}">
                <a16:creationId xmlns:a16="http://schemas.microsoft.com/office/drawing/2014/main" id="{04B64873-7DD7-45C9-A270-7E1AF264FC18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gray">
          <a:xfrm>
            <a:off x="330199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>
                <a:solidFill>
                  <a:srgbClr val="000000"/>
                </a:solidFill>
              </a:rPr>
              <a:t>Note: Profiled players include companies focused on </a:t>
            </a:r>
            <a:r>
              <a:rPr lang="en-US" sz="800" err="1">
                <a:solidFill>
                  <a:srgbClr val="000000"/>
                </a:solidFill>
              </a:rPr>
              <a:t>IIoT</a:t>
            </a:r>
            <a:r>
              <a:rPr lang="en-US" sz="800">
                <a:solidFill>
                  <a:srgbClr val="000000"/>
                </a:solidFill>
              </a:rPr>
              <a:t> software that received funding in the last 3-5 years and prominently feature across lit. search materials; *MES: Manufacturing Execution System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800">
                <a:solidFill>
                  <a:srgbClr val="000000"/>
                </a:solidFill>
              </a:rPr>
              <a:t>Source: Crunchbase; Pitchbook; lit. search</a:t>
            </a:r>
          </a:p>
        </p:txBody>
      </p:sp>
      <p:grpSp>
        <p:nvGrpSpPr>
          <p:cNvPr id="53" name="btfpRunningAgenda2Level798664">
            <a:extLst>
              <a:ext uri="{FF2B5EF4-FFF2-40B4-BE49-F238E27FC236}">
                <a16:creationId xmlns:a16="http://schemas.microsoft.com/office/drawing/2014/main" id="{950C56A8-B5B8-4FE3-AC9E-62E746199B61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0" y="944429"/>
            <a:ext cx="4040493" cy="257442"/>
            <a:chOff x="0" y="876300"/>
            <a:chExt cx="4040493" cy="257442"/>
          </a:xfrm>
        </p:grpSpPr>
        <p:sp>
          <p:nvSpPr>
            <p:cNvPr id="54" name="btfpRunningAgenda2LevelBarLeft798664">
              <a:extLst>
                <a:ext uri="{FF2B5EF4-FFF2-40B4-BE49-F238E27FC236}">
                  <a16:creationId xmlns:a16="http://schemas.microsoft.com/office/drawing/2014/main" id="{1FA13312-8F42-43E6-9B8C-C3A66C5751A9}"/>
                </a:ext>
              </a:extLst>
            </p:cNvPr>
            <p:cNvSpPr/>
            <p:nvPr/>
          </p:nvSpPr>
          <p:spPr bwMode="gray">
            <a:xfrm>
              <a:off x="0" y="876300"/>
              <a:ext cx="4040493" cy="257442"/>
            </a:xfrm>
            <a:custGeom>
              <a:avLst/>
              <a:gdLst>
                <a:gd name="connsiteX0" fmla="*/ 950801 w 4257796"/>
                <a:gd name="connsiteY0" fmla="*/ 0 h 257442"/>
                <a:gd name="connsiteX1" fmla="*/ 4257796 w 4257796"/>
                <a:gd name="connsiteY1" fmla="*/ 0 h 257442"/>
                <a:gd name="connsiteX2" fmla="*/ 4203075 w 4257796"/>
                <a:gd name="connsiteY2" fmla="*/ 257442 h 257442"/>
                <a:gd name="connsiteX3" fmla="*/ 0 w 4257796"/>
                <a:gd name="connsiteY3" fmla="*/ 257442 h 257442"/>
                <a:gd name="connsiteX0" fmla="*/ 950801 w 4203075"/>
                <a:gd name="connsiteY0" fmla="*/ 0 h 257442"/>
                <a:gd name="connsiteX1" fmla="*/ 896080 w 4203075"/>
                <a:gd name="connsiteY1" fmla="*/ 257442 h 257442"/>
                <a:gd name="connsiteX2" fmla="*/ 4203075 w 4203075"/>
                <a:gd name="connsiteY2" fmla="*/ 257442 h 257442"/>
                <a:gd name="connsiteX3" fmla="*/ 0 w 4203075"/>
                <a:gd name="connsiteY3" fmla="*/ 257442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0 w 950800"/>
                <a:gd name="connsiteY3" fmla="*/ 0 h 257442"/>
                <a:gd name="connsiteX0" fmla="*/ 1119115 w 1119115"/>
                <a:gd name="connsiteY0" fmla="*/ 0 h 257442"/>
                <a:gd name="connsiteX1" fmla="*/ 896079 w 1119115"/>
                <a:gd name="connsiteY1" fmla="*/ 257442 h 257442"/>
                <a:gd name="connsiteX2" fmla="*/ 0 w 1119115"/>
                <a:gd name="connsiteY2" fmla="*/ 257442 h 257442"/>
                <a:gd name="connsiteX3" fmla="*/ 0 w 1119115"/>
                <a:gd name="connsiteY3" fmla="*/ 0 h 257442"/>
                <a:gd name="connsiteX0" fmla="*/ 1119115 w 1119115"/>
                <a:gd name="connsiteY0" fmla="*/ 0 h 257442"/>
                <a:gd name="connsiteX1" fmla="*/ 1064394 w 1119115"/>
                <a:gd name="connsiteY1" fmla="*/ 257442 h 257442"/>
                <a:gd name="connsiteX2" fmla="*/ 0 w 1119115"/>
                <a:gd name="connsiteY2" fmla="*/ 257442 h 257442"/>
                <a:gd name="connsiteX3" fmla="*/ 0 w 1119115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1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950801 w 1064395"/>
                <a:gd name="connsiteY0" fmla="*/ 0 h 257442"/>
                <a:gd name="connsiteX1" fmla="*/ 1064395 w 1064395"/>
                <a:gd name="connsiteY1" fmla="*/ 257442 h 257442"/>
                <a:gd name="connsiteX2" fmla="*/ 0 w 1064395"/>
                <a:gd name="connsiteY2" fmla="*/ 257442 h 257442"/>
                <a:gd name="connsiteX3" fmla="*/ 0 w 1064395"/>
                <a:gd name="connsiteY3" fmla="*/ 0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0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0 w 950800"/>
                <a:gd name="connsiteY3" fmla="*/ 0 h 257442"/>
                <a:gd name="connsiteX0" fmla="*/ 782549 w 896080"/>
                <a:gd name="connsiteY0" fmla="*/ 0 h 257442"/>
                <a:gd name="connsiteX1" fmla="*/ 896080 w 896080"/>
                <a:gd name="connsiteY1" fmla="*/ 257442 h 257442"/>
                <a:gd name="connsiteX2" fmla="*/ 0 w 896080"/>
                <a:gd name="connsiteY2" fmla="*/ 257442 h 257442"/>
                <a:gd name="connsiteX3" fmla="*/ 0 w 896080"/>
                <a:gd name="connsiteY3" fmla="*/ 0 h 257442"/>
                <a:gd name="connsiteX0" fmla="*/ 782549 w 782549"/>
                <a:gd name="connsiteY0" fmla="*/ 0 h 257442"/>
                <a:gd name="connsiteX1" fmla="*/ 727828 w 782549"/>
                <a:gd name="connsiteY1" fmla="*/ 257442 h 257442"/>
                <a:gd name="connsiteX2" fmla="*/ 0 w 782549"/>
                <a:gd name="connsiteY2" fmla="*/ 257442 h 257442"/>
                <a:gd name="connsiteX3" fmla="*/ 0 w 782549"/>
                <a:gd name="connsiteY3" fmla="*/ 0 h 257442"/>
                <a:gd name="connsiteX0" fmla="*/ 782549 w 782549"/>
                <a:gd name="connsiteY0" fmla="*/ 0 h 257442"/>
                <a:gd name="connsiteX1" fmla="*/ 727828 w 782549"/>
                <a:gd name="connsiteY1" fmla="*/ 257442 h 257442"/>
                <a:gd name="connsiteX2" fmla="*/ 0 w 782549"/>
                <a:gd name="connsiteY2" fmla="*/ 257442 h 257442"/>
                <a:gd name="connsiteX3" fmla="*/ 0 w 782549"/>
                <a:gd name="connsiteY3" fmla="*/ 0 h 257442"/>
                <a:gd name="connsiteX0" fmla="*/ 782549 w 782549"/>
                <a:gd name="connsiteY0" fmla="*/ 0 h 257442"/>
                <a:gd name="connsiteX1" fmla="*/ 727828 w 782549"/>
                <a:gd name="connsiteY1" fmla="*/ 257442 h 257442"/>
                <a:gd name="connsiteX2" fmla="*/ 0 w 782549"/>
                <a:gd name="connsiteY2" fmla="*/ 257442 h 257442"/>
                <a:gd name="connsiteX3" fmla="*/ 0 w 782549"/>
                <a:gd name="connsiteY3" fmla="*/ 0 h 257442"/>
                <a:gd name="connsiteX0" fmla="*/ 950801 w 950801"/>
                <a:gd name="connsiteY0" fmla="*/ 0 h 257442"/>
                <a:gd name="connsiteX1" fmla="*/ 727828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1119116 w 1119116"/>
                <a:gd name="connsiteY0" fmla="*/ 0 h 257442"/>
                <a:gd name="connsiteX1" fmla="*/ 896080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119116 w 1119116"/>
                <a:gd name="connsiteY0" fmla="*/ 0 h 257442"/>
                <a:gd name="connsiteX1" fmla="*/ 1064394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119117 w 1119117"/>
                <a:gd name="connsiteY0" fmla="*/ 0 h 257442"/>
                <a:gd name="connsiteX1" fmla="*/ 1064395 w 1119117"/>
                <a:gd name="connsiteY1" fmla="*/ 257442 h 257442"/>
                <a:gd name="connsiteX2" fmla="*/ 0 w 1119117"/>
                <a:gd name="connsiteY2" fmla="*/ 257442 h 257442"/>
                <a:gd name="connsiteX3" fmla="*/ 1 w 1119117"/>
                <a:gd name="connsiteY3" fmla="*/ 0 h 257442"/>
                <a:gd name="connsiteX0" fmla="*/ 1119117 w 1119117"/>
                <a:gd name="connsiteY0" fmla="*/ 0 h 257442"/>
                <a:gd name="connsiteX1" fmla="*/ 1064395 w 1119117"/>
                <a:gd name="connsiteY1" fmla="*/ 257442 h 257442"/>
                <a:gd name="connsiteX2" fmla="*/ 0 w 1119117"/>
                <a:gd name="connsiteY2" fmla="*/ 257442 h 257442"/>
                <a:gd name="connsiteX3" fmla="*/ 1 w 1119117"/>
                <a:gd name="connsiteY3" fmla="*/ 0 h 257442"/>
                <a:gd name="connsiteX0" fmla="*/ 2750526 w 2750526"/>
                <a:gd name="connsiteY0" fmla="*/ 0 h 257442"/>
                <a:gd name="connsiteX1" fmla="*/ 1064395 w 2750526"/>
                <a:gd name="connsiteY1" fmla="*/ 257442 h 257442"/>
                <a:gd name="connsiteX2" fmla="*/ 0 w 2750526"/>
                <a:gd name="connsiteY2" fmla="*/ 257442 h 257442"/>
                <a:gd name="connsiteX3" fmla="*/ 1 w 2750526"/>
                <a:gd name="connsiteY3" fmla="*/ 0 h 257442"/>
                <a:gd name="connsiteX0" fmla="*/ 2750526 w 2750526"/>
                <a:gd name="connsiteY0" fmla="*/ 0 h 257442"/>
                <a:gd name="connsiteX1" fmla="*/ 2695804 w 2750526"/>
                <a:gd name="connsiteY1" fmla="*/ 257442 h 257442"/>
                <a:gd name="connsiteX2" fmla="*/ 0 w 2750526"/>
                <a:gd name="connsiteY2" fmla="*/ 257442 h 257442"/>
                <a:gd name="connsiteX3" fmla="*/ 1 w 2750526"/>
                <a:gd name="connsiteY3" fmla="*/ 0 h 257442"/>
                <a:gd name="connsiteX0" fmla="*/ 2750526 w 2750526"/>
                <a:gd name="connsiteY0" fmla="*/ 0 h 257442"/>
                <a:gd name="connsiteX1" fmla="*/ 2695804 w 2750526"/>
                <a:gd name="connsiteY1" fmla="*/ 257442 h 257442"/>
                <a:gd name="connsiteX2" fmla="*/ 0 w 2750526"/>
                <a:gd name="connsiteY2" fmla="*/ 257442 h 257442"/>
                <a:gd name="connsiteX3" fmla="*/ 1 w 2750526"/>
                <a:gd name="connsiteY3" fmla="*/ 0 h 257442"/>
                <a:gd name="connsiteX0" fmla="*/ 2750526 w 2750526"/>
                <a:gd name="connsiteY0" fmla="*/ 0 h 257442"/>
                <a:gd name="connsiteX1" fmla="*/ 2695804 w 2750526"/>
                <a:gd name="connsiteY1" fmla="*/ 257442 h 257442"/>
                <a:gd name="connsiteX2" fmla="*/ 0 w 2750526"/>
                <a:gd name="connsiteY2" fmla="*/ 257442 h 257442"/>
                <a:gd name="connsiteX3" fmla="*/ 0 w 2750526"/>
                <a:gd name="connsiteY3" fmla="*/ 0 h 257442"/>
                <a:gd name="connsiteX0" fmla="*/ 2590224 w 2695804"/>
                <a:gd name="connsiteY0" fmla="*/ 0 h 257442"/>
                <a:gd name="connsiteX1" fmla="*/ 2695804 w 2695804"/>
                <a:gd name="connsiteY1" fmla="*/ 257442 h 257442"/>
                <a:gd name="connsiteX2" fmla="*/ 0 w 2695804"/>
                <a:gd name="connsiteY2" fmla="*/ 257442 h 257442"/>
                <a:gd name="connsiteX3" fmla="*/ 0 w 2695804"/>
                <a:gd name="connsiteY3" fmla="*/ 0 h 257442"/>
                <a:gd name="connsiteX0" fmla="*/ 2590224 w 2590224"/>
                <a:gd name="connsiteY0" fmla="*/ 0 h 257442"/>
                <a:gd name="connsiteX1" fmla="*/ 2535503 w 2590224"/>
                <a:gd name="connsiteY1" fmla="*/ 257442 h 257442"/>
                <a:gd name="connsiteX2" fmla="*/ 0 w 2590224"/>
                <a:gd name="connsiteY2" fmla="*/ 257442 h 257442"/>
                <a:gd name="connsiteX3" fmla="*/ 0 w 2590224"/>
                <a:gd name="connsiteY3" fmla="*/ 0 h 257442"/>
                <a:gd name="connsiteX0" fmla="*/ 2590224 w 2590224"/>
                <a:gd name="connsiteY0" fmla="*/ 0 h 257442"/>
                <a:gd name="connsiteX1" fmla="*/ 2535503 w 2590224"/>
                <a:gd name="connsiteY1" fmla="*/ 257442 h 257442"/>
                <a:gd name="connsiteX2" fmla="*/ 0 w 2590224"/>
                <a:gd name="connsiteY2" fmla="*/ 257442 h 257442"/>
                <a:gd name="connsiteX3" fmla="*/ 0 w 2590224"/>
                <a:gd name="connsiteY3" fmla="*/ 0 h 257442"/>
                <a:gd name="connsiteX0" fmla="*/ 2590224 w 2590224"/>
                <a:gd name="connsiteY0" fmla="*/ 0 h 257442"/>
                <a:gd name="connsiteX1" fmla="*/ 2535503 w 2590224"/>
                <a:gd name="connsiteY1" fmla="*/ 257442 h 257442"/>
                <a:gd name="connsiteX2" fmla="*/ 0 w 2590224"/>
                <a:gd name="connsiteY2" fmla="*/ 257442 h 257442"/>
                <a:gd name="connsiteX3" fmla="*/ 0 w 2590224"/>
                <a:gd name="connsiteY3" fmla="*/ 0 h 257442"/>
                <a:gd name="connsiteX0" fmla="*/ 2421908 w 2535503"/>
                <a:gd name="connsiteY0" fmla="*/ 0 h 257442"/>
                <a:gd name="connsiteX1" fmla="*/ 2535503 w 2535503"/>
                <a:gd name="connsiteY1" fmla="*/ 257442 h 257442"/>
                <a:gd name="connsiteX2" fmla="*/ 0 w 2535503"/>
                <a:gd name="connsiteY2" fmla="*/ 257442 h 257442"/>
                <a:gd name="connsiteX3" fmla="*/ 0 w 2535503"/>
                <a:gd name="connsiteY3" fmla="*/ 0 h 257442"/>
                <a:gd name="connsiteX0" fmla="*/ 2421908 w 2421908"/>
                <a:gd name="connsiteY0" fmla="*/ 0 h 257442"/>
                <a:gd name="connsiteX1" fmla="*/ 2367188 w 2421908"/>
                <a:gd name="connsiteY1" fmla="*/ 257442 h 257442"/>
                <a:gd name="connsiteX2" fmla="*/ 0 w 2421908"/>
                <a:gd name="connsiteY2" fmla="*/ 257442 h 257442"/>
                <a:gd name="connsiteX3" fmla="*/ 0 w 2421908"/>
                <a:gd name="connsiteY3" fmla="*/ 0 h 257442"/>
                <a:gd name="connsiteX0" fmla="*/ 2421908 w 2421908"/>
                <a:gd name="connsiteY0" fmla="*/ 0 h 257442"/>
                <a:gd name="connsiteX1" fmla="*/ 2367188 w 2421908"/>
                <a:gd name="connsiteY1" fmla="*/ 257442 h 257442"/>
                <a:gd name="connsiteX2" fmla="*/ 1 w 2421908"/>
                <a:gd name="connsiteY2" fmla="*/ 257442 h 257442"/>
                <a:gd name="connsiteX3" fmla="*/ 0 w 2421908"/>
                <a:gd name="connsiteY3" fmla="*/ 0 h 257442"/>
                <a:gd name="connsiteX0" fmla="*/ 2421907 w 2421907"/>
                <a:gd name="connsiteY0" fmla="*/ 0 h 257442"/>
                <a:gd name="connsiteX1" fmla="*/ 2367187 w 2421907"/>
                <a:gd name="connsiteY1" fmla="*/ 257442 h 257442"/>
                <a:gd name="connsiteX2" fmla="*/ 0 w 2421907"/>
                <a:gd name="connsiteY2" fmla="*/ 257442 h 257442"/>
                <a:gd name="connsiteX3" fmla="*/ 0 w 2421907"/>
                <a:gd name="connsiteY3" fmla="*/ 0 h 257442"/>
                <a:gd name="connsiteX0" fmla="*/ 2262058 w 2367187"/>
                <a:gd name="connsiteY0" fmla="*/ 0 h 257442"/>
                <a:gd name="connsiteX1" fmla="*/ 2367187 w 2367187"/>
                <a:gd name="connsiteY1" fmla="*/ 257442 h 257442"/>
                <a:gd name="connsiteX2" fmla="*/ 0 w 2367187"/>
                <a:gd name="connsiteY2" fmla="*/ 257442 h 257442"/>
                <a:gd name="connsiteX3" fmla="*/ 0 w 2367187"/>
                <a:gd name="connsiteY3" fmla="*/ 0 h 257442"/>
                <a:gd name="connsiteX0" fmla="*/ 2262058 w 2262058"/>
                <a:gd name="connsiteY0" fmla="*/ 0 h 257442"/>
                <a:gd name="connsiteX1" fmla="*/ 2207337 w 2262058"/>
                <a:gd name="connsiteY1" fmla="*/ 257442 h 257442"/>
                <a:gd name="connsiteX2" fmla="*/ 0 w 2262058"/>
                <a:gd name="connsiteY2" fmla="*/ 257442 h 257442"/>
                <a:gd name="connsiteX3" fmla="*/ 0 w 2262058"/>
                <a:gd name="connsiteY3" fmla="*/ 0 h 257442"/>
                <a:gd name="connsiteX0" fmla="*/ 2262058 w 2262058"/>
                <a:gd name="connsiteY0" fmla="*/ 0 h 257442"/>
                <a:gd name="connsiteX1" fmla="*/ 2207337 w 2262058"/>
                <a:gd name="connsiteY1" fmla="*/ 257442 h 257442"/>
                <a:gd name="connsiteX2" fmla="*/ 0 w 2262058"/>
                <a:gd name="connsiteY2" fmla="*/ 257442 h 257442"/>
                <a:gd name="connsiteX3" fmla="*/ 0 w 2262058"/>
                <a:gd name="connsiteY3" fmla="*/ 0 h 257442"/>
                <a:gd name="connsiteX0" fmla="*/ 2262058 w 2262058"/>
                <a:gd name="connsiteY0" fmla="*/ 0 h 257442"/>
                <a:gd name="connsiteX1" fmla="*/ 2207337 w 2262058"/>
                <a:gd name="connsiteY1" fmla="*/ 257442 h 257442"/>
                <a:gd name="connsiteX2" fmla="*/ 0 w 2262058"/>
                <a:gd name="connsiteY2" fmla="*/ 257442 h 257442"/>
                <a:gd name="connsiteX3" fmla="*/ 0 w 2262058"/>
                <a:gd name="connsiteY3" fmla="*/ 0 h 257442"/>
                <a:gd name="connsiteX0" fmla="*/ 2058476 w 2207337"/>
                <a:gd name="connsiteY0" fmla="*/ 0 h 257442"/>
                <a:gd name="connsiteX1" fmla="*/ 2207337 w 2207337"/>
                <a:gd name="connsiteY1" fmla="*/ 257442 h 257442"/>
                <a:gd name="connsiteX2" fmla="*/ 0 w 2207337"/>
                <a:gd name="connsiteY2" fmla="*/ 257442 h 257442"/>
                <a:gd name="connsiteX3" fmla="*/ 0 w 2207337"/>
                <a:gd name="connsiteY3" fmla="*/ 0 h 257442"/>
                <a:gd name="connsiteX0" fmla="*/ 2058476 w 2058476"/>
                <a:gd name="connsiteY0" fmla="*/ 0 h 257442"/>
                <a:gd name="connsiteX1" fmla="*/ 2003756 w 2058476"/>
                <a:gd name="connsiteY1" fmla="*/ 257442 h 257442"/>
                <a:gd name="connsiteX2" fmla="*/ 0 w 2058476"/>
                <a:gd name="connsiteY2" fmla="*/ 257442 h 257442"/>
                <a:gd name="connsiteX3" fmla="*/ 0 w 2058476"/>
                <a:gd name="connsiteY3" fmla="*/ 0 h 257442"/>
                <a:gd name="connsiteX0" fmla="*/ 2058476 w 2058476"/>
                <a:gd name="connsiteY0" fmla="*/ 0 h 257442"/>
                <a:gd name="connsiteX1" fmla="*/ 2003756 w 2058476"/>
                <a:gd name="connsiteY1" fmla="*/ 257442 h 257442"/>
                <a:gd name="connsiteX2" fmla="*/ 1 w 2058476"/>
                <a:gd name="connsiteY2" fmla="*/ 257442 h 257442"/>
                <a:gd name="connsiteX3" fmla="*/ 0 w 2058476"/>
                <a:gd name="connsiteY3" fmla="*/ 0 h 257442"/>
                <a:gd name="connsiteX0" fmla="*/ 2058475 w 2058475"/>
                <a:gd name="connsiteY0" fmla="*/ 0 h 257442"/>
                <a:gd name="connsiteX1" fmla="*/ 2003755 w 2058475"/>
                <a:gd name="connsiteY1" fmla="*/ 257442 h 257442"/>
                <a:gd name="connsiteX2" fmla="*/ 0 w 2058475"/>
                <a:gd name="connsiteY2" fmla="*/ 257442 h 257442"/>
                <a:gd name="connsiteX3" fmla="*/ 0 w 2058475"/>
                <a:gd name="connsiteY3" fmla="*/ 0 h 257442"/>
                <a:gd name="connsiteX0" fmla="*/ 1906191 w 2003755"/>
                <a:gd name="connsiteY0" fmla="*/ 0 h 257442"/>
                <a:gd name="connsiteX1" fmla="*/ 2003755 w 2003755"/>
                <a:gd name="connsiteY1" fmla="*/ 257442 h 257442"/>
                <a:gd name="connsiteX2" fmla="*/ 0 w 2003755"/>
                <a:gd name="connsiteY2" fmla="*/ 257442 h 257442"/>
                <a:gd name="connsiteX3" fmla="*/ 0 w 2003755"/>
                <a:gd name="connsiteY3" fmla="*/ 0 h 257442"/>
                <a:gd name="connsiteX0" fmla="*/ 1906191 w 1906191"/>
                <a:gd name="connsiteY0" fmla="*/ 0 h 257442"/>
                <a:gd name="connsiteX1" fmla="*/ 1851470 w 1906191"/>
                <a:gd name="connsiteY1" fmla="*/ 257442 h 257442"/>
                <a:gd name="connsiteX2" fmla="*/ 0 w 1906191"/>
                <a:gd name="connsiteY2" fmla="*/ 257442 h 257442"/>
                <a:gd name="connsiteX3" fmla="*/ 0 w 1906191"/>
                <a:gd name="connsiteY3" fmla="*/ 0 h 257442"/>
                <a:gd name="connsiteX0" fmla="*/ 1906191 w 1906191"/>
                <a:gd name="connsiteY0" fmla="*/ 0 h 257442"/>
                <a:gd name="connsiteX1" fmla="*/ 1851470 w 1906191"/>
                <a:gd name="connsiteY1" fmla="*/ 257442 h 257442"/>
                <a:gd name="connsiteX2" fmla="*/ 0 w 1906191"/>
                <a:gd name="connsiteY2" fmla="*/ 257442 h 257442"/>
                <a:gd name="connsiteX3" fmla="*/ 0 w 1906191"/>
                <a:gd name="connsiteY3" fmla="*/ 0 h 257442"/>
                <a:gd name="connsiteX0" fmla="*/ 1906191 w 1906191"/>
                <a:gd name="connsiteY0" fmla="*/ 0 h 257442"/>
                <a:gd name="connsiteX1" fmla="*/ 1851470 w 1906191"/>
                <a:gd name="connsiteY1" fmla="*/ 257442 h 257442"/>
                <a:gd name="connsiteX2" fmla="*/ 0 w 1906191"/>
                <a:gd name="connsiteY2" fmla="*/ 257442 h 257442"/>
                <a:gd name="connsiteX3" fmla="*/ 0 w 1906191"/>
                <a:gd name="connsiteY3" fmla="*/ 0 h 257442"/>
                <a:gd name="connsiteX0" fmla="*/ 1753905 w 1851470"/>
                <a:gd name="connsiteY0" fmla="*/ 0 h 257442"/>
                <a:gd name="connsiteX1" fmla="*/ 1851470 w 1851470"/>
                <a:gd name="connsiteY1" fmla="*/ 257442 h 257442"/>
                <a:gd name="connsiteX2" fmla="*/ 0 w 1851470"/>
                <a:gd name="connsiteY2" fmla="*/ 257442 h 257442"/>
                <a:gd name="connsiteX3" fmla="*/ 0 w 1851470"/>
                <a:gd name="connsiteY3" fmla="*/ 0 h 257442"/>
                <a:gd name="connsiteX0" fmla="*/ 1753905 w 1753905"/>
                <a:gd name="connsiteY0" fmla="*/ 0 h 257442"/>
                <a:gd name="connsiteX1" fmla="*/ 1699184 w 1753905"/>
                <a:gd name="connsiteY1" fmla="*/ 257442 h 257442"/>
                <a:gd name="connsiteX2" fmla="*/ 0 w 1753905"/>
                <a:gd name="connsiteY2" fmla="*/ 257442 h 257442"/>
                <a:gd name="connsiteX3" fmla="*/ 0 w 1753905"/>
                <a:gd name="connsiteY3" fmla="*/ 0 h 257442"/>
                <a:gd name="connsiteX0" fmla="*/ 1753905 w 1753905"/>
                <a:gd name="connsiteY0" fmla="*/ 0 h 257442"/>
                <a:gd name="connsiteX1" fmla="*/ 1699184 w 1753905"/>
                <a:gd name="connsiteY1" fmla="*/ 257442 h 257442"/>
                <a:gd name="connsiteX2" fmla="*/ 1 w 1753905"/>
                <a:gd name="connsiteY2" fmla="*/ 257442 h 257442"/>
                <a:gd name="connsiteX3" fmla="*/ 0 w 1753905"/>
                <a:gd name="connsiteY3" fmla="*/ 0 h 257442"/>
                <a:gd name="connsiteX0" fmla="*/ 1753904 w 1753904"/>
                <a:gd name="connsiteY0" fmla="*/ 0 h 257442"/>
                <a:gd name="connsiteX1" fmla="*/ 1699183 w 1753904"/>
                <a:gd name="connsiteY1" fmla="*/ 257442 h 257442"/>
                <a:gd name="connsiteX2" fmla="*/ 0 w 1753904"/>
                <a:gd name="connsiteY2" fmla="*/ 257442 h 257442"/>
                <a:gd name="connsiteX3" fmla="*/ 0 w 1753904"/>
                <a:gd name="connsiteY3" fmla="*/ 0 h 257442"/>
                <a:gd name="connsiteX0" fmla="*/ 1575971 w 1699183"/>
                <a:gd name="connsiteY0" fmla="*/ 0 h 257442"/>
                <a:gd name="connsiteX1" fmla="*/ 1699183 w 1699183"/>
                <a:gd name="connsiteY1" fmla="*/ 257442 h 257442"/>
                <a:gd name="connsiteX2" fmla="*/ 0 w 1699183"/>
                <a:gd name="connsiteY2" fmla="*/ 257442 h 257442"/>
                <a:gd name="connsiteX3" fmla="*/ 0 w 1699183"/>
                <a:gd name="connsiteY3" fmla="*/ 0 h 257442"/>
                <a:gd name="connsiteX0" fmla="*/ 1575971 w 1575971"/>
                <a:gd name="connsiteY0" fmla="*/ 0 h 257442"/>
                <a:gd name="connsiteX1" fmla="*/ 1521251 w 1575971"/>
                <a:gd name="connsiteY1" fmla="*/ 257442 h 257442"/>
                <a:gd name="connsiteX2" fmla="*/ 0 w 1575971"/>
                <a:gd name="connsiteY2" fmla="*/ 257442 h 257442"/>
                <a:gd name="connsiteX3" fmla="*/ 0 w 1575971"/>
                <a:gd name="connsiteY3" fmla="*/ 0 h 257442"/>
                <a:gd name="connsiteX0" fmla="*/ 1575971 w 1575971"/>
                <a:gd name="connsiteY0" fmla="*/ 0 h 257442"/>
                <a:gd name="connsiteX1" fmla="*/ 1521251 w 1575971"/>
                <a:gd name="connsiteY1" fmla="*/ 257442 h 257442"/>
                <a:gd name="connsiteX2" fmla="*/ 0 w 1575971"/>
                <a:gd name="connsiteY2" fmla="*/ 257442 h 257442"/>
                <a:gd name="connsiteX3" fmla="*/ 0 w 1575971"/>
                <a:gd name="connsiteY3" fmla="*/ 0 h 257442"/>
                <a:gd name="connsiteX0" fmla="*/ 1575971 w 1575971"/>
                <a:gd name="connsiteY0" fmla="*/ 0 h 257442"/>
                <a:gd name="connsiteX1" fmla="*/ 1521251 w 1575971"/>
                <a:gd name="connsiteY1" fmla="*/ 257442 h 257442"/>
                <a:gd name="connsiteX2" fmla="*/ 0 w 1575971"/>
                <a:gd name="connsiteY2" fmla="*/ 257442 h 257442"/>
                <a:gd name="connsiteX3" fmla="*/ 0 w 1575971"/>
                <a:gd name="connsiteY3" fmla="*/ 0 h 257442"/>
                <a:gd name="connsiteX0" fmla="*/ 1415672 w 1521251"/>
                <a:gd name="connsiteY0" fmla="*/ 0 h 257442"/>
                <a:gd name="connsiteX1" fmla="*/ 1521251 w 1521251"/>
                <a:gd name="connsiteY1" fmla="*/ 257442 h 257442"/>
                <a:gd name="connsiteX2" fmla="*/ 0 w 1521251"/>
                <a:gd name="connsiteY2" fmla="*/ 257442 h 257442"/>
                <a:gd name="connsiteX3" fmla="*/ 0 w 1521251"/>
                <a:gd name="connsiteY3" fmla="*/ 0 h 257442"/>
                <a:gd name="connsiteX0" fmla="*/ 1415672 w 1415672"/>
                <a:gd name="connsiteY0" fmla="*/ 0 h 257442"/>
                <a:gd name="connsiteX1" fmla="*/ 1360951 w 1415672"/>
                <a:gd name="connsiteY1" fmla="*/ 257442 h 257442"/>
                <a:gd name="connsiteX2" fmla="*/ 0 w 1415672"/>
                <a:gd name="connsiteY2" fmla="*/ 257442 h 257442"/>
                <a:gd name="connsiteX3" fmla="*/ 0 w 1415672"/>
                <a:gd name="connsiteY3" fmla="*/ 0 h 257442"/>
                <a:gd name="connsiteX0" fmla="*/ 1415672 w 1415672"/>
                <a:gd name="connsiteY0" fmla="*/ 0 h 257442"/>
                <a:gd name="connsiteX1" fmla="*/ 1360951 w 1415672"/>
                <a:gd name="connsiteY1" fmla="*/ 257442 h 257442"/>
                <a:gd name="connsiteX2" fmla="*/ 0 w 1415672"/>
                <a:gd name="connsiteY2" fmla="*/ 257442 h 257442"/>
                <a:gd name="connsiteX3" fmla="*/ 0 w 1415672"/>
                <a:gd name="connsiteY3" fmla="*/ 0 h 257442"/>
                <a:gd name="connsiteX0" fmla="*/ 1415672 w 1415672"/>
                <a:gd name="connsiteY0" fmla="*/ 0 h 257442"/>
                <a:gd name="connsiteX1" fmla="*/ 1360951 w 1415672"/>
                <a:gd name="connsiteY1" fmla="*/ 257442 h 257442"/>
                <a:gd name="connsiteX2" fmla="*/ 0 w 1415672"/>
                <a:gd name="connsiteY2" fmla="*/ 257442 h 257442"/>
                <a:gd name="connsiteX3" fmla="*/ 0 w 1415672"/>
                <a:gd name="connsiteY3" fmla="*/ 0 h 257442"/>
                <a:gd name="connsiteX0" fmla="*/ 1314682 w 1360951"/>
                <a:gd name="connsiteY0" fmla="*/ 0 h 257442"/>
                <a:gd name="connsiteX1" fmla="*/ 1360951 w 1360951"/>
                <a:gd name="connsiteY1" fmla="*/ 257442 h 257442"/>
                <a:gd name="connsiteX2" fmla="*/ 0 w 1360951"/>
                <a:gd name="connsiteY2" fmla="*/ 257442 h 257442"/>
                <a:gd name="connsiteX3" fmla="*/ 0 w 1360951"/>
                <a:gd name="connsiteY3" fmla="*/ 0 h 257442"/>
                <a:gd name="connsiteX0" fmla="*/ 1314682 w 1314682"/>
                <a:gd name="connsiteY0" fmla="*/ 0 h 257442"/>
                <a:gd name="connsiteX1" fmla="*/ 1259962 w 1314682"/>
                <a:gd name="connsiteY1" fmla="*/ 257442 h 257442"/>
                <a:gd name="connsiteX2" fmla="*/ 0 w 1314682"/>
                <a:gd name="connsiteY2" fmla="*/ 257442 h 257442"/>
                <a:gd name="connsiteX3" fmla="*/ 0 w 1314682"/>
                <a:gd name="connsiteY3" fmla="*/ 0 h 257442"/>
                <a:gd name="connsiteX0" fmla="*/ 1314682 w 1314682"/>
                <a:gd name="connsiteY0" fmla="*/ 0 h 257442"/>
                <a:gd name="connsiteX1" fmla="*/ 1259962 w 1314682"/>
                <a:gd name="connsiteY1" fmla="*/ 257442 h 257442"/>
                <a:gd name="connsiteX2" fmla="*/ 1 w 1314682"/>
                <a:gd name="connsiteY2" fmla="*/ 257442 h 257442"/>
                <a:gd name="connsiteX3" fmla="*/ 0 w 1314682"/>
                <a:gd name="connsiteY3" fmla="*/ 0 h 257442"/>
                <a:gd name="connsiteX0" fmla="*/ 1314681 w 1314681"/>
                <a:gd name="connsiteY0" fmla="*/ 0 h 257442"/>
                <a:gd name="connsiteX1" fmla="*/ 1259961 w 1314681"/>
                <a:gd name="connsiteY1" fmla="*/ 257442 h 257442"/>
                <a:gd name="connsiteX2" fmla="*/ 0 w 1314681"/>
                <a:gd name="connsiteY2" fmla="*/ 257442 h 257442"/>
                <a:gd name="connsiteX3" fmla="*/ 0 w 1314681"/>
                <a:gd name="connsiteY3" fmla="*/ 0 h 257442"/>
                <a:gd name="connsiteX0" fmla="*/ 1162398 w 1259961"/>
                <a:gd name="connsiteY0" fmla="*/ 0 h 257442"/>
                <a:gd name="connsiteX1" fmla="*/ 1259961 w 1259961"/>
                <a:gd name="connsiteY1" fmla="*/ 257442 h 257442"/>
                <a:gd name="connsiteX2" fmla="*/ 0 w 1259961"/>
                <a:gd name="connsiteY2" fmla="*/ 257442 h 257442"/>
                <a:gd name="connsiteX3" fmla="*/ 0 w 1259961"/>
                <a:gd name="connsiteY3" fmla="*/ 0 h 257442"/>
                <a:gd name="connsiteX0" fmla="*/ 1162398 w 1162398"/>
                <a:gd name="connsiteY0" fmla="*/ 0 h 257442"/>
                <a:gd name="connsiteX1" fmla="*/ 1107677 w 1162398"/>
                <a:gd name="connsiteY1" fmla="*/ 257442 h 257442"/>
                <a:gd name="connsiteX2" fmla="*/ 0 w 1162398"/>
                <a:gd name="connsiteY2" fmla="*/ 257442 h 257442"/>
                <a:gd name="connsiteX3" fmla="*/ 0 w 1162398"/>
                <a:gd name="connsiteY3" fmla="*/ 0 h 257442"/>
                <a:gd name="connsiteX0" fmla="*/ 1162398 w 1162398"/>
                <a:gd name="connsiteY0" fmla="*/ 0 h 257442"/>
                <a:gd name="connsiteX1" fmla="*/ 1107677 w 1162398"/>
                <a:gd name="connsiteY1" fmla="*/ 257442 h 257442"/>
                <a:gd name="connsiteX2" fmla="*/ 0 w 1162398"/>
                <a:gd name="connsiteY2" fmla="*/ 257442 h 257442"/>
                <a:gd name="connsiteX3" fmla="*/ 0 w 1162398"/>
                <a:gd name="connsiteY3" fmla="*/ 0 h 257442"/>
                <a:gd name="connsiteX0" fmla="*/ 1162398 w 1162398"/>
                <a:gd name="connsiteY0" fmla="*/ 0 h 257442"/>
                <a:gd name="connsiteX1" fmla="*/ 1107677 w 1162398"/>
                <a:gd name="connsiteY1" fmla="*/ 257442 h 257442"/>
                <a:gd name="connsiteX2" fmla="*/ 0 w 1162398"/>
                <a:gd name="connsiteY2" fmla="*/ 257442 h 257442"/>
                <a:gd name="connsiteX3" fmla="*/ 0 w 1162398"/>
                <a:gd name="connsiteY3" fmla="*/ 0 h 257442"/>
                <a:gd name="connsiteX0" fmla="*/ 984464 w 1107677"/>
                <a:gd name="connsiteY0" fmla="*/ 0 h 257442"/>
                <a:gd name="connsiteX1" fmla="*/ 1107677 w 1107677"/>
                <a:gd name="connsiteY1" fmla="*/ 257442 h 257442"/>
                <a:gd name="connsiteX2" fmla="*/ 0 w 1107677"/>
                <a:gd name="connsiteY2" fmla="*/ 257442 h 257442"/>
                <a:gd name="connsiteX3" fmla="*/ 0 w 1107677"/>
                <a:gd name="connsiteY3" fmla="*/ 0 h 257442"/>
                <a:gd name="connsiteX0" fmla="*/ 984464 w 984464"/>
                <a:gd name="connsiteY0" fmla="*/ 0 h 257442"/>
                <a:gd name="connsiteX1" fmla="*/ 929744 w 984464"/>
                <a:gd name="connsiteY1" fmla="*/ 257442 h 257442"/>
                <a:gd name="connsiteX2" fmla="*/ 0 w 984464"/>
                <a:gd name="connsiteY2" fmla="*/ 257442 h 257442"/>
                <a:gd name="connsiteX3" fmla="*/ 0 w 984464"/>
                <a:gd name="connsiteY3" fmla="*/ 0 h 257442"/>
                <a:gd name="connsiteX0" fmla="*/ 984464 w 984464"/>
                <a:gd name="connsiteY0" fmla="*/ 0 h 257442"/>
                <a:gd name="connsiteX1" fmla="*/ 929744 w 984464"/>
                <a:gd name="connsiteY1" fmla="*/ 257442 h 257442"/>
                <a:gd name="connsiteX2" fmla="*/ 1 w 984464"/>
                <a:gd name="connsiteY2" fmla="*/ 257442 h 257442"/>
                <a:gd name="connsiteX3" fmla="*/ 0 w 984464"/>
                <a:gd name="connsiteY3" fmla="*/ 0 h 257442"/>
                <a:gd name="connsiteX0" fmla="*/ 984463 w 984463"/>
                <a:gd name="connsiteY0" fmla="*/ 0 h 257442"/>
                <a:gd name="connsiteX1" fmla="*/ 929743 w 984463"/>
                <a:gd name="connsiteY1" fmla="*/ 257442 h 257442"/>
                <a:gd name="connsiteX2" fmla="*/ 0 w 984463"/>
                <a:gd name="connsiteY2" fmla="*/ 257442 h 257442"/>
                <a:gd name="connsiteX3" fmla="*/ 0 w 984463"/>
                <a:gd name="connsiteY3" fmla="*/ 0 h 257442"/>
                <a:gd name="connsiteX0" fmla="*/ 883475 w 929743"/>
                <a:gd name="connsiteY0" fmla="*/ 0 h 257442"/>
                <a:gd name="connsiteX1" fmla="*/ 929743 w 929743"/>
                <a:gd name="connsiteY1" fmla="*/ 257442 h 257442"/>
                <a:gd name="connsiteX2" fmla="*/ 0 w 929743"/>
                <a:gd name="connsiteY2" fmla="*/ 257442 h 257442"/>
                <a:gd name="connsiteX3" fmla="*/ 0 w 929743"/>
                <a:gd name="connsiteY3" fmla="*/ 0 h 257442"/>
                <a:gd name="connsiteX0" fmla="*/ 883475 w 883475"/>
                <a:gd name="connsiteY0" fmla="*/ 0 h 257442"/>
                <a:gd name="connsiteX1" fmla="*/ 828754 w 883475"/>
                <a:gd name="connsiteY1" fmla="*/ 257442 h 257442"/>
                <a:gd name="connsiteX2" fmla="*/ 0 w 883475"/>
                <a:gd name="connsiteY2" fmla="*/ 257442 h 257442"/>
                <a:gd name="connsiteX3" fmla="*/ 0 w 883475"/>
                <a:gd name="connsiteY3" fmla="*/ 0 h 257442"/>
                <a:gd name="connsiteX0" fmla="*/ 883475 w 883475"/>
                <a:gd name="connsiteY0" fmla="*/ 0 h 257442"/>
                <a:gd name="connsiteX1" fmla="*/ 828754 w 883475"/>
                <a:gd name="connsiteY1" fmla="*/ 257442 h 257442"/>
                <a:gd name="connsiteX2" fmla="*/ 0 w 883475"/>
                <a:gd name="connsiteY2" fmla="*/ 257442 h 257442"/>
                <a:gd name="connsiteX3" fmla="*/ 0 w 883475"/>
                <a:gd name="connsiteY3" fmla="*/ 0 h 257442"/>
                <a:gd name="connsiteX0" fmla="*/ 883475 w 883475"/>
                <a:gd name="connsiteY0" fmla="*/ 0 h 257442"/>
                <a:gd name="connsiteX1" fmla="*/ 828754 w 883475"/>
                <a:gd name="connsiteY1" fmla="*/ 257442 h 257442"/>
                <a:gd name="connsiteX2" fmla="*/ 0 w 883475"/>
                <a:gd name="connsiteY2" fmla="*/ 257442 h 257442"/>
                <a:gd name="connsiteX3" fmla="*/ 0 w 883475"/>
                <a:gd name="connsiteY3" fmla="*/ 0 h 257442"/>
                <a:gd name="connsiteX0" fmla="*/ 782550 w 828754"/>
                <a:gd name="connsiteY0" fmla="*/ 0 h 257442"/>
                <a:gd name="connsiteX1" fmla="*/ 828754 w 828754"/>
                <a:gd name="connsiteY1" fmla="*/ 257442 h 257442"/>
                <a:gd name="connsiteX2" fmla="*/ 0 w 828754"/>
                <a:gd name="connsiteY2" fmla="*/ 257442 h 257442"/>
                <a:gd name="connsiteX3" fmla="*/ 0 w 828754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0 w 782550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0 w 782550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0 w 782550"/>
                <a:gd name="connsiteY3" fmla="*/ 0 h 257442"/>
                <a:gd name="connsiteX0" fmla="*/ 950801 w 950801"/>
                <a:gd name="connsiteY0" fmla="*/ 0 h 257442"/>
                <a:gd name="connsiteX1" fmla="*/ 727829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1051790 w 1051790"/>
                <a:gd name="connsiteY0" fmla="*/ 0 h 257442"/>
                <a:gd name="connsiteX1" fmla="*/ 896080 w 1051790"/>
                <a:gd name="connsiteY1" fmla="*/ 257442 h 257442"/>
                <a:gd name="connsiteX2" fmla="*/ 0 w 1051790"/>
                <a:gd name="connsiteY2" fmla="*/ 257442 h 257442"/>
                <a:gd name="connsiteX3" fmla="*/ 0 w 1051790"/>
                <a:gd name="connsiteY3" fmla="*/ 0 h 257442"/>
                <a:gd name="connsiteX0" fmla="*/ 1051790 w 1051790"/>
                <a:gd name="connsiteY0" fmla="*/ 0 h 257442"/>
                <a:gd name="connsiteX1" fmla="*/ 997068 w 1051790"/>
                <a:gd name="connsiteY1" fmla="*/ 257442 h 257442"/>
                <a:gd name="connsiteX2" fmla="*/ 0 w 1051790"/>
                <a:gd name="connsiteY2" fmla="*/ 257442 h 257442"/>
                <a:gd name="connsiteX3" fmla="*/ 0 w 1051790"/>
                <a:gd name="connsiteY3" fmla="*/ 0 h 257442"/>
                <a:gd name="connsiteX0" fmla="*/ 1051791 w 1051791"/>
                <a:gd name="connsiteY0" fmla="*/ 0 h 257442"/>
                <a:gd name="connsiteX1" fmla="*/ 997069 w 1051791"/>
                <a:gd name="connsiteY1" fmla="*/ 257442 h 257442"/>
                <a:gd name="connsiteX2" fmla="*/ 0 w 1051791"/>
                <a:gd name="connsiteY2" fmla="*/ 257442 h 257442"/>
                <a:gd name="connsiteX3" fmla="*/ 1 w 1051791"/>
                <a:gd name="connsiteY3" fmla="*/ 0 h 257442"/>
                <a:gd name="connsiteX0" fmla="*/ 1051791 w 1051791"/>
                <a:gd name="connsiteY0" fmla="*/ 0 h 257442"/>
                <a:gd name="connsiteX1" fmla="*/ 997069 w 1051791"/>
                <a:gd name="connsiteY1" fmla="*/ 257442 h 257442"/>
                <a:gd name="connsiteX2" fmla="*/ 0 w 1051791"/>
                <a:gd name="connsiteY2" fmla="*/ 257442 h 257442"/>
                <a:gd name="connsiteX3" fmla="*/ 1 w 1051791"/>
                <a:gd name="connsiteY3" fmla="*/ 0 h 257442"/>
                <a:gd name="connsiteX0" fmla="*/ 1212091 w 1212091"/>
                <a:gd name="connsiteY0" fmla="*/ 0 h 257442"/>
                <a:gd name="connsiteX1" fmla="*/ 997069 w 1212091"/>
                <a:gd name="connsiteY1" fmla="*/ 257442 h 257442"/>
                <a:gd name="connsiteX2" fmla="*/ 0 w 1212091"/>
                <a:gd name="connsiteY2" fmla="*/ 257442 h 257442"/>
                <a:gd name="connsiteX3" fmla="*/ 1 w 1212091"/>
                <a:gd name="connsiteY3" fmla="*/ 0 h 257442"/>
                <a:gd name="connsiteX0" fmla="*/ 1212091 w 1212091"/>
                <a:gd name="connsiteY0" fmla="*/ 0 h 257442"/>
                <a:gd name="connsiteX1" fmla="*/ 1157370 w 1212091"/>
                <a:gd name="connsiteY1" fmla="*/ 257442 h 257442"/>
                <a:gd name="connsiteX2" fmla="*/ 0 w 1212091"/>
                <a:gd name="connsiteY2" fmla="*/ 257442 h 257442"/>
                <a:gd name="connsiteX3" fmla="*/ 1 w 1212091"/>
                <a:gd name="connsiteY3" fmla="*/ 0 h 257442"/>
                <a:gd name="connsiteX0" fmla="*/ 1212090 w 1212090"/>
                <a:gd name="connsiteY0" fmla="*/ 0 h 257442"/>
                <a:gd name="connsiteX1" fmla="*/ 1157369 w 1212090"/>
                <a:gd name="connsiteY1" fmla="*/ 257442 h 257442"/>
                <a:gd name="connsiteX2" fmla="*/ 0 w 1212090"/>
                <a:gd name="connsiteY2" fmla="*/ 257442 h 257442"/>
                <a:gd name="connsiteX3" fmla="*/ 0 w 1212090"/>
                <a:gd name="connsiteY3" fmla="*/ 0 h 257442"/>
                <a:gd name="connsiteX0" fmla="*/ 1212091 w 1212091"/>
                <a:gd name="connsiteY0" fmla="*/ 0 h 257442"/>
                <a:gd name="connsiteX1" fmla="*/ 1157370 w 1212091"/>
                <a:gd name="connsiteY1" fmla="*/ 257442 h 257442"/>
                <a:gd name="connsiteX2" fmla="*/ 1 w 1212091"/>
                <a:gd name="connsiteY2" fmla="*/ 257442 h 257442"/>
                <a:gd name="connsiteX3" fmla="*/ 0 w 1212091"/>
                <a:gd name="connsiteY3" fmla="*/ 0 h 257442"/>
                <a:gd name="connsiteX0" fmla="*/ 1380407 w 1380407"/>
                <a:gd name="connsiteY0" fmla="*/ 0 h 257442"/>
                <a:gd name="connsiteX1" fmla="*/ 1157370 w 1380407"/>
                <a:gd name="connsiteY1" fmla="*/ 257442 h 257442"/>
                <a:gd name="connsiteX2" fmla="*/ 1 w 1380407"/>
                <a:gd name="connsiteY2" fmla="*/ 257442 h 257442"/>
                <a:gd name="connsiteX3" fmla="*/ 0 w 1380407"/>
                <a:gd name="connsiteY3" fmla="*/ 0 h 257442"/>
                <a:gd name="connsiteX0" fmla="*/ 1380407 w 1380407"/>
                <a:gd name="connsiteY0" fmla="*/ 0 h 257442"/>
                <a:gd name="connsiteX1" fmla="*/ 1325686 w 1380407"/>
                <a:gd name="connsiteY1" fmla="*/ 257442 h 257442"/>
                <a:gd name="connsiteX2" fmla="*/ 1 w 1380407"/>
                <a:gd name="connsiteY2" fmla="*/ 257442 h 257442"/>
                <a:gd name="connsiteX3" fmla="*/ 0 w 1380407"/>
                <a:gd name="connsiteY3" fmla="*/ 0 h 257442"/>
                <a:gd name="connsiteX0" fmla="*/ 1380407 w 1380407"/>
                <a:gd name="connsiteY0" fmla="*/ 0 h 257442"/>
                <a:gd name="connsiteX1" fmla="*/ 1325686 w 1380407"/>
                <a:gd name="connsiteY1" fmla="*/ 257442 h 257442"/>
                <a:gd name="connsiteX2" fmla="*/ 1 w 1380407"/>
                <a:gd name="connsiteY2" fmla="*/ 257442 h 257442"/>
                <a:gd name="connsiteX3" fmla="*/ 0 w 1380407"/>
                <a:gd name="connsiteY3" fmla="*/ 0 h 257442"/>
                <a:gd name="connsiteX0" fmla="*/ 1380406 w 1380406"/>
                <a:gd name="connsiteY0" fmla="*/ 0 h 257442"/>
                <a:gd name="connsiteX1" fmla="*/ 1325685 w 1380406"/>
                <a:gd name="connsiteY1" fmla="*/ 257442 h 257442"/>
                <a:gd name="connsiteX2" fmla="*/ 0 w 1380406"/>
                <a:gd name="connsiteY2" fmla="*/ 257442 h 257442"/>
                <a:gd name="connsiteX3" fmla="*/ 0 w 1380406"/>
                <a:gd name="connsiteY3" fmla="*/ 0 h 257442"/>
                <a:gd name="connsiteX0" fmla="*/ 1548720 w 1548720"/>
                <a:gd name="connsiteY0" fmla="*/ 0 h 257442"/>
                <a:gd name="connsiteX1" fmla="*/ 1325685 w 1548720"/>
                <a:gd name="connsiteY1" fmla="*/ 257442 h 257442"/>
                <a:gd name="connsiteX2" fmla="*/ 0 w 1548720"/>
                <a:gd name="connsiteY2" fmla="*/ 257442 h 257442"/>
                <a:gd name="connsiteX3" fmla="*/ 0 w 1548720"/>
                <a:gd name="connsiteY3" fmla="*/ 0 h 257442"/>
                <a:gd name="connsiteX0" fmla="*/ 1548720 w 1548720"/>
                <a:gd name="connsiteY0" fmla="*/ 0 h 257442"/>
                <a:gd name="connsiteX1" fmla="*/ 1493999 w 1548720"/>
                <a:gd name="connsiteY1" fmla="*/ 257442 h 257442"/>
                <a:gd name="connsiteX2" fmla="*/ 0 w 1548720"/>
                <a:gd name="connsiteY2" fmla="*/ 257442 h 257442"/>
                <a:gd name="connsiteX3" fmla="*/ 0 w 1548720"/>
                <a:gd name="connsiteY3" fmla="*/ 0 h 257442"/>
                <a:gd name="connsiteX0" fmla="*/ 1548721 w 1548721"/>
                <a:gd name="connsiteY0" fmla="*/ 0 h 257442"/>
                <a:gd name="connsiteX1" fmla="*/ 1494000 w 1548721"/>
                <a:gd name="connsiteY1" fmla="*/ 257442 h 257442"/>
                <a:gd name="connsiteX2" fmla="*/ 0 w 1548721"/>
                <a:gd name="connsiteY2" fmla="*/ 257442 h 257442"/>
                <a:gd name="connsiteX3" fmla="*/ 1 w 1548721"/>
                <a:gd name="connsiteY3" fmla="*/ 0 h 257442"/>
                <a:gd name="connsiteX0" fmla="*/ 1548721 w 1548721"/>
                <a:gd name="connsiteY0" fmla="*/ 0 h 257442"/>
                <a:gd name="connsiteX1" fmla="*/ 1494000 w 1548721"/>
                <a:gd name="connsiteY1" fmla="*/ 257442 h 257442"/>
                <a:gd name="connsiteX2" fmla="*/ 0 w 1548721"/>
                <a:gd name="connsiteY2" fmla="*/ 257442 h 257442"/>
                <a:gd name="connsiteX3" fmla="*/ 1 w 1548721"/>
                <a:gd name="connsiteY3" fmla="*/ 0 h 257442"/>
                <a:gd name="connsiteX0" fmla="*/ 1709022 w 1709022"/>
                <a:gd name="connsiteY0" fmla="*/ 0 h 257442"/>
                <a:gd name="connsiteX1" fmla="*/ 1494000 w 1709022"/>
                <a:gd name="connsiteY1" fmla="*/ 257442 h 257442"/>
                <a:gd name="connsiteX2" fmla="*/ 0 w 1709022"/>
                <a:gd name="connsiteY2" fmla="*/ 257442 h 257442"/>
                <a:gd name="connsiteX3" fmla="*/ 1 w 1709022"/>
                <a:gd name="connsiteY3" fmla="*/ 0 h 257442"/>
                <a:gd name="connsiteX0" fmla="*/ 1709022 w 1709022"/>
                <a:gd name="connsiteY0" fmla="*/ 0 h 257442"/>
                <a:gd name="connsiteX1" fmla="*/ 1654300 w 1709022"/>
                <a:gd name="connsiteY1" fmla="*/ 257442 h 257442"/>
                <a:gd name="connsiteX2" fmla="*/ 0 w 1709022"/>
                <a:gd name="connsiteY2" fmla="*/ 257442 h 257442"/>
                <a:gd name="connsiteX3" fmla="*/ 1 w 1709022"/>
                <a:gd name="connsiteY3" fmla="*/ 0 h 257442"/>
                <a:gd name="connsiteX0" fmla="*/ 1709022 w 1709022"/>
                <a:gd name="connsiteY0" fmla="*/ 0 h 257442"/>
                <a:gd name="connsiteX1" fmla="*/ 1654300 w 1709022"/>
                <a:gd name="connsiteY1" fmla="*/ 257442 h 257442"/>
                <a:gd name="connsiteX2" fmla="*/ 0 w 1709022"/>
                <a:gd name="connsiteY2" fmla="*/ 257442 h 257442"/>
                <a:gd name="connsiteX3" fmla="*/ 1 w 1709022"/>
                <a:gd name="connsiteY3" fmla="*/ 0 h 257442"/>
                <a:gd name="connsiteX0" fmla="*/ 1709022 w 1709022"/>
                <a:gd name="connsiteY0" fmla="*/ 0 h 257442"/>
                <a:gd name="connsiteX1" fmla="*/ 1654300 w 1709022"/>
                <a:gd name="connsiteY1" fmla="*/ 257442 h 257442"/>
                <a:gd name="connsiteX2" fmla="*/ 0 w 1709022"/>
                <a:gd name="connsiteY2" fmla="*/ 257442 h 257442"/>
                <a:gd name="connsiteX3" fmla="*/ 0 w 1709022"/>
                <a:gd name="connsiteY3" fmla="*/ 0 h 257442"/>
                <a:gd name="connsiteX0" fmla="*/ 1861307 w 1861307"/>
                <a:gd name="connsiteY0" fmla="*/ 0 h 257442"/>
                <a:gd name="connsiteX1" fmla="*/ 1654300 w 1861307"/>
                <a:gd name="connsiteY1" fmla="*/ 257442 h 257442"/>
                <a:gd name="connsiteX2" fmla="*/ 0 w 1861307"/>
                <a:gd name="connsiteY2" fmla="*/ 257442 h 257442"/>
                <a:gd name="connsiteX3" fmla="*/ 0 w 1861307"/>
                <a:gd name="connsiteY3" fmla="*/ 0 h 257442"/>
                <a:gd name="connsiteX0" fmla="*/ 1861307 w 1861307"/>
                <a:gd name="connsiteY0" fmla="*/ 0 h 257442"/>
                <a:gd name="connsiteX1" fmla="*/ 1806586 w 1861307"/>
                <a:gd name="connsiteY1" fmla="*/ 257442 h 257442"/>
                <a:gd name="connsiteX2" fmla="*/ 0 w 1861307"/>
                <a:gd name="connsiteY2" fmla="*/ 257442 h 257442"/>
                <a:gd name="connsiteX3" fmla="*/ 0 w 1861307"/>
                <a:gd name="connsiteY3" fmla="*/ 0 h 257442"/>
                <a:gd name="connsiteX0" fmla="*/ 1861307 w 1861307"/>
                <a:gd name="connsiteY0" fmla="*/ 0 h 257442"/>
                <a:gd name="connsiteX1" fmla="*/ 1806586 w 1861307"/>
                <a:gd name="connsiteY1" fmla="*/ 257442 h 257442"/>
                <a:gd name="connsiteX2" fmla="*/ 0 w 1861307"/>
                <a:gd name="connsiteY2" fmla="*/ 257442 h 257442"/>
                <a:gd name="connsiteX3" fmla="*/ 0 w 1861307"/>
                <a:gd name="connsiteY3" fmla="*/ 0 h 257442"/>
                <a:gd name="connsiteX0" fmla="*/ 1861307 w 1861307"/>
                <a:gd name="connsiteY0" fmla="*/ 0 h 257442"/>
                <a:gd name="connsiteX1" fmla="*/ 1806586 w 1861307"/>
                <a:gd name="connsiteY1" fmla="*/ 257442 h 257442"/>
                <a:gd name="connsiteX2" fmla="*/ 0 w 1861307"/>
                <a:gd name="connsiteY2" fmla="*/ 257442 h 257442"/>
                <a:gd name="connsiteX3" fmla="*/ 0 w 1861307"/>
                <a:gd name="connsiteY3" fmla="*/ 0 h 257442"/>
                <a:gd name="connsiteX0" fmla="*/ 1962295 w 1962295"/>
                <a:gd name="connsiteY0" fmla="*/ 0 h 257442"/>
                <a:gd name="connsiteX1" fmla="*/ 1806586 w 1962295"/>
                <a:gd name="connsiteY1" fmla="*/ 257442 h 257442"/>
                <a:gd name="connsiteX2" fmla="*/ 0 w 1962295"/>
                <a:gd name="connsiteY2" fmla="*/ 257442 h 257442"/>
                <a:gd name="connsiteX3" fmla="*/ 0 w 1962295"/>
                <a:gd name="connsiteY3" fmla="*/ 0 h 257442"/>
                <a:gd name="connsiteX0" fmla="*/ 1962295 w 1962295"/>
                <a:gd name="connsiteY0" fmla="*/ 0 h 257442"/>
                <a:gd name="connsiteX1" fmla="*/ 1907574 w 1962295"/>
                <a:gd name="connsiteY1" fmla="*/ 257442 h 257442"/>
                <a:gd name="connsiteX2" fmla="*/ 0 w 1962295"/>
                <a:gd name="connsiteY2" fmla="*/ 257442 h 257442"/>
                <a:gd name="connsiteX3" fmla="*/ 0 w 1962295"/>
                <a:gd name="connsiteY3" fmla="*/ 0 h 257442"/>
                <a:gd name="connsiteX0" fmla="*/ 1962295 w 1962295"/>
                <a:gd name="connsiteY0" fmla="*/ 0 h 257442"/>
                <a:gd name="connsiteX1" fmla="*/ 1907574 w 1962295"/>
                <a:gd name="connsiteY1" fmla="*/ 257442 h 257442"/>
                <a:gd name="connsiteX2" fmla="*/ 0 w 1962295"/>
                <a:gd name="connsiteY2" fmla="*/ 257442 h 257442"/>
                <a:gd name="connsiteX3" fmla="*/ 0 w 1962295"/>
                <a:gd name="connsiteY3" fmla="*/ 0 h 257442"/>
                <a:gd name="connsiteX0" fmla="*/ 1962295 w 1962295"/>
                <a:gd name="connsiteY0" fmla="*/ 0 h 257442"/>
                <a:gd name="connsiteX1" fmla="*/ 1907574 w 1962295"/>
                <a:gd name="connsiteY1" fmla="*/ 257442 h 257442"/>
                <a:gd name="connsiteX2" fmla="*/ 0 w 1962295"/>
                <a:gd name="connsiteY2" fmla="*/ 257442 h 257442"/>
                <a:gd name="connsiteX3" fmla="*/ 0 w 1962295"/>
                <a:gd name="connsiteY3" fmla="*/ 0 h 257442"/>
                <a:gd name="connsiteX0" fmla="*/ 2140229 w 2140229"/>
                <a:gd name="connsiteY0" fmla="*/ 0 h 257442"/>
                <a:gd name="connsiteX1" fmla="*/ 1907574 w 2140229"/>
                <a:gd name="connsiteY1" fmla="*/ 257442 h 257442"/>
                <a:gd name="connsiteX2" fmla="*/ 0 w 2140229"/>
                <a:gd name="connsiteY2" fmla="*/ 257442 h 257442"/>
                <a:gd name="connsiteX3" fmla="*/ 0 w 2140229"/>
                <a:gd name="connsiteY3" fmla="*/ 0 h 257442"/>
                <a:gd name="connsiteX0" fmla="*/ 2140229 w 2140229"/>
                <a:gd name="connsiteY0" fmla="*/ 0 h 257442"/>
                <a:gd name="connsiteX1" fmla="*/ 2085508 w 2140229"/>
                <a:gd name="connsiteY1" fmla="*/ 257442 h 257442"/>
                <a:gd name="connsiteX2" fmla="*/ 0 w 2140229"/>
                <a:gd name="connsiteY2" fmla="*/ 257442 h 257442"/>
                <a:gd name="connsiteX3" fmla="*/ 0 w 2140229"/>
                <a:gd name="connsiteY3" fmla="*/ 0 h 257442"/>
                <a:gd name="connsiteX0" fmla="*/ 2140229 w 2140229"/>
                <a:gd name="connsiteY0" fmla="*/ 0 h 257442"/>
                <a:gd name="connsiteX1" fmla="*/ 2085508 w 2140229"/>
                <a:gd name="connsiteY1" fmla="*/ 257442 h 257442"/>
                <a:gd name="connsiteX2" fmla="*/ 0 w 2140229"/>
                <a:gd name="connsiteY2" fmla="*/ 257442 h 257442"/>
                <a:gd name="connsiteX3" fmla="*/ 0 w 2140229"/>
                <a:gd name="connsiteY3" fmla="*/ 0 h 257442"/>
                <a:gd name="connsiteX0" fmla="*/ 2140229 w 2140229"/>
                <a:gd name="connsiteY0" fmla="*/ 0 h 257442"/>
                <a:gd name="connsiteX1" fmla="*/ 2085508 w 2140229"/>
                <a:gd name="connsiteY1" fmla="*/ 257442 h 257442"/>
                <a:gd name="connsiteX2" fmla="*/ 0 w 2140229"/>
                <a:gd name="connsiteY2" fmla="*/ 257442 h 257442"/>
                <a:gd name="connsiteX3" fmla="*/ 0 w 2140229"/>
                <a:gd name="connsiteY3" fmla="*/ 0 h 257442"/>
                <a:gd name="connsiteX0" fmla="*/ 2308544 w 2308544"/>
                <a:gd name="connsiteY0" fmla="*/ 0 h 257442"/>
                <a:gd name="connsiteX1" fmla="*/ 2085508 w 2308544"/>
                <a:gd name="connsiteY1" fmla="*/ 257442 h 257442"/>
                <a:gd name="connsiteX2" fmla="*/ 0 w 2308544"/>
                <a:gd name="connsiteY2" fmla="*/ 257442 h 257442"/>
                <a:gd name="connsiteX3" fmla="*/ 0 w 2308544"/>
                <a:gd name="connsiteY3" fmla="*/ 0 h 257442"/>
                <a:gd name="connsiteX0" fmla="*/ 2308544 w 2308544"/>
                <a:gd name="connsiteY0" fmla="*/ 0 h 257442"/>
                <a:gd name="connsiteX1" fmla="*/ 2253822 w 2308544"/>
                <a:gd name="connsiteY1" fmla="*/ 257442 h 257442"/>
                <a:gd name="connsiteX2" fmla="*/ 0 w 2308544"/>
                <a:gd name="connsiteY2" fmla="*/ 257442 h 257442"/>
                <a:gd name="connsiteX3" fmla="*/ 0 w 2308544"/>
                <a:gd name="connsiteY3" fmla="*/ 0 h 257442"/>
                <a:gd name="connsiteX0" fmla="*/ 2308545 w 2308545"/>
                <a:gd name="connsiteY0" fmla="*/ 0 h 257442"/>
                <a:gd name="connsiteX1" fmla="*/ 2253823 w 2308545"/>
                <a:gd name="connsiteY1" fmla="*/ 257442 h 257442"/>
                <a:gd name="connsiteX2" fmla="*/ 0 w 2308545"/>
                <a:gd name="connsiteY2" fmla="*/ 257442 h 257442"/>
                <a:gd name="connsiteX3" fmla="*/ 1 w 2308545"/>
                <a:gd name="connsiteY3" fmla="*/ 0 h 257442"/>
                <a:gd name="connsiteX0" fmla="*/ 2308545 w 2308545"/>
                <a:gd name="connsiteY0" fmla="*/ 0 h 257442"/>
                <a:gd name="connsiteX1" fmla="*/ 2253823 w 2308545"/>
                <a:gd name="connsiteY1" fmla="*/ 257442 h 257442"/>
                <a:gd name="connsiteX2" fmla="*/ 0 w 2308545"/>
                <a:gd name="connsiteY2" fmla="*/ 257442 h 257442"/>
                <a:gd name="connsiteX3" fmla="*/ 1 w 2308545"/>
                <a:gd name="connsiteY3" fmla="*/ 0 h 257442"/>
                <a:gd name="connsiteX0" fmla="*/ 2409535 w 2409535"/>
                <a:gd name="connsiteY0" fmla="*/ 0 h 257442"/>
                <a:gd name="connsiteX1" fmla="*/ 2253823 w 2409535"/>
                <a:gd name="connsiteY1" fmla="*/ 257442 h 257442"/>
                <a:gd name="connsiteX2" fmla="*/ 0 w 2409535"/>
                <a:gd name="connsiteY2" fmla="*/ 257442 h 257442"/>
                <a:gd name="connsiteX3" fmla="*/ 1 w 2409535"/>
                <a:gd name="connsiteY3" fmla="*/ 0 h 257442"/>
                <a:gd name="connsiteX0" fmla="*/ 2409535 w 2409535"/>
                <a:gd name="connsiteY0" fmla="*/ 0 h 257442"/>
                <a:gd name="connsiteX1" fmla="*/ 2354814 w 2409535"/>
                <a:gd name="connsiteY1" fmla="*/ 257442 h 257442"/>
                <a:gd name="connsiteX2" fmla="*/ 0 w 2409535"/>
                <a:gd name="connsiteY2" fmla="*/ 257442 h 257442"/>
                <a:gd name="connsiteX3" fmla="*/ 1 w 2409535"/>
                <a:gd name="connsiteY3" fmla="*/ 0 h 257442"/>
                <a:gd name="connsiteX0" fmla="*/ 2409534 w 2409534"/>
                <a:gd name="connsiteY0" fmla="*/ 0 h 257442"/>
                <a:gd name="connsiteX1" fmla="*/ 2354813 w 2409534"/>
                <a:gd name="connsiteY1" fmla="*/ 257442 h 257442"/>
                <a:gd name="connsiteX2" fmla="*/ 0 w 2409534"/>
                <a:gd name="connsiteY2" fmla="*/ 257442 h 257442"/>
                <a:gd name="connsiteX3" fmla="*/ 0 w 2409534"/>
                <a:gd name="connsiteY3" fmla="*/ 0 h 257442"/>
                <a:gd name="connsiteX0" fmla="*/ 2409535 w 2409535"/>
                <a:gd name="connsiteY0" fmla="*/ 0 h 257442"/>
                <a:gd name="connsiteX1" fmla="*/ 2354814 w 2409535"/>
                <a:gd name="connsiteY1" fmla="*/ 257442 h 257442"/>
                <a:gd name="connsiteX2" fmla="*/ 1 w 2409535"/>
                <a:gd name="connsiteY2" fmla="*/ 257442 h 257442"/>
                <a:gd name="connsiteX3" fmla="*/ 0 w 2409535"/>
                <a:gd name="connsiteY3" fmla="*/ 0 h 257442"/>
                <a:gd name="connsiteX0" fmla="*/ 2572143 w 2572143"/>
                <a:gd name="connsiteY0" fmla="*/ 0 h 257442"/>
                <a:gd name="connsiteX1" fmla="*/ 2354814 w 2572143"/>
                <a:gd name="connsiteY1" fmla="*/ 257442 h 257442"/>
                <a:gd name="connsiteX2" fmla="*/ 1 w 2572143"/>
                <a:gd name="connsiteY2" fmla="*/ 257442 h 257442"/>
                <a:gd name="connsiteX3" fmla="*/ 0 w 2572143"/>
                <a:gd name="connsiteY3" fmla="*/ 0 h 257442"/>
                <a:gd name="connsiteX0" fmla="*/ 2572143 w 2572143"/>
                <a:gd name="connsiteY0" fmla="*/ 0 h 257442"/>
                <a:gd name="connsiteX1" fmla="*/ 2517422 w 2572143"/>
                <a:gd name="connsiteY1" fmla="*/ 257442 h 257442"/>
                <a:gd name="connsiteX2" fmla="*/ 1 w 2572143"/>
                <a:gd name="connsiteY2" fmla="*/ 257442 h 257442"/>
                <a:gd name="connsiteX3" fmla="*/ 0 w 2572143"/>
                <a:gd name="connsiteY3" fmla="*/ 0 h 257442"/>
                <a:gd name="connsiteX0" fmla="*/ 2572143 w 2572143"/>
                <a:gd name="connsiteY0" fmla="*/ 0 h 257442"/>
                <a:gd name="connsiteX1" fmla="*/ 2517422 w 2572143"/>
                <a:gd name="connsiteY1" fmla="*/ 257442 h 257442"/>
                <a:gd name="connsiteX2" fmla="*/ 1 w 2572143"/>
                <a:gd name="connsiteY2" fmla="*/ 257442 h 257442"/>
                <a:gd name="connsiteX3" fmla="*/ 0 w 2572143"/>
                <a:gd name="connsiteY3" fmla="*/ 0 h 257442"/>
                <a:gd name="connsiteX0" fmla="*/ 2572142 w 2572142"/>
                <a:gd name="connsiteY0" fmla="*/ 0 h 257442"/>
                <a:gd name="connsiteX1" fmla="*/ 2517421 w 2572142"/>
                <a:gd name="connsiteY1" fmla="*/ 257442 h 257442"/>
                <a:gd name="connsiteX2" fmla="*/ 0 w 2572142"/>
                <a:gd name="connsiteY2" fmla="*/ 257442 h 257442"/>
                <a:gd name="connsiteX3" fmla="*/ 0 w 2572142"/>
                <a:gd name="connsiteY3" fmla="*/ 0 h 257442"/>
                <a:gd name="connsiteX0" fmla="*/ 2732442 w 2732442"/>
                <a:gd name="connsiteY0" fmla="*/ 0 h 257442"/>
                <a:gd name="connsiteX1" fmla="*/ 2517421 w 2732442"/>
                <a:gd name="connsiteY1" fmla="*/ 257442 h 257442"/>
                <a:gd name="connsiteX2" fmla="*/ 0 w 2732442"/>
                <a:gd name="connsiteY2" fmla="*/ 257442 h 257442"/>
                <a:gd name="connsiteX3" fmla="*/ 0 w 2732442"/>
                <a:gd name="connsiteY3" fmla="*/ 0 h 257442"/>
                <a:gd name="connsiteX0" fmla="*/ 2732442 w 2732442"/>
                <a:gd name="connsiteY0" fmla="*/ 0 h 257442"/>
                <a:gd name="connsiteX1" fmla="*/ 2677721 w 2732442"/>
                <a:gd name="connsiteY1" fmla="*/ 257442 h 257442"/>
                <a:gd name="connsiteX2" fmla="*/ 0 w 2732442"/>
                <a:gd name="connsiteY2" fmla="*/ 257442 h 257442"/>
                <a:gd name="connsiteX3" fmla="*/ 0 w 2732442"/>
                <a:gd name="connsiteY3" fmla="*/ 0 h 257442"/>
                <a:gd name="connsiteX0" fmla="*/ 2732443 w 2732443"/>
                <a:gd name="connsiteY0" fmla="*/ 0 h 257442"/>
                <a:gd name="connsiteX1" fmla="*/ 2677722 w 2732443"/>
                <a:gd name="connsiteY1" fmla="*/ 257442 h 257442"/>
                <a:gd name="connsiteX2" fmla="*/ 0 w 2732443"/>
                <a:gd name="connsiteY2" fmla="*/ 257442 h 257442"/>
                <a:gd name="connsiteX3" fmla="*/ 1 w 2732443"/>
                <a:gd name="connsiteY3" fmla="*/ 0 h 257442"/>
                <a:gd name="connsiteX0" fmla="*/ 2732443 w 2732443"/>
                <a:gd name="connsiteY0" fmla="*/ 0 h 257442"/>
                <a:gd name="connsiteX1" fmla="*/ 2677722 w 2732443"/>
                <a:gd name="connsiteY1" fmla="*/ 257442 h 257442"/>
                <a:gd name="connsiteX2" fmla="*/ 0 w 2732443"/>
                <a:gd name="connsiteY2" fmla="*/ 257442 h 257442"/>
                <a:gd name="connsiteX3" fmla="*/ 1 w 2732443"/>
                <a:gd name="connsiteY3" fmla="*/ 0 h 257442"/>
                <a:gd name="connsiteX0" fmla="*/ 2892744 w 2892744"/>
                <a:gd name="connsiteY0" fmla="*/ 0 h 257442"/>
                <a:gd name="connsiteX1" fmla="*/ 2677722 w 2892744"/>
                <a:gd name="connsiteY1" fmla="*/ 257442 h 257442"/>
                <a:gd name="connsiteX2" fmla="*/ 0 w 2892744"/>
                <a:gd name="connsiteY2" fmla="*/ 257442 h 257442"/>
                <a:gd name="connsiteX3" fmla="*/ 1 w 2892744"/>
                <a:gd name="connsiteY3" fmla="*/ 0 h 257442"/>
                <a:gd name="connsiteX0" fmla="*/ 2892744 w 2892744"/>
                <a:gd name="connsiteY0" fmla="*/ 0 h 257442"/>
                <a:gd name="connsiteX1" fmla="*/ 2838022 w 2892744"/>
                <a:gd name="connsiteY1" fmla="*/ 257442 h 257442"/>
                <a:gd name="connsiteX2" fmla="*/ 0 w 2892744"/>
                <a:gd name="connsiteY2" fmla="*/ 257442 h 257442"/>
                <a:gd name="connsiteX3" fmla="*/ 1 w 2892744"/>
                <a:gd name="connsiteY3" fmla="*/ 0 h 257442"/>
                <a:gd name="connsiteX0" fmla="*/ 2892744 w 2892744"/>
                <a:gd name="connsiteY0" fmla="*/ 0 h 257442"/>
                <a:gd name="connsiteX1" fmla="*/ 2838022 w 2892744"/>
                <a:gd name="connsiteY1" fmla="*/ 257442 h 257442"/>
                <a:gd name="connsiteX2" fmla="*/ 0 w 2892744"/>
                <a:gd name="connsiteY2" fmla="*/ 257442 h 257442"/>
                <a:gd name="connsiteX3" fmla="*/ 1 w 2892744"/>
                <a:gd name="connsiteY3" fmla="*/ 0 h 257442"/>
                <a:gd name="connsiteX0" fmla="*/ 2892744 w 2892744"/>
                <a:gd name="connsiteY0" fmla="*/ 0 h 257442"/>
                <a:gd name="connsiteX1" fmla="*/ 2838022 w 2892744"/>
                <a:gd name="connsiteY1" fmla="*/ 257442 h 257442"/>
                <a:gd name="connsiteX2" fmla="*/ 0 w 2892744"/>
                <a:gd name="connsiteY2" fmla="*/ 257442 h 257442"/>
                <a:gd name="connsiteX3" fmla="*/ 0 w 2892744"/>
                <a:gd name="connsiteY3" fmla="*/ 0 h 257442"/>
                <a:gd name="connsiteX0" fmla="*/ 3053043 w 3053043"/>
                <a:gd name="connsiteY0" fmla="*/ 0 h 257442"/>
                <a:gd name="connsiteX1" fmla="*/ 2838022 w 3053043"/>
                <a:gd name="connsiteY1" fmla="*/ 257442 h 257442"/>
                <a:gd name="connsiteX2" fmla="*/ 0 w 3053043"/>
                <a:gd name="connsiteY2" fmla="*/ 257442 h 257442"/>
                <a:gd name="connsiteX3" fmla="*/ 0 w 3053043"/>
                <a:gd name="connsiteY3" fmla="*/ 0 h 257442"/>
                <a:gd name="connsiteX0" fmla="*/ 3053043 w 3053043"/>
                <a:gd name="connsiteY0" fmla="*/ 0 h 257442"/>
                <a:gd name="connsiteX1" fmla="*/ 2998322 w 3053043"/>
                <a:gd name="connsiteY1" fmla="*/ 257442 h 257442"/>
                <a:gd name="connsiteX2" fmla="*/ 0 w 3053043"/>
                <a:gd name="connsiteY2" fmla="*/ 257442 h 257442"/>
                <a:gd name="connsiteX3" fmla="*/ 0 w 3053043"/>
                <a:gd name="connsiteY3" fmla="*/ 0 h 257442"/>
                <a:gd name="connsiteX0" fmla="*/ 3053043 w 3053043"/>
                <a:gd name="connsiteY0" fmla="*/ 0 h 257442"/>
                <a:gd name="connsiteX1" fmla="*/ 2998322 w 3053043"/>
                <a:gd name="connsiteY1" fmla="*/ 257442 h 257442"/>
                <a:gd name="connsiteX2" fmla="*/ 0 w 3053043"/>
                <a:gd name="connsiteY2" fmla="*/ 257442 h 257442"/>
                <a:gd name="connsiteX3" fmla="*/ 0 w 3053043"/>
                <a:gd name="connsiteY3" fmla="*/ 0 h 257442"/>
                <a:gd name="connsiteX0" fmla="*/ 3053043 w 3053043"/>
                <a:gd name="connsiteY0" fmla="*/ 0 h 257442"/>
                <a:gd name="connsiteX1" fmla="*/ 2998322 w 3053043"/>
                <a:gd name="connsiteY1" fmla="*/ 257442 h 257442"/>
                <a:gd name="connsiteX2" fmla="*/ 0 w 3053043"/>
                <a:gd name="connsiteY2" fmla="*/ 257442 h 257442"/>
                <a:gd name="connsiteX3" fmla="*/ 0 w 3053043"/>
                <a:gd name="connsiteY3" fmla="*/ 0 h 257442"/>
                <a:gd name="connsiteX0" fmla="*/ 3213344 w 3213344"/>
                <a:gd name="connsiteY0" fmla="*/ 0 h 257442"/>
                <a:gd name="connsiteX1" fmla="*/ 2998322 w 3213344"/>
                <a:gd name="connsiteY1" fmla="*/ 257442 h 257442"/>
                <a:gd name="connsiteX2" fmla="*/ 0 w 3213344"/>
                <a:gd name="connsiteY2" fmla="*/ 257442 h 257442"/>
                <a:gd name="connsiteX3" fmla="*/ 0 w 3213344"/>
                <a:gd name="connsiteY3" fmla="*/ 0 h 257442"/>
                <a:gd name="connsiteX0" fmla="*/ 3213344 w 3213344"/>
                <a:gd name="connsiteY0" fmla="*/ 0 h 257442"/>
                <a:gd name="connsiteX1" fmla="*/ 3158622 w 3213344"/>
                <a:gd name="connsiteY1" fmla="*/ 257442 h 257442"/>
                <a:gd name="connsiteX2" fmla="*/ 0 w 3213344"/>
                <a:gd name="connsiteY2" fmla="*/ 257442 h 257442"/>
                <a:gd name="connsiteX3" fmla="*/ 0 w 3213344"/>
                <a:gd name="connsiteY3" fmla="*/ 0 h 257442"/>
                <a:gd name="connsiteX0" fmla="*/ 3213345 w 3213345"/>
                <a:gd name="connsiteY0" fmla="*/ 0 h 257442"/>
                <a:gd name="connsiteX1" fmla="*/ 3158623 w 3213345"/>
                <a:gd name="connsiteY1" fmla="*/ 257442 h 257442"/>
                <a:gd name="connsiteX2" fmla="*/ 0 w 3213345"/>
                <a:gd name="connsiteY2" fmla="*/ 257442 h 257442"/>
                <a:gd name="connsiteX3" fmla="*/ 1 w 3213345"/>
                <a:gd name="connsiteY3" fmla="*/ 0 h 257442"/>
                <a:gd name="connsiteX0" fmla="*/ 3213345 w 3213345"/>
                <a:gd name="connsiteY0" fmla="*/ 0 h 257442"/>
                <a:gd name="connsiteX1" fmla="*/ 3158623 w 3213345"/>
                <a:gd name="connsiteY1" fmla="*/ 257442 h 257442"/>
                <a:gd name="connsiteX2" fmla="*/ 0 w 3213345"/>
                <a:gd name="connsiteY2" fmla="*/ 257442 h 257442"/>
                <a:gd name="connsiteX3" fmla="*/ 1 w 3213345"/>
                <a:gd name="connsiteY3" fmla="*/ 0 h 257442"/>
                <a:gd name="connsiteX0" fmla="*/ 3373645 w 3373645"/>
                <a:gd name="connsiteY0" fmla="*/ 0 h 257442"/>
                <a:gd name="connsiteX1" fmla="*/ 3158623 w 3373645"/>
                <a:gd name="connsiteY1" fmla="*/ 257442 h 257442"/>
                <a:gd name="connsiteX2" fmla="*/ 0 w 3373645"/>
                <a:gd name="connsiteY2" fmla="*/ 257442 h 257442"/>
                <a:gd name="connsiteX3" fmla="*/ 1 w 3373645"/>
                <a:gd name="connsiteY3" fmla="*/ 0 h 257442"/>
                <a:gd name="connsiteX0" fmla="*/ 3373645 w 3373645"/>
                <a:gd name="connsiteY0" fmla="*/ 0 h 257442"/>
                <a:gd name="connsiteX1" fmla="*/ 3318924 w 3373645"/>
                <a:gd name="connsiteY1" fmla="*/ 257442 h 257442"/>
                <a:gd name="connsiteX2" fmla="*/ 0 w 3373645"/>
                <a:gd name="connsiteY2" fmla="*/ 257442 h 257442"/>
                <a:gd name="connsiteX3" fmla="*/ 1 w 3373645"/>
                <a:gd name="connsiteY3" fmla="*/ 0 h 257442"/>
                <a:gd name="connsiteX0" fmla="*/ 3373644 w 3373644"/>
                <a:gd name="connsiteY0" fmla="*/ 0 h 257442"/>
                <a:gd name="connsiteX1" fmla="*/ 3318923 w 3373644"/>
                <a:gd name="connsiteY1" fmla="*/ 257442 h 257442"/>
                <a:gd name="connsiteX2" fmla="*/ 0 w 3373644"/>
                <a:gd name="connsiteY2" fmla="*/ 257442 h 257442"/>
                <a:gd name="connsiteX3" fmla="*/ 0 w 3373644"/>
                <a:gd name="connsiteY3" fmla="*/ 0 h 257442"/>
                <a:gd name="connsiteX0" fmla="*/ 3373645 w 3373645"/>
                <a:gd name="connsiteY0" fmla="*/ 0 h 257442"/>
                <a:gd name="connsiteX1" fmla="*/ 3318924 w 3373645"/>
                <a:gd name="connsiteY1" fmla="*/ 257442 h 257442"/>
                <a:gd name="connsiteX2" fmla="*/ 1 w 3373645"/>
                <a:gd name="connsiteY2" fmla="*/ 257442 h 257442"/>
                <a:gd name="connsiteX3" fmla="*/ 0 w 3373645"/>
                <a:gd name="connsiteY3" fmla="*/ 0 h 257442"/>
                <a:gd name="connsiteX0" fmla="*/ 3559593 w 3559593"/>
                <a:gd name="connsiteY0" fmla="*/ 0 h 257442"/>
                <a:gd name="connsiteX1" fmla="*/ 3318924 w 3559593"/>
                <a:gd name="connsiteY1" fmla="*/ 257442 h 257442"/>
                <a:gd name="connsiteX2" fmla="*/ 1 w 3559593"/>
                <a:gd name="connsiteY2" fmla="*/ 257442 h 257442"/>
                <a:gd name="connsiteX3" fmla="*/ 0 w 3559593"/>
                <a:gd name="connsiteY3" fmla="*/ 0 h 257442"/>
                <a:gd name="connsiteX0" fmla="*/ 3559593 w 3559593"/>
                <a:gd name="connsiteY0" fmla="*/ 0 h 257442"/>
                <a:gd name="connsiteX1" fmla="*/ 3504872 w 3559593"/>
                <a:gd name="connsiteY1" fmla="*/ 257442 h 257442"/>
                <a:gd name="connsiteX2" fmla="*/ 1 w 3559593"/>
                <a:gd name="connsiteY2" fmla="*/ 257442 h 257442"/>
                <a:gd name="connsiteX3" fmla="*/ 0 w 3559593"/>
                <a:gd name="connsiteY3" fmla="*/ 0 h 257442"/>
                <a:gd name="connsiteX0" fmla="*/ 3559593 w 3559593"/>
                <a:gd name="connsiteY0" fmla="*/ 0 h 257442"/>
                <a:gd name="connsiteX1" fmla="*/ 3504872 w 3559593"/>
                <a:gd name="connsiteY1" fmla="*/ 257442 h 257442"/>
                <a:gd name="connsiteX2" fmla="*/ 1 w 3559593"/>
                <a:gd name="connsiteY2" fmla="*/ 257442 h 257442"/>
                <a:gd name="connsiteX3" fmla="*/ 0 w 3559593"/>
                <a:gd name="connsiteY3" fmla="*/ 0 h 257442"/>
                <a:gd name="connsiteX0" fmla="*/ 3559592 w 3559592"/>
                <a:gd name="connsiteY0" fmla="*/ 0 h 257442"/>
                <a:gd name="connsiteX1" fmla="*/ 3504871 w 3559592"/>
                <a:gd name="connsiteY1" fmla="*/ 257442 h 257442"/>
                <a:gd name="connsiteX2" fmla="*/ 0 w 3559592"/>
                <a:gd name="connsiteY2" fmla="*/ 257442 h 257442"/>
                <a:gd name="connsiteX3" fmla="*/ 0 w 3559592"/>
                <a:gd name="connsiteY3" fmla="*/ 0 h 257442"/>
                <a:gd name="connsiteX0" fmla="*/ 3719892 w 3719892"/>
                <a:gd name="connsiteY0" fmla="*/ 0 h 257442"/>
                <a:gd name="connsiteX1" fmla="*/ 3504871 w 3719892"/>
                <a:gd name="connsiteY1" fmla="*/ 257442 h 257442"/>
                <a:gd name="connsiteX2" fmla="*/ 0 w 3719892"/>
                <a:gd name="connsiteY2" fmla="*/ 257442 h 257442"/>
                <a:gd name="connsiteX3" fmla="*/ 0 w 3719892"/>
                <a:gd name="connsiteY3" fmla="*/ 0 h 257442"/>
                <a:gd name="connsiteX0" fmla="*/ 3719892 w 3719892"/>
                <a:gd name="connsiteY0" fmla="*/ 0 h 257442"/>
                <a:gd name="connsiteX1" fmla="*/ 3665171 w 3719892"/>
                <a:gd name="connsiteY1" fmla="*/ 257442 h 257442"/>
                <a:gd name="connsiteX2" fmla="*/ 0 w 3719892"/>
                <a:gd name="connsiteY2" fmla="*/ 257442 h 257442"/>
                <a:gd name="connsiteX3" fmla="*/ 0 w 3719892"/>
                <a:gd name="connsiteY3" fmla="*/ 0 h 257442"/>
                <a:gd name="connsiteX0" fmla="*/ 3719893 w 3719893"/>
                <a:gd name="connsiteY0" fmla="*/ 0 h 257442"/>
                <a:gd name="connsiteX1" fmla="*/ 3665172 w 3719893"/>
                <a:gd name="connsiteY1" fmla="*/ 257442 h 257442"/>
                <a:gd name="connsiteX2" fmla="*/ 0 w 3719893"/>
                <a:gd name="connsiteY2" fmla="*/ 257442 h 257442"/>
                <a:gd name="connsiteX3" fmla="*/ 1 w 3719893"/>
                <a:gd name="connsiteY3" fmla="*/ 0 h 257442"/>
                <a:gd name="connsiteX0" fmla="*/ 3719893 w 3719893"/>
                <a:gd name="connsiteY0" fmla="*/ 0 h 257442"/>
                <a:gd name="connsiteX1" fmla="*/ 3665172 w 3719893"/>
                <a:gd name="connsiteY1" fmla="*/ 257442 h 257442"/>
                <a:gd name="connsiteX2" fmla="*/ 0 w 3719893"/>
                <a:gd name="connsiteY2" fmla="*/ 257442 h 257442"/>
                <a:gd name="connsiteX3" fmla="*/ 1 w 3719893"/>
                <a:gd name="connsiteY3" fmla="*/ 0 h 257442"/>
                <a:gd name="connsiteX0" fmla="*/ 3888208 w 3888208"/>
                <a:gd name="connsiteY0" fmla="*/ 0 h 257442"/>
                <a:gd name="connsiteX1" fmla="*/ 3665172 w 3888208"/>
                <a:gd name="connsiteY1" fmla="*/ 257442 h 257442"/>
                <a:gd name="connsiteX2" fmla="*/ 0 w 3888208"/>
                <a:gd name="connsiteY2" fmla="*/ 257442 h 257442"/>
                <a:gd name="connsiteX3" fmla="*/ 1 w 3888208"/>
                <a:gd name="connsiteY3" fmla="*/ 0 h 257442"/>
                <a:gd name="connsiteX0" fmla="*/ 3888208 w 3888208"/>
                <a:gd name="connsiteY0" fmla="*/ 0 h 257442"/>
                <a:gd name="connsiteX1" fmla="*/ 3833486 w 3888208"/>
                <a:gd name="connsiteY1" fmla="*/ 257442 h 257442"/>
                <a:gd name="connsiteX2" fmla="*/ 0 w 3888208"/>
                <a:gd name="connsiteY2" fmla="*/ 257442 h 257442"/>
                <a:gd name="connsiteX3" fmla="*/ 1 w 3888208"/>
                <a:gd name="connsiteY3" fmla="*/ 0 h 257442"/>
                <a:gd name="connsiteX0" fmla="*/ 3888208 w 3888208"/>
                <a:gd name="connsiteY0" fmla="*/ 0 h 257442"/>
                <a:gd name="connsiteX1" fmla="*/ 3833486 w 3888208"/>
                <a:gd name="connsiteY1" fmla="*/ 257442 h 257442"/>
                <a:gd name="connsiteX2" fmla="*/ 0 w 3888208"/>
                <a:gd name="connsiteY2" fmla="*/ 257442 h 257442"/>
                <a:gd name="connsiteX3" fmla="*/ 1 w 3888208"/>
                <a:gd name="connsiteY3" fmla="*/ 0 h 257442"/>
                <a:gd name="connsiteX0" fmla="*/ 3888208 w 3888208"/>
                <a:gd name="connsiteY0" fmla="*/ 0 h 257442"/>
                <a:gd name="connsiteX1" fmla="*/ 3833486 w 3888208"/>
                <a:gd name="connsiteY1" fmla="*/ 257442 h 257442"/>
                <a:gd name="connsiteX2" fmla="*/ 0 w 3888208"/>
                <a:gd name="connsiteY2" fmla="*/ 257442 h 257442"/>
                <a:gd name="connsiteX3" fmla="*/ 0 w 3888208"/>
                <a:gd name="connsiteY3" fmla="*/ 0 h 257442"/>
                <a:gd name="connsiteX0" fmla="*/ 4040493 w 4040493"/>
                <a:gd name="connsiteY0" fmla="*/ 0 h 257442"/>
                <a:gd name="connsiteX1" fmla="*/ 3833486 w 4040493"/>
                <a:gd name="connsiteY1" fmla="*/ 257442 h 257442"/>
                <a:gd name="connsiteX2" fmla="*/ 0 w 4040493"/>
                <a:gd name="connsiteY2" fmla="*/ 257442 h 257442"/>
                <a:gd name="connsiteX3" fmla="*/ 0 w 4040493"/>
                <a:gd name="connsiteY3" fmla="*/ 0 h 257442"/>
                <a:gd name="connsiteX0" fmla="*/ 4040493 w 4040493"/>
                <a:gd name="connsiteY0" fmla="*/ 0 h 257442"/>
                <a:gd name="connsiteX1" fmla="*/ 3985772 w 4040493"/>
                <a:gd name="connsiteY1" fmla="*/ 257442 h 257442"/>
                <a:gd name="connsiteX2" fmla="*/ 0 w 4040493"/>
                <a:gd name="connsiteY2" fmla="*/ 257442 h 257442"/>
                <a:gd name="connsiteX3" fmla="*/ 0 w 4040493"/>
                <a:gd name="connsiteY3" fmla="*/ 0 h 257442"/>
                <a:gd name="connsiteX0" fmla="*/ 4040493 w 4040493"/>
                <a:gd name="connsiteY0" fmla="*/ 0 h 257442"/>
                <a:gd name="connsiteX1" fmla="*/ 3985772 w 4040493"/>
                <a:gd name="connsiteY1" fmla="*/ 257442 h 257442"/>
                <a:gd name="connsiteX2" fmla="*/ 0 w 4040493"/>
                <a:gd name="connsiteY2" fmla="*/ 257442 h 257442"/>
                <a:gd name="connsiteX3" fmla="*/ 0 w 4040493"/>
                <a:gd name="connsiteY3" fmla="*/ 0 h 257442"/>
                <a:gd name="connsiteX0" fmla="*/ 4040493 w 4040493"/>
                <a:gd name="connsiteY0" fmla="*/ 0 h 257442"/>
                <a:gd name="connsiteX1" fmla="*/ 3985772 w 4040493"/>
                <a:gd name="connsiteY1" fmla="*/ 257442 h 257442"/>
                <a:gd name="connsiteX2" fmla="*/ 0 w 4040493"/>
                <a:gd name="connsiteY2" fmla="*/ 257442 h 257442"/>
                <a:gd name="connsiteX3" fmla="*/ 0 w 4040493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40493" h="257442">
                  <a:moveTo>
                    <a:pt x="4040493" y="0"/>
                  </a:moveTo>
                  <a:lnTo>
                    <a:pt x="3985772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55" name="btfpRunningAgenda2LevelTextLeft798664">
              <a:extLst>
                <a:ext uri="{FF2B5EF4-FFF2-40B4-BE49-F238E27FC236}">
                  <a16:creationId xmlns:a16="http://schemas.microsoft.com/office/drawing/2014/main" id="{5360EBE1-B81D-4C48-B7CC-7C1E4CDA9A73}"/>
                </a:ext>
              </a:extLst>
            </p:cNvPr>
            <p:cNvSpPr txBox="1"/>
            <p:nvPr/>
          </p:nvSpPr>
          <p:spPr bwMode="gray">
            <a:xfrm>
              <a:off x="0" y="876300"/>
              <a:ext cx="3985772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Disruption assessment</a:t>
              </a:r>
            </a:p>
          </p:txBody>
        </p:sp>
      </p:grpSp>
      <p:sp>
        <p:nvSpPr>
          <p:cNvPr id="13" name="Rectangle 12">
            <a:extLst>
              <a:ext uri="{FF2B5EF4-FFF2-40B4-BE49-F238E27FC236}">
                <a16:creationId xmlns:a16="http://schemas.microsoft.com/office/drawing/2014/main" id="{A2AC7F9D-827A-B4CC-51B8-E60A4001AFA9}"/>
              </a:ext>
            </a:extLst>
          </p:cNvPr>
          <p:cNvSpPr/>
          <p:nvPr/>
        </p:nvSpPr>
        <p:spPr bwMode="gray">
          <a:xfrm>
            <a:off x="414226" y="2013782"/>
            <a:ext cx="981357" cy="180778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100" b="1">
                <a:solidFill>
                  <a:schemeClr val="bg1"/>
                </a:solidFill>
              </a:rPr>
              <a:t>Company 1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D848B0C-E2B1-9816-F7B6-FDEEFF09CB34}"/>
              </a:ext>
            </a:extLst>
          </p:cNvPr>
          <p:cNvSpPr/>
          <p:nvPr/>
        </p:nvSpPr>
        <p:spPr bwMode="gray">
          <a:xfrm>
            <a:off x="414226" y="2992277"/>
            <a:ext cx="981357" cy="180778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100" b="1">
                <a:solidFill>
                  <a:schemeClr val="bg1"/>
                </a:solidFill>
              </a:rPr>
              <a:t>Company 2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F2344F9-5247-795B-52A0-4C8DB9E96738}"/>
              </a:ext>
            </a:extLst>
          </p:cNvPr>
          <p:cNvSpPr/>
          <p:nvPr/>
        </p:nvSpPr>
        <p:spPr bwMode="gray">
          <a:xfrm>
            <a:off x="414226" y="4079483"/>
            <a:ext cx="981357" cy="180778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100" b="1">
                <a:solidFill>
                  <a:schemeClr val="bg1"/>
                </a:solidFill>
              </a:rPr>
              <a:t>Company 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E9E9F6F-5AD1-C8F1-AF49-6D1AAB69008E}"/>
              </a:ext>
            </a:extLst>
          </p:cNvPr>
          <p:cNvSpPr/>
          <p:nvPr/>
        </p:nvSpPr>
        <p:spPr bwMode="gray">
          <a:xfrm>
            <a:off x="414226" y="5245263"/>
            <a:ext cx="981357" cy="180778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100" b="1">
                <a:solidFill>
                  <a:schemeClr val="bg1"/>
                </a:solidFill>
              </a:rPr>
              <a:t>Company 4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606A6F9-5968-ADD6-478C-4D7D0D1CBC5F}"/>
              </a:ext>
            </a:extLst>
          </p:cNvPr>
          <p:cNvSpPr txBox="1"/>
          <p:nvPr/>
        </p:nvSpPr>
        <p:spPr bwMode="gray">
          <a:xfrm rot="3048423">
            <a:off x="11431924" y="190878"/>
            <a:ext cx="914400" cy="257369"/>
          </a:xfrm>
          <a:prstGeom prst="rect">
            <a:avLst/>
          </a:prstGeom>
          <a:solidFill>
            <a:srgbClr val="CC0000"/>
          </a:solidFill>
        </p:spPr>
        <p:txBody>
          <a:bodyPr wrap="square" lIns="36000" tIns="36000" rIns="36000" bIns="36000" rtlCol="0">
            <a:spAutoFit/>
          </a:bodyPr>
          <a:lstStyle/>
          <a:p>
            <a:pPr marL="0" indent="0" algn="ctr">
              <a:buNone/>
            </a:pPr>
            <a:r>
              <a:rPr lang="en-US" sz="1200">
                <a:solidFill>
                  <a:srgbClr val="FFFFFF"/>
                </a:solidFill>
              </a:rPr>
              <a:t>SAMP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5785744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28868482-7742-F3C2-88D9-5DDB47E14FD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95" imgH="396" progId="TCLayout.ActiveDocument.1">
                  <p:embed/>
                </p:oleObj>
              </mc:Choice>
              <mc:Fallback>
                <p:oleObj name="think-cell Slide" r:id="rId8" imgW="395" imgH="396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8868482-7742-F3C2-88D9-5DDB47E14F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2" name="Picture 31" descr="Red and black diagonal lines">
            <a:extLst>
              <a:ext uri="{FF2B5EF4-FFF2-40B4-BE49-F238E27FC236}">
                <a16:creationId xmlns:a16="http://schemas.microsoft.com/office/drawing/2014/main" id="{005A94D2-6AE6-6595-07A0-E52C2C41586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-3360"/>
            <a:ext cx="12191999" cy="843464"/>
          </a:xfrm>
          <a:prstGeom prst="rect">
            <a:avLst/>
          </a:prstGeom>
        </p:spPr>
      </p:pic>
      <p:grpSp>
        <p:nvGrpSpPr>
          <p:cNvPr id="29" name="btfpColumnIndicatorGroup2">
            <a:extLst>
              <a:ext uri="{FF2B5EF4-FFF2-40B4-BE49-F238E27FC236}">
                <a16:creationId xmlns:a16="http://schemas.microsoft.com/office/drawing/2014/main" id="{9E053FD3-C9FD-16DA-E17A-FAA9F05A4BA3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27" name="btfpColumnGapBlocker114034">
              <a:extLst>
                <a:ext uri="{FF2B5EF4-FFF2-40B4-BE49-F238E27FC236}">
                  <a16:creationId xmlns:a16="http://schemas.microsoft.com/office/drawing/2014/main" id="{AF2FB1A6-F12E-012B-DDAE-FA7ADD8EBF3E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25" name="btfpColumnGapBlocker863691">
              <a:extLst>
                <a:ext uri="{FF2B5EF4-FFF2-40B4-BE49-F238E27FC236}">
                  <a16:creationId xmlns:a16="http://schemas.microsoft.com/office/drawing/2014/main" id="{56EDA90F-835F-F96F-BD67-E35174E614A0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3" name="btfpColumnIndicator149035">
              <a:extLst>
                <a:ext uri="{FF2B5EF4-FFF2-40B4-BE49-F238E27FC236}">
                  <a16:creationId xmlns:a16="http://schemas.microsoft.com/office/drawing/2014/main" id="{2AE135F0-6BB9-1576-90E5-6E5E28CD04D9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btfpColumnIndicator281831">
              <a:extLst>
                <a:ext uri="{FF2B5EF4-FFF2-40B4-BE49-F238E27FC236}">
                  <a16:creationId xmlns:a16="http://schemas.microsoft.com/office/drawing/2014/main" id="{C76BD3A2-71C3-4F57-B601-D44DC4B628D1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btfpColumnIndicatorGroup1">
            <a:extLst>
              <a:ext uri="{FF2B5EF4-FFF2-40B4-BE49-F238E27FC236}">
                <a16:creationId xmlns:a16="http://schemas.microsoft.com/office/drawing/2014/main" id="{E2A78D59-1444-DB77-EBD9-2E05632D8F7C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26" name="btfpColumnGapBlocker657117">
              <a:extLst>
                <a:ext uri="{FF2B5EF4-FFF2-40B4-BE49-F238E27FC236}">
                  <a16:creationId xmlns:a16="http://schemas.microsoft.com/office/drawing/2014/main" id="{265A9760-D132-4787-5BDD-D4CBBD183998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24" name="btfpColumnGapBlocker806679">
              <a:extLst>
                <a:ext uri="{FF2B5EF4-FFF2-40B4-BE49-F238E27FC236}">
                  <a16:creationId xmlns:a16="http://schemas.microsoft.com/office/drawing/2014/main" id="{7DBB78F4-5A45-9432-D946-DE563FC12127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2" name="btfpColumnIndicator327662">
              <a:extLst>
                <a:ext uri="{FF2B5EF4-FFF2-40B4-BE49-F238E27FC236}">
                  <a16:creationId xmlns:a16="http://schemas.microsoft.com/office/drawing/2014/main" id="{BB92BDD0-796A-CB55-606D-BABCAC1FF8BA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btfpColumnIndicator270087">
              <a:extLst>
                <a:ext uri="{FF2B5EF4-FFF2-40B4-BE49-F238E27FC236}">
                  <a16:creationId xmlns:a16="http://schemas.microsoft.com/office/drawing/2014/main" id="{E4E152EE-6FB0-91AB-00F2-9BE9BA05C01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808F523-751C-A7C0-498D-1CC13C8D10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>
                <a:solidFill>
                  <a:schemeClr val="bg1"/>
                </a:solidFill>
              </a:rPr>
              <a:t>Target performs well across functional requirements given its highly accurate invoice processing and approvals</a:t>
            </a:r>
          </a:p>
        </p:txBody>
      </p:sp>
      <p:graphicFrame>
        <p:nvGraphicFramePr>
          <p:cNvPr id="15" name="btfpTable663661">
            <a:extLst>
              <a:ext uri="{FF2B5EF4-FFF2-40B4-BE49-F238E27FC236}">
                <a16:creationId xmlns:a16="http://schemas.microsoft.com/office/drawing/2014/main" id="{B6DA8C2B-8EFB-0F37-EC14-FF6E7DD4246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711200" y="1270001"/>
          <a:ext cx="11150598" cy="512900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025878">
                  <a:extLst>
                    <a:ext uri="{9D8B030D-6E8A-4147-A177-3AD203B41FA5}">
                      <a16:colId xmlns:a16="http://schemas.microsoft.com/office/drawing/2014/main" val="1365234825"/>
                    </a:ext>
                  </a:extLst>
                </a:gridCol>
                <a:gridCol w="1824944">
                  <a:extLst>
                    <a:ext uri="{9D8B030D-6E8A-4147-A177-3AD203B41FA5}">
                      <a16:colId xmlns:a16="http://schemas.microsoft.com/office/drawing/2014/main" val="1579135767"/>
                    </a:ext>
                  </a:extLst>
                </a:gridCol>
                <a:gridCol w="1824944">
                  <a:extLst>
                    <a:ext uri="{9D8B030D-6E8A-4147-A177-3AD203B41FA5}">
                      <a16:colId xmlns:a16="http://schemas.microsoft.com/office/drawing/2014/main" val="1547471322"/>
                    </a:ext>
                  </a:extLst>
                </a:gridCol>
                <a:gridCol w="1824944">
                  <a:extLst>
                    <a:ext uri="{9D8B030D-6E8A-4147-A177-3AD203B41FA5}">
                      <a16:colId xmlns:a16="http://schemas.microsoft.com/office/drawing/2014/main" val="845709152"/>
                    </a:ext>
                  </a:extLst>
                </a:gridCol>
                <a:gridCol w="1824944">
                  <a:extLst>
                    <a:ext uri="{9D8B030D-6E8A-4147-A177-3AD203B41FA5}">
                      <a16:colId xmlns:a16="http://schemas.microsoft.com/office/drawing/2014/main" val="4239883914"/>
                    </a:ext>
                  </a:extLst>
                </a:gridCol>
                <a:gridCol w="1824944">
                  <a:extLst>
                    <a:ext uri="{9D8B030D-6E8A-4147-A177-3AD203B41FA5}">
                      <a16:colId xmlns:a16="http://schemas.microsoft.com/office/drawing/2014/main" val="3220825383"/>
                    </a:ext>
                  </a:extLst>
                </a:gridCol>
              </a:tblGrid>
              <a:tr h="193679">
                <a:tc>
                  <a:txBody>
                    <a:bodyPr/>
                    <a:lstStyle/>
                    <a:p>
                      <a:pPr marL="0" indent="0">
                        <a:spcBef>
                          <a:spcPts val="600"/>
                        </a:spcBef>
                        <a:buFontTx/>
                        <a:buNone/>
                      </a:pPr>
                      <a:r>
                        <a:rPr lang="en-US" sz="800">
                          <a:solidFill>
                            <a:srgbClr val="000000"/>
                          </a:solidFill>
                        </a:rPr>
                        <a:t>KPC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buFontTx/>
                        <a:buNone/>
                      </a:pPr>
                      <a:r>
                        <a:rPr lang="en-US" sz="800" b="1">
                          <a:solidFill>
                            <a:srgbClr val="C00000"/>
                          </a:solidFill>
                        </a:rPr>
                        <a:t>Target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buFontTx/>
                        <a:buNone/>
                      </a:pPr>
                      <a:r>
                        <a:rPr lang="en-US" sz="800">
                          <a:solidFill>
                            <a:srgbClr val="000000"/>
                          </a:solidFill>
                        </a:rPr>
                        <a:t>Competitor 1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buFontTx/>
                        <a:buNone/>
                      </a:pPr>
                      <a:r>
                        <a:rPr lang="en-US" sz="800">
                          <a:solidFill>
                            <a:srgbClr val="000000"/>
                          </a:solidFill>
                        </a:rPr>
                        <a:t>Competitor 2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buFontTx/>
                        <a:buNone/>
                      </a:pPr>
                      <a:r>
                        <a:rPr lang="en-US" sz="800" b="1">
                          <a:solidFill>
                            <a:srgbClr val="000000"/>
                          </a:solidFill>
                        </a:rPr>
                        <a:t>Competitor 3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buFontTx/>
                        <a:buNone/>
                      </a:pPr>
                      <a:r>
                        <a:rPr lang="en-US" sz="800" b="1">
                          <a:solidFill>
                            <a:srgbClr val="000000"/>
                          </a:solidFill>
                        </a:rPr>
                        <a:t>Competitor 4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05035803"/>
                  </a:ext>
                </a:extLst>
              </a:tr>
              <a:tr h="320073">
                <a:tc>
                  <a:txBody>
                    <a:bodyPr/>
                    <a:lstStyle/>
                    <a:p>
                      <a:pPr marL="0" indent="0">
                        <a:spcBef>
                          <a:spcPts val="600"/>
                        </a:spcBef>
                        <a:buFontTx/>
                        <a:buNone/>
                      </a:pPr>
                      <a:r>
                        <a:rPr lang="en-US" sz="800" b="0"/>
                        <a:t>Quality of integration with ERP / 3P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i="0">
                          <a:solidFill>
                            <a:srgbClr val="000000"/>
                          </a:solidFill>
                        </a:rPr>
                        <a:t>Integration not as smooth as ERP add-ons</a:t>
                      </a:r>
                    </a:p>
                  </a:txBody>
                  <a:tcPr marL="45720" marR="4572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i="0">
                          <a:solidFill>
                            <a:srgbClr val="000000"/>
                          </a:solidFill>
                        </a:rPr>
                        <a:t>Integration not as smooth as ERP add-ons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i="0">
                          <a:solidFill>
                            <a:schemeClr val="bg1"/>
                          </a:solidFill>
                        </a:rPr>
                        <a:t>Good integration with Sage accounting and Quickbooks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i="0">
                          <a:solidFill>
                            <a:schemeClr val="bg1"/>
                          </a:solidFill>
                        </a:rPr>
                        <a:t>Featured integrations with major ERPs 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i="0">
                          <a:solidFill>
                            <a:schemeClr val="bg1"/>
                          </a:solidFill>
                        </a:rPr>
                        <a:t>Good interface with Netsuite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8277221"/>
                  </a:ext>
                </a:extLst>
              </a:tr>
              <a:tr h="304353">
                <a:tc>
                  <a:txBody>
                    <a:bodyPr/>
                    <a:lstStyle/>
                    <a:p>
                      <a:pPr marL="0" indent="0">
                        <a:spcBef>
                          <a:spcPts val="600"/>
                        </a:spcBef>
                        <a:buFontTx/>
                        <a:buNone/>
                      </a:pPr>
                      <a:r>
                        <a:rPr lang="en-US" sz="800" b="0"/>
                        <a:t>Price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buFontTx/>
                        <a:buNone/>
                      </a:pPr>
                      <a:r>
                        <a:rPr lang="en-US" sz="800" i="0">
                          <a:solidFill>
                            <a:srgbClr val="000000"/>
                          </a:solidFill>
                        </a:rPr>
                        <a:t>More expensive than other point solutions</a:t>
                      </a:r>
                    </a:p>
                  </a:txBody>
                  <a:tcPr marL="45720" marR="4572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buFontTx/>
                        <a:buNone/>
                      </a:pPr>
                      <a:r>
                        <a:rPr lang="en-US" sz="800" i="0">
                          <a:solidFill>
                            <a:schemeClr val="tx1"/>
                          </a:solidFill>
                        </a:rPr>
                        <a:t>More expensive than other solutions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ore expensive vs AP automation suite competitors</a:t>
                      </a:r>
                    </a:p>
                  </a:txBody>
                  <a:tcPr marL="5137" marR="5137" marT="5137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id not like the price paid for the value received</a:t>
                      </a:r>
                    </a:p>
                  </a:txBody>
                  <a:tcPr marL="5137" marR="5137" marT="5137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ore expensive than peers</a:t>
                      </a:r>
                    </a:p>
                  </a:txBody>
                  <a:tcPr marL="5137" marR="5137" marT="5137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4548232"/>
                  </a:ext>
                </a:extLst>
              </a:tr>
              <a:tr h="253953">
                <a:tc>
                  <a:txBody>
                    <a:bodyPr/>
                    <a:lstStyle/>
                    <a:p>
                      <a:pPr marL="0" indent="0">
                        <a:spcBef>
                          <a:spcPts val="600"/>
                        </a:spcBef>
                        <a:buFontTx/>
                        <a:buNone/>
                      </a:pPr>
                      <a:r>
                        <a:rPr lang="en-US" sz="800" b="0"/>
                        <a:t>Ease of use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i="0">
                          <a:solidFill>
                            <a:schemeClr val="bg1"/>
                          </a:solidFill>
                        </a:rPr>
                        <a:t>User friendly for accountants</a:t>
                      </a:r>
                    </a:p>
                  </a:txBody>
                  <a:tcPr marL="45720" marR="4572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buFontTx/>
                        <a:buNone/>
                      </a:pPr>
                      <a:r>
                        <a:rPr lang="en-US" sz="800" i="0">
                          <a:solidFill>
                            <a:srgbClr val="FFFFFF"/>
                          </a:solidFill>
                        </a:rPr>
                        <a:t>Interface is user friendly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buFontTx/>
                        <a:buNone/>
                      </a:pPr>
                      <a:r>
                        <a:rPr lang="en-US" sz="800" i="0">
                          <a:solidFill>
                            <a:schemeClr val="tx1"/>
                          </a:solidFill>
                        </a:rPr>
                        <a:t>Ability to create batch payment at ease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buFontTx/>
                        <a:buNone/>
                      </a:pPr>
                      <a:r>
                        <a:rPr lang="en-US" sz="800" i="0">
                          <a:solidFill>
                            <a:schemeClr val="tx1"/>
                          </a:solidFill>
                        </a:rPr>
                        <a:t>Provides readable scans of invoices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buFontTx/>
                        <a:buNone/>
                      </a:pPr>
                      <a:r>
                        <a:rPr lang="en-US" sz="800" i="0">
                          <a:solidFill>
                            <a:srgbClr val="FFFFFF"/>
                          </a:solidFill>
                        </a:rPr>
                        <a:t>Interface is user friendly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1688025"/>
                  </a:ext>
                </a:extLst>
              </a:tr>
              <a:tr h="320073">
                <a:tc>
                  <a:txBody>
                    <a:bodyPr/>
                    <a:lstStyle/>
                    <a:p>
                      <a:pPr marL="0" indent="0">
                        <a:spcBef>
                          <a:spcPts val="600"/>
                        </a:spcBef>
                        <a:buFontTx/>
                        <a:buNone/>
                      </a:pPr>
                      <a:r>
                        <a:rPr lang="en-US" sz="800" b="0"/>
                        <a:t>Implementation cost &amp; complexity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i="0">
                          <a:solidFill>
                            <a:srgbClr val="000000"/>
                          </a:solidFill>
                        </a:rPr>
                        <a:t>High cost due to custom integrations required for ERPs</a:t>
                      </a:r>
                    </a:p>
                  </a:txBody>
                  <a:tcPr marL="45720" marR="4572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buFontTx/>
                        <a:buNone/>
                      </a:pPr>
                      <a:r>
                        <a:rPr lang="en-US" sz="800" i="0">
                          <a:solidFill>
                            <a:schemeClr val="tx1"/>
                          </a:solidFill>
                        </a:rPr>
                        <a:t>Implementation is lengthy and needs work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800" i="0">
                          <a:solidFill>
                            <a:schemeClr val="tx1"/>
                          </a:solidFill>
                        </a:rPr>
                        <a:t>Mixed feedback on implementation experience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i="0">
                          <a:solidFill>
                            <a:schemeClr val="tx1"/>
                          </a:solidFill>
                        </a:rPr>
                        <a:t>Requires a lot of attention and manual work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i="0">
                          <a:solidFill>
                            <a:schemeClr val="tx1"/>
                          </a:solidFill>
                        </a:rPr>
                        <a:t>Requires a lot of attention and manual work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076326"/>
                  </a:ext>
                </a:extLst>
              </a:tr>
              <a:tr h="304353">
                <a:tc>
                  <a:txBody>
                    <a:bodyPr/>
                    <a:lstStyle/>
                    <a:p>
                      <a:pPr marL="0" indent="0">
                        <a:spcBef>
                          <a:spcPts val="600"/>
                        </a:spcBef>
                        <a:buFontTx/>
                        <a:buNone/>
                      </a:pPr>
                      <a:r>
                        <a:rPr lang="en-US" sz="800" b="0"/>
                        <a:t>Accuracy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buFontTx/>
                        <a:buNone/>
                      </a:pPr>
                      <a:r>
                        <a:rPr lang="en-US" sz="800" i="0">
                          <a:solidFill>
                            <a:schemeClr val="bg1"/>
                          </a:solidFill>
                        </a:rPr>
                        <a:t>~97% accuracy, including new invoices</a:t>
                      </a:r>
                    </a:p>
                  </a:txBody>
                  <a:tcPr marL="45720" marR="4572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buFontTx/>
                        <a:buNone/>
                      </a:pPr>
                      <a:r>
                        <a:rPr lang="en-US" sz="800" i="0">
                          <a:solidFill>
                            <a:srgbClr val="FFFFFF"/>
                          </a:solidFill>
                        </a:rPr>
                        <a:t>Over 90% accuracy 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en-US" sz="800" i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800" i="0">
                          <a:solidFill>
                            <a:schemeClr val="tx1"/>
                          </a:solidFill>
                        </a:rPr>
                        <a:t>Employees manually check invoice capture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i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3105127"/>
                  </a:ext>
                </a:extLst>
              </a:tr>
              <a:tr h="304353">
                <a:tc>
                  <a:txBody>
                    <a:bodyPr/>
                    <a:lstStyle/>
                    <a:p>
                      <a:pPr marL="0" indent="0">
                        <a:spcBef>
                          <a:spcPts val="600"/>
                        </a:spcBef>
                        <a:buFontTx/>
                        <a:buNone/>
                      </a:pPr>
                      <a:r>
                        <a:rPr lang="en-US" sz="800" b="0"/>
                        <a:t>Scalability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i="0">
                          <a:solidFill>
                            <a:schemeClr val="bg1"/>
                          </a:solidFill>
                        </a:rPr>
                        <a:t>Ability to digest high/ fluctuating invoice volume</a:t>
                      </a:r>
                    </a:p>
                  </a:txBody>
                  <a:tcPr marL="45720" marR="4572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i="0">
                          <a:solidFill>
                            <a:schemeClr val="bg1"/>
                          </a:solidFill>
                        </a:rPr>
                        <a:t>Ability to digest high/ fluctuating invoice volume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i="0">
                          <a:solidFill>
                            <a:schemeClr val="bg1"/>
                          </a:solidFill>
                        </a:rPr>
                        <a:t>Scalable with increase in payments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800" i="0">
                          <a:solidFill>
                            <a:srgbClr val="FFFFFF"/>
                          </a:solidFill>
                        </a:rPr>
                        <a:t>Large solution; scalable with growth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i="0"/>
                        <a:t>Limited scalability; built for SMBs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3522591"/>
                  </a:ext>
                </a:extLst>
              </a:tr>
              <a:tr h="320073">
                <a:tc>
                  <a:txBody>
                    <a:bodyPr/>
                    <a:lstStyle/>
                    <a:p>
                      <a:pPr marL="0" indent="0">
                        <a:spcBef>
                          <a:spcPts val="600"/>
                        </a:spcBef>
                        <a:buFontTx/>
                        <a:buNone/>
                      </a:pPr>
                      <a:r>
                        <a:rPr lang="en-US" sz="800" b="0"/>
                        <a:t>Flexibility and customizability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buFontTx/>
                        <a:buNone/>
                      </a:pPr>
                      <a:r>
                        <a:rPr lang="en-US" sz="800" i="0">
                          <a:solidFill>
                            <a:srgbClr val="000000"/>
                          </a:solidFill>
                        </a:rPr>
                        <a:t>Relatively flexible, but will require additional implementation time</a:t>
                      </a:r>
                    </a:p>
                  </a:txBody>
                  <a:tcPr marL="45720" marR="4572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i="0">
                          <a:solidFill>
                            <a:srgbClr val="000000"/>
                          </a:solidFill>
                        </a:rPr>
                        <a:t>Relatively flexible, but will require additional implementation time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buFontTx/>
                        <a:buNone/>
                      </a:pPr>
                      <a:r>
                        <a:rPr lang="en-US" sz="800" i="0">
                          <a:solidFill>
                            <a:schemeClr val="tx1"/>
                          </a:solidFill>
                        </a:rPr>
                        <a:t>Limited flexibility for complex use cases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buFontTx/>
                        <a:buNone/>
                      </a:pPr>
                      <a:r>
                        <a:rPr lang="en-US" sz="800" i="0">
                          <a:solidFill>
                            <a:schemeClr val="tx1"/>
                          </a:solidFill>
                        </a:rPr>
                        <a:t>Limited flexibility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i="0">
                          <a:solidFill>
                            <a:schemeClr val="bg1"/>
                          </a:solidFill>
                        </a:rPr>
                        <a:t>Flexibility for rules and approval flow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8306164"/>
                  </a:ext>
                </a:extLst>
              </a:tr>
              <a:tr h="304353">
                <a:tc>
                  <a:txBody>
                    <a:bodyPr/>
                    <a:lstStyle/>
                    <a:p>
                      <a:pPr marL="0" indent="0">
                        <a:spcBef>
                          <a:spcPts val="600"/>
                        </a:spcBef>
                        <a:buFontTx/>
                        <a:buNone/>
                      </a:pPr>
                      <a:r>
                        <a:rPr lang="en-US" sz="800" b="0"/>
                        <a:t>Customer support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i="0">
                          <a:solidFill>
                            <a:schemeClr val="bg1"/>
                          </a:solidFill>
                        </a:rPr>
                        <a:t>Strong customer support for implementation and after</a:t>
                      </a:r>
                    </a:p>
                  </a:txBody>
                  <a:tcPr marL="45720" marR="4572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buFontTx/>
                        <a:buNone/>
                      </a:pPr>
                      <a:r>
                        <a:rPr lang="en-US" sz="800" i="0">
                          <a:solidFill>
                            <a:srgbClr val="FFFFFF"/>
                          </a:solidFill>
                        </a:rPr>
                        <a:t>Strong &amp; responsive customer support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i="0">
                          <a:solidFill>
                            <a:schemeClr val="bg1"/>
                          </a:solidFill>
                        </a:rPr>
                        <a:t>Actively reach out to customers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buFontTx/>
                        <a:buNone/>
                      </a:pPr>
                      <a:r>
                        <a:rPr lang="en-US" sz="800" i="0">
                          <a:solidFill>
                            <a:schemeClr val="tx1"/>
                          </a:solidFill>
                        </a:rPr>
                        <a:t>Not quick in responding and resolving issues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800" i="0">
                          <a:solidFill>
                            <a:schemeClr val="tx1"/>
                          </a:solidFill>
                        </a:rPr>
                        <a:t>Limited customer support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0565182"/>
                  </a:ext>
                </a:extLst>
              </a:tr>
              <a:tr h="193679">
                <a:tc>
                  <a:txBody>
                    <a:bodyPr/>
                    <a:lstStyle/>
                    <a:p>
                      <a:pPr marL="0" indent="0">
                        <a:spcBef>
                          <a:spcPts val="600"/>
                        </a:spcBef>
                        <a:buFontTx/>
                        <a:buNone/>
                      </a:pPr>
                      <a:r>
                        <a:rPr lang="en-US" sz="800" b="0"/>
                        <a:t>Rule-based automation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i="0">
                          <a:solidFill>
                            <a:schemeClr val="tx1"/>
                          </a:solidFill>
                        </a:rPr>
                        <a:t>AI-driven</a:t>
                      </a:r>
                    </a:p>
                  </a:txBody>
                  <a:tcPr marL="45720" marR="4572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800" i="0">
                          <a:solidFill>
                            <a:schemeClr val="tx1"/>
                          </a:solidFill>
                        </a:rPr>
                        <a:t>AI-driven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800" i="0">
                          <a:solidFill>
                            <a:srgbClr val="FFFFFF"/>
                          </a:solidFill>
                        </a:rPr>
                        <a:t>RPA based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800" i="0">
                          <a:solidFill>
                            <a:srgbClr val="FFFFFF"/>
                          </a:solidFill>
                        </a:rPr>
                        <a:t>RPA based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i="0">
                          <a:solidFill>
                            <a:srgbClr val="FFFFFF"/>
                          </a:solidFill>
                        </a:rPr>
                        <a:t>RPA based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6235871"/>
                  </a:ext>
                </a:extLst>
              </a:tr>
              <a:tr h="193679">
                <a:tc>
                  <a:txBody>
                    <a:bodyPr/>
                    <a:lstStyle/>
                    <a:p>
                      <a:pPr marL="0" indent="0">
                        <a:spcBef>
                          <a:spcPts val="600"/>
                        </a:spcBef>
                        <a:buFontTx/>
                        <a:buNone/>
                      </a:pPr>
                      <a:r>
                        <a:rPr lang="en-US" sz="800" b="0"/>
                        <a:t>AI-based automation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buFontTx/>
                        <a:buNone/>
                      </a:pPr>
                      <a:r>
                        <a:rPr lang="en-US" sz="800" i="0">
                          <a:solidFill>
                            <a:schemeClr val="bg1"/>
                          </a:solidFill>
                        </a:rPr>
                        <a:t>Best-of-class AI functionality</a:t>
                      </a:r>
                    </a:p>
                  </a:txBody>
                  <a:tcPr marL="45720" marR="4572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buFontTx/>
                        <a:buNone/>
                      </a:pPr>
                      <a:r>
                        <a:rPr lang="en-US" sz="800" i="0">
                          <a:solidFill>
                            <a:srgbClr val="FFFFFF"/>
                          </a:solidFill>
                        </a:rPr>
                        <a:t>AI first automation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buFontTx/>
                        <a:buNone/>
                      </a:pPr>
                      <a:r>
                        <a:rPr lang="en-US" sz="800" i="0">
                          <a:solidFill>
                            <a:srgbClr val="000000"/>
                          </a:solidFill>
                        </a:rPr>
                        <a:t>RPA based with AI 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buFontTx/>
                        <a:buNone/>
                      </a:pPr>
                      <a:r>
                        <a:rPr lang="en-US" sz="800" i="0">
                          <a:solidFill>
                            <a:schemeClr val="tx1"/>
                          </a:solidFill>
                        </a:rPr>
                        <a:t>RPA based with AI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i="0">
                          <a:solidFill>
                            <a:schemeClr val="tx1"/>
                          </a:solidFill>
                        </a:rPr>
                        <a:t>RPA based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9690861"/>
                  </a:ext>
                </a:extLst>
              </a:tr>
              <a:tr h="232780">
                <a:tc>
                  <a:txBody>
                    <a:bodyPr/>
                    <a:lstStyle/>
                    <a:p>
                      <a:pPr marL="0" indent="0">
                        <a:spcBef>
                          <a:spcPts val="600"/>
                        </a:spcBef>
                        <a:buFontTx/>
                        <a:buNone/>
                      </a:pPr>
                      <a:r>
                        <a:rPr lang="en-US" sz="800" b="0"/>
                        <a:t>Brand reputation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i="0"/>
                        <a:t>Still building reputation as a startup</a:t>
                      </a:r>
                    </a:p>
                  </a:txBody>
                  <a:tcPr marL="45720" marR="4572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800" i="0">
                          <a:solidFill>
                            <a:srgbClr val="FFFFFF"/>
                          </a:solidFill>
                        </a:rPr>
                        <a:t>Known for strong AI</a:t>
                      </a:r>
                    </a:p>
                  </a:txBody>
                  <a:tcPr marL="27432" marR="2743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800" i="0">
                          <a:solidFill>
                            <a:schemeClr val="bg1"/>
                          </a:solidFill>
                        </a:rPr>
                        <a:t>Best in class payments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800" i="0">
                          <a:solidFill>
                            <a:schemeClr val="tx1"/>
                          </a:solidFill>
                        </a:rPr>
                        <a:t>Known for strong RE use cases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buFontTx/>
                        <a:buNone/>
                      </a:pPr>
                      <a:r>
                        <a:rPr lang="en-US" sz="800" i="0">
                          <a:solidFill>
                            <a:schemeClr val="bg1"/>
                          </a:solidFill>
                        </a:rPr>
                        <a:t>Seen as industry standard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3786508"/>
                  </a:ext>
                </a:extLst>
              </a:tr>
              <a:tr h="304353">
                <a:tc>
                  <a:txBody>
                    <a:bodyPr/>
                    <a:lstStyle/>
                    <a:p>
                      <a:pPr marL="0" indent="0">
                        <a:spcBef>
                          <a:spcPts val="600"/>
                        </a:spcBef>
                        <a:buFontTx/>
                        <a:buNone/>
                      </a:pPr>
                      <a:r>
                        <a:rPr lang="en-US" sz="800" b="0"/>
                        <a:t>Tax compliance</a:t>
                      </a:r>
                    </a:p>
                  </a:txBody>
                  <a:tcPr marL="45720" marR="45720" anchor="ctr"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buFontTx/>
                        <a:buNone/>
                      </a:pPr>
                      <a:r>
                        <a:rPr lang="en-US" sz="800" i="0"/>
                        <a:t>No specific modules for tax/audit compliance</a:t>
                      </a:r>
                    </a:p>
                  </a:txBody>
                  <a:tcPr marL="45720" marR="4572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800" i="0">
                          <a:solidFill>
                            <a:srgbClr val="FFFFFF"/>
                          </a:solidFill>
                        </a:rPr>
                        <a:t>Offers VAT compliance checks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i="0">
                          <a:solidFill>
                            <a:schemeClr val="tx1"/>
                          </a:solidFill>
                        </a:rPr>
                        <a:t>Functions to prepare tax reports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i="0">
                        <a:solidFill>
                          <a:srgbClr val="FFFFFF"/>
                        </a:solidFill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i="0">
                        <a:solidFill>
                          <a:srgbClr val="000000"/>
                        </a:solidFill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7637547"/>
                  </a:ext>
                </a:extLst>
              </a:tr>
              <a:tr h="320073">
                <a:tc>
                  <a:txBody>
                    <a:bodyPr/>
                    <a:lstStyle/>
                    <a:p>
                      <a:pPr marL="0" indent="0">
                        <a:spcBef>
                          <a:spcPts val="600"/>
                        </a:spcBef>
                        <a:buFontTx/>
                        <a:buNone/>
                      </a:pPr>
                      <a:r>
                        <a:rPr lang="en-US" sz="800" b="0"/>
                        <a:t>Robust dashboards</a:t>
                      </a:r>
                    </a:p>
                  </a:txBody>
                  <a:tcPr marL="45720" marR="45720" anchor="ctr"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buFontTx/>
                        <a:buNone/>
                      </a:pPr>
                      <a:r>
                        <a:rPr lang="en-US" sz="800" i="0">
                          <a:solidFill>
                            <a:schemeClr val="bg1"/>
                          </a:solidFill>
                        </a:rPr>
                        <a:t>Strong reporting and analytics</a:t>
                      </a:r>
                    </a:p>
                  </a:txBody>
                  <a:tcPr marL="45720" marR="4572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buFontTx/>
                        <a:buNone/>
                      </a:pPr>
                      <a:r>
                        <a:rPr lang="en-US" sz="800" i="0">
                          <a:solidFill>
                            <a:schemeClr val="tx1"/>
                          </a:solidFill>
                        </a:rPr>
                        <a:t>Graph viewer needs further updates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i="0">
                          <a:solidFill>
                            <a:srgbClr val="FFFFFF"/>
                          </a:solidFill>
                        </a:rPr>
                        <a:t>Robust analytics and reports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i="0">
                          <a:solidFill>
                            <a:schemeClr val="tx1"/>
                          </a:solidFill>
                        </a:rPr>
                        <a:t>Shows all invoice statuses on dashboard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i="0">
                          <a:solidFill>
                            <a:schemeClr val="bg1"/>
                          </a:solidFill>
                        </a:rPr>
                        <a:t>Easy to use dashboard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84572413"/>
                  </a:ext>
                </a:extLst>
              </a:tr>
              <a:tr h="304353">
                <a:tc>
                  <a:txBody>
                    <a:bodyPr/>
                    <a:lstStyle/>
                    <a:p>
                      <a:pPr marL="0" indent="0">
                        <a:spcBef>
                          <a:spcPts val="600"/>
                        </a:spcBef>
                        <a:buFontTx/>
                        <a:buNone/>
                      </a:pPr>
                      <a:r>
                        <a:rPr lang="en-US" sz="800" b="0"/>
                        <a:t>Model training time</a:t>
                      </a:r>
                    </a:p>
                  </a:txBody>
                  <a:tcPr marL="45720" marR="45720" anchor="ctr"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buFontTx/>
                        <a:buNone/>
                      </a:pPr>
                      <a:r>
                        <a:rPr lang="en-US" sz="800" i="0">
                          <a:solidFill>
                            <a:schemeClr val="tx1"/>
                          </a:solidFill>
                        </a:rPr>
                        <a:t>~6-9 mo. to train against data set working towards touchless</a:t>
                      </a:r>
                    </a:p>
                  </a:txBody>
                  <a:tcPr marL="45720" marR="4572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buFontTx/>
                        <a:buNone/>
                      </a:pPr>
                      <a:r>
                        <a:rPr lang="en-US" sz="800" i="0">
                          <a:solidFill>
                            <a:schemeClr val="tx1"/>
                          </a:solidFill>
                        </a:rPr>
                        <a:t>Goal of 50% touchless day 1; 80% touchless at ~6-9 mo.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i="0">
                          <a:solidFill>
                            <a:schemeClr val="tx1"/>
                          </a:solidFill>
                        </a:rPr>
                        <a:t>Limited info on AI models (if any)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Limited info on AI models (if any)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Limited info on AI models (if any)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3288866"/>
                  </a:ext>
                </a:extLst>
              </a:tr>
              <a:tr h="232780">
                <a:tc>
                  <a:txBody>
                    <a:bodyPr/>
                    <a:lstStyle/>
                    <a:p>
                      <a:pPr marL="0" indent="0">
                        <a:spcBef>
                          <a:spcPts val="600"/>
                        </a:spcBef>
                        <a:buFontTx/>
                        <a:buNone/>
                      </a:pPr>
                      <a:r>
                        <a:rPr lang="en-US" sz="800" b="0"/>
                        <a:t>Access and permission controls</a:t>
                      </a:r>
                    </a:p>
                  </a:txBody>
                  <a:tcPr marL="45720" marR="45720" anchor="ctr"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buFontTx/>
                        <a:buNone/>
                      </a:pPr>
                      <a:r>
                        <a:rPr lang="en-US" sz="800" i="0">
                          <a:solidFill>
                            <a:schemeClr val="bg1"/>
                          </a:solidFill>
                        </a:rPr>
                        <a:t>Easy to grant permissions</a:t>
                      </a:r>
                    </a:p>
                  </a:txBody>
                  <a:tcPr marL="45720" marR="4572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en-US" sz="800" i="0">
                        <a:solidFill>
                          <a:srgbClr val="FFFFFF"/>
                        </a:solidFill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i="0">
                          <a:solidFill>
                            <a:srgbClr val="FFFFFF"/>
                          </a:solidFill>
                        </a:rPr>
                        <a:t>Easy access to invoices across teams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i="0">
                          <a:solidFill>
                            <a:srgbClr val="FFFFFF"/>
                          </a:solidFill>
                        </a:rPr>
                        <a:t>Easy access to invoices across teams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i="0">
                          <a:solidFill>
                            <a:srgbClr val="FFFFFF"/>
                          </a:solidFill>
                        </a:rPr>
                        <a:t>Easy access to invoices across teams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0729797"/>
                  </a:ext>
                </a:extLst>
              </a:tr>
              <a:tr h="304353">
                <a:tc>
                  <a:txBody>
                    <a:bodyPr/>
                    <a:lstStyle/>
                    <a:p>
                      <a:pPr marL="0" indent="0">
                        <a:spcBef>
                          <a:spcPts val="600"/>
                        </a:spcBef>
                        <a:buFontTx/>
                        <a:buNone/>
                      </a:pPr>
                      <a:r>
                        <a:rPr lang="en-US" sz="800" b="0"/>
                        <a:t>Currencies / language compatibility</a:t>
                      </a:r>
                    </a:p>
                  </a:txBody>
                  <a:tcPr marL="45720" marR="45720" anchor="ctr"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buFontTx/>
                        <a:buNone/>
                      </a:pPr>
                      <a:r>
                        <a:rPr lang="en-US" sz="800" i="0"/>
                        <a:t>AI can digest international formatting on invoices</a:t>
                      </a:r>
                    </a:p>
                  </a:txBody>
                  <a:tcPr marL="45720" marR="4572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buFontTx/>
                        <a:buNone/>
                      </a:pPr>
                      <a:r>
                        <a:rPr lang="en-US" sz="800" i="0">
                          <a:solidFill>
                            <a:schemeClr val="tx1"/>
                          </a:solidFill>
                        </a:rPr>
                        <a:t>Based in USD, has difficulty processing other currencies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i="0">
                          <a:solidFill>
                            <a:srgbClr val="FFFFFF"/>
                          </a:solidFill>
                        </a:rPr>
                        <a:t>Handles multiple currencies and POs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o multi-currency support</a:t>
                      </a:r>
                    </a:p>
                  </a:txBody>
                  <a:tcPr marL="5137" marR="5137" marT="5137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8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bility to pay international vendors</a:t>
                      </a:r>
                    </a:p>
                  </a:txBody>
                  <a:tcPr marL="5137" marR="5137" marT="5137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5906213"/>
                  </a:ext>
                </a:extLst>
              </a:tr>
            </a:tbl>
          </a:graphicData>
        </a:graphic>
      </p:graphicFrame>
      <p:sp>
        <p:nvSpPr>
          <p:cNvPr id="17" name="btfpNotesBox309963">
            <a:extLst>
              <a:ext uri="{FF2B5EF4-FFF2-40B4-BE49-F238E27FC236}">
                <a16:creationId xmlns:a16="http://schemas.microsoft.com/office/drawing/2014/main" id="{EAD669D4-79D8-0A2C-6A17-9CF017FE5CF1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330199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endParaRPr lang="en-US" sz="800" dirty="0">
              <a:solidFill>
                <a:srgbClr val="000000"/>
              </a:solidFill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Source: Project target survey (N=209); Industry participant interviews 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3855D626-1048-09D3-8FB3-8CFCC5C2542A}"/>
              </a:ext>
            </a:extLst>
          </p:cNvPr>
          <p:cNvCxnSpPr>
            <a:cxnSpLocks/>
          </p:cNvCxnSpPr>
          <p:nvPr/>
        </p:nvCxnSpPr>
        <p:spPr bwMode="gray">
          <a:xfrm flipV="1">
            <a:off x="580678" y="1552417"/>
            <a:ext cx="0" cy="4750848"/>
          </a:xfrm>
          <a:prstGeom prst="straightConnector1">
            <a:avLst/>
          </a:prstGeom>
          <a:ln w="9525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200DF56D-3FE4-E3D4-DDB6-0F82221FD91F}"/>
              </a:ext>
            </a:extLst>
          </p:cNvPr>
          <p:cNvSpPr txBox="1"/>
          <p:nvPr/>
        </p:nvSpPr>
        <p:spPr bwMode="gray">
          <a:xfrm rot="16200000">
            <a:off x="-902668" y="2809172"/>
            <a:ext cx="2740100" cy="226591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0" i="1"/>
              <a:t>Increasing importance for enterprise customers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76F75270-7E46-EF5F-97B0-B61C9AD6662E}"/>
              </a:ext>
            </a:extLst>
          </p:cNvPr>
          <p:cNvSpPr txBox="1"/>
          <p:nvPr/>
        </p:nvSpPr>
        <p:spPr bwMode="gray">
          <a:xfrm rot="3048423">
            <a:off x="11431924" y="190878"/>
            <a:ext cx="914400" cy="257369"/>
          </a:xfrm>
          <a:prstGeom prst="rect">
            <a:avLst/>
          </a:prstGeom>
          <a:solidFill>
            <a:srgbClr val="CC0000"/>
          </a:solidFill>
        </p:spPr>
        <p:txBody>
          <a:bodyPr wrap="square" lIns="36000" tIns="36000" rIns="36000" bIns="36000" rtlCol="0">
            <a:spAutoFit/>
          </a:bodyPr>
          <a:lstStyle/>
          <a:p>
            <a:pPr marL="0" indent="0" algn="ctr">
              <a:buNone/>
            </a:pPr>
            <a:r>
              <a:rPr lang="en-US" sz="1200">
                <a:solidFill>
                  <a:srgbClr val="FFFFFF"/>
                </a:solidFill>
              </a:rPr>
              <a:t>SAMPLE</a:t>
            </a:r>
          </a:p>
        </p:txBody>
      </p:sp>
      <p:grpSp>
        <p:nvGrpSpPr>
          <p:cNvPr id="3" name="btfpRunningAgenda1Level413969">
            <a:extLst>
              <a:ext uri="{FF2B5EF4-FFF2-40B4-BE49-F238E27FC236}">
                <a16:creationId xmlns:a16="http://schemas.microsoft.com/office/drawing/2014/main" id="{9657F31C-CF10-555E-BC1C-7FC88D6A3280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0" y="944429"/>
            <a:ext cx="4426176" cy="257442"/>
            <a:chOff x="0" y="876300"/>
            <a:chExt cx="4426176" cy="257442"/>
          </a:xfrm>
        </p:grpSpPr>
        <p:sp>
          <p:nvSpPr>
            <p:cNvPr id="4" name="btfpRunningAgenda1LevelBarLeft413969">
              <a:extLst>
                <a:ext uri="{FF2B5EF4-FFF2-40B4-BE49-F238E27FC236}">
                  <a16:creationId xmlns:a16="http://schemas.microsoft.com/office/drawing/2014/main" id="{91368FC0-E971-6CDB-27DC-6F1527DE7754}"/>
                </a:ext>
              </a:extLst>
            </p:cNvPr>
            <p:cNvSpPr/>
            <p:nvPr/>
          </p:nvSpPr>
          <p:spPr bwMode="gray">
            <a:xfrm>
              <a:off x="0" y="876300"/>
              <a:ext cx="4426176" cy="257442"/>
            </a:xfrm>
            <a:custGeom>
              <a:avLst/>
              <a:gdLst>
                <a:gd name="connsiteX0" fmla="*/ 950801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50801 w 1816204"/>
                <a:gd name="connsiteY0" fmla="*/ 0 h 257442"/>
                <a:gd name="connsiteX1" fmla="*/ 896081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1 w 950800"/>
                <a:gd name="connsiteY3" fmla="*/ 0 h 257442"/>
                <a:gd name="connsiteX0" fmla="*/ 1119116 w 1119116"/>
                <a:gd name="connsiteY0" fmla="*/ 0 h 257442"/>
                <a:gd name="connsiteX1" fmla="*/ 896080 w 1119116"/>
                <a:gd name="connsiteY1" fmla="*/ 257442 h 257442"/>
                <a:gd name="connsiteX2" fmla="*/ 0 w 1119116"/>
                <a:gd name="connsiteY2" fmla="*/ 257442 h 257442"/>
                <a:gd name="connsiteX3" fmla="*/ 1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1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1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420289 w 1420289"/>
                <a:gd name="connsiteY0" fmla="*/ 0 h 257442"/>
                <a:gd name="connsiteX1" fmla="*/ 1064395 w 1420289"/>
                <a:gd name="connsiteY1" fmla="*/ 257442 h 257442"/>
                <a:gd name="connsiteX2" fmla="*/ 0 w 1420289"/>
                <a:gd name="connsiteY2" fmla="*/ 257442 h 257442"/>
                <a:gd name="connsiteX3" fmla="*/ 0 w 1420289"/>
                <a:gd name="connsiteY3" fmla="*/ 0 h 257442"/>
                <a:gd name="connsiteX0" fmla="*/ 1420289 w 1420289"/>
                <a:gd name="connsiteY0" fmla="*/ 0 h 257442"/>
                <a:gd name="connsiteX1" fmla="*/ 1365568 w 1420289"/>
                <a:gd name="connsiteY1" fmla="*/ 257442 h 257442"/>
                <a:gd name="connsiteX2" fmla="*/ 0 w 1420289"/>
                <a:gd name="connsiteY2" fmla="*/ 257442 h 257442"/>
                <a:gd name="connsiteX3" fmla="*/ 0 w 1420289"/>
                <a:gd name="connsiteY3" fmla="*/ 0 h 257442"/>
                <a:gd name="connsiteX0" fmla="*/ 1420289 w 1420289"/>
                <a:gd name="connsiteY0" fmla="*/ 0 h 257442"/>
                <a:gd name="connsiteX1" fmla="*/ 1365568 w 1420289"/>
                <a:gd name="connsiteY1" fmla="*/ 257442 h 257442"/>
                <a:gd name="connsiteX2" fmla="*/ 0 w 1420289"/>
                <a:gd name="connsiteY2" fmla="*/ 257442 h 257442"/>
                <a:gd name="connsiteX3" fmla="*/ 0 w 1420289"/>
                <a:gd name="connsiteY3" fmla="*/ 0 h 257442"/>
                <a:gd name="connsiteX0" fmla="*/ 1420289 w 1420289"/>
                <a:gd name="connsiteY0" fmla="*/ 0 h 257442"/>
                <a:gd name="connsiteX1" fmla="*/ 1365568 w 1420289"/>
                <a:gd name="connsiteY1" fmla="*/ 257442 h 257442"/>
                <a:gd name="connsiteX2" fmla="*/ 0 w 1420289"/>
                <a:gd name="connsiteY2" fmla="*/ 257442 h 257442"/>
                <a:gd name="connsiteX3" fmla="*/ 0 w 1420289"/>
                <a:gd name="connsiteY3" fmla="*/ 0 h 257442"/>
                <a:gd name="connsiteX0" fmla="*/ 1598221 w 1598221"/>
                <a:gd name="connsiteY0" fmla="*/ 0 h 257442"/>
                <a:gd name="connsiteX1" fmla="*/ 1365568 w 1598221"/>
                <a:gd name="connsiteY1" fmla="*/ 257442 h 257442"/>
                <a:gd name="connsiteX2" fmla="*/ 0 w 1598221"/>
                <a:gd name="connsiteY2" fmla="*/ 257442 h 257442"/>
                <a:gd name="connsiteX3" fmla="*/ 0 w 1598221"/>
                <a:gd name="connsiteY3" fmla="*/ 0 h 257442"/>
                <a:gd name="connsiteX0" fmla="*/ 1598221 w 1598221"/>
                <a:gd name="connsiteY0" fmla="*/ 0 h 257442"/>
                <a:gd name="connsiteX1" fmla="*/ 1543500 w 1598221"/>
                <a:gd name="connsiteY1" fmla="*/ 257442 h 257442"/>
                <a:gd name="connsiteX2" fmla="*/ 0 w 1598221"/>
                <a:gd name="connsiteY2" fmla="*/ 257442 h 257442"/>
                <a:gd name="connsiteX3" fmla="*/ 0 w 1598221"/>
                <a:gd name="connsiteY3" fmla="*/ 0 h 257442"/>
                <a:gd name="connsiteX0" fmla="*/ 1598221 w 1598221"/>
                <a:gd name="connsiteY0" fmla="*/ 0 h 257442"/>
                <a:gd name="connsiteX1" fmla="*/ 1543500 w 1598221"/>
                <a:gd name="connsiteY1" fmla="*/ 257442 h 257442"/>
                <a:gd name="connsiteX2" fmla="*/ 0 w 1598221"/>
                <a:gd name="connsiteY2" fmla="*/ 257442 h 257442"/>
                <a:gd name="connsiteX3" fmla="*/ 0 w 1598221"/>
                <a:gd name="connsiteY3" fmla="*/ 0 h 257442"/>
                <a:gd name="connsiteX0" fmla="*/ 1598221 w 1598221"/>
                <a:gd name="connsiteY0" fmla="*/ 0 h 257442"/>
                <a:gd name="connsiteX1" fmla="*/ 1543500 w 1598221"/>
                <a:gd name="connsiteY1" fmla="*/ 257442 h 257442"/>
                <a:gd name="connsiteX2" fmla="*/ 0 w 1598221"/>
                <a:gd name="connsiteY2" fmla="*/ 257442 h 257442"/>
                <a:gd name="connsiteX3" fmla="*/ 0 w 1598221"/>
                <a:gd name="connsiteY3" fmla="*/ 0 h 257442"/>
                <a:gd name="connsiteX0" fmla="*/ 1776155 w 1776155"/>
                <a:gd name="connsiteY0" fmla="*/ 0 h 257442"/>
                <a:gd name="connsiteX1" fmla="*/ 1543500 w 1776155"/>
                <a:gd name="connsiteY1" fmla="*/ 257442 h 257442"/>
                <a:gd name="connsiteX2" fmla="*/ 0 w 1776155"/>
                <a:gd name="connsiteY2" fmla="*/ 257442 h 257442"/>
                <a:gd name="connsiteX3" fmla="*/ 0 w 1776155"/>
                <a:gd name="connsiteY3" fmla="*/ 0 h 257442"/>
                <a:gd name="connsiteX0" fmla="*/ 1776155 w 1776155"/>
                <a:gd name="connsiteY0" fmla="*/ 0 h 257442"/>
                <a:gd name="connsiteX1" fmla="*/ 1721434 w 1776155"/>
                <a:gd name="connsiteY1" fmla="*/ 257442 h 257442"/>
                <a:gd name="connsiteX2" fmla="*/ 0 w 1776155"/>
                <a:gd name="connsiteY2" fmla="*/ 257442 h 257442"/>
                <a:gd name="connsiteX3" fmla="*/ 0 w 1776155"/>
                <a:gd name="connsiteY3" fmla="*/ 0 h 257442"/>
                <a:gd name="connsiteX0" fmla="*/ 1776155 w 1776155"/>
                <a:gd name="connsiteY0" fmla="*/ 0 h 257442"/>
                <a:gd name="connsiteX1" fmla="*/ 1721434 w 1776155"/>
                <a:gd name="connsiteY1" fmla="*/ 257442 h 257442"/>
                <a:gd name="connsiteX2" fmla="*/ 0 w 1776155"/>
                <a:gd name="connsiteY2" fmla="*/ 257442 h 257442"/>
                <a:gd name="connsiteX3" fmla="*/ 0 w 1776155"/>
                <a:gd name="connsiteY3" fmla="*/ 0 h 257442"/>
                <a:gd name="connsiteX0" fmla="*/ 1776155 w 1776155"/>
                <a:gd name="connsiteY0" fmla="*/ 0 h 257442"/>
                <a:gd name="connsiteX1" fmla="*/ 1721434 w 1776155"/>
                <a:gd name="connsiteY1" fmla="*/ 257442 h 257442"/>
                <a:gd name="connsiteX2" fmla="*/ 0 w 1776155"/>
                <a:gd name="connsiteY2" fmla="*/ 257442 h 257442"/>
                <a:gd name="connsiteX3" fmla="*/ 0 w 1776155"/>
                <a:gd name="connsiteY3" fmla="*/ 0 h 257442"/>
                <a:gd name="connsiteX0" fmla="*/ 1944470 w 1944470"/>
                <a:gd name="connsiteY0" fmla="*/ 0 h 257442"/>
                <a:gd name="connsiteX1" fmla="*/ 1721434 w 1944470"/>
                <a:gd name="connsiteY1" fmla="*/ 257442 h 257442"/>
                <a:gd name="connsiteX2" fmla="*/ 0 w 1944470"/>
                <a:gd name="connsiteY2" fmla="*/ 257442 h 257442"/>
                <a:gd name="connsiteX3" fmla="*/ 0 w 1944470"/>
                <a:gd name="connsiteY3" fmla="*/ 0 h 257442"/>
                <a:gd name="connsiteX0" fmla="*/ 1944470 w 1944470"/>
                <a:gd name="connsiteY0" fmla="*/ 0 h 257442"/>
                <a:gd name="connsiteX1" fmla="*/ 1889748 w 1944470"/>
                <a:gd name="connsiteY1" fmla="*/ 257442 h 257442"/>
                <a:gd name="connsiteX2" fmla="*/ 0 w 1944470"/>
                <a:gd name="connsiteY2" fmla="*/ 257442 h 257442"/>
                <a:gd name="connsiteX3" fmla="*/ 0 w 1944470"/>
                <a:gd name="connsiteY3" fmla="*/ 0 h 257442"/>
                <a:gd name="connsiteX0" fmla="*/ 1944471 w 1944471"/>
                <a:gd name="connsiteY0" fmla="*/ 0 h 257442"/>
                <a:gd name="connsiteX1" fmla="*/ 1889749 w 1944471"/>
                <a:gd name="connsiteY1" fmla="*/ 257442 h 257442"/>
                <a:gd name="connsiteX2" fmla="*/ 0 w 1944471"/>
                <a:gd name="connsiteY2" fmla="*/ 257442 h 257442"/>
                <a:gd name="connsiteX3" fmla="*/ 1 w 1944471"/>
                <a:gd name="connsiteY3" fmla="*/ 0 h 257442"/>
                <a:gd name="connsiteX0" fmla="*/ 1944471 w 1944471"/>
                <a:gd name="connsiteY0" fmla="*/ 0 h 257442"/>
                <a:gd name="connsiteX1" fmla="*/ 1889749 w 1944471"/>
                <a:gd name="connsiteY1" fmla="*/ 257442 h 257442"/>
                <a:gd name="connsiteX2" fmla="*/ 0 w 1944471"/>
                <a:gd name="connsiteY2" fmla="*/ 257442 h 257442"/>
                <a:gd name="connsiteX3" fmla="*/ 1 w 1944471"/>
                <a:gd name="connsiteY3" fmla="*/ 0 h 257442"/>
                <a:gd name="connsiteX0" fmla="*/ 2205761 w 2205761"/>
                <a:gd name="connsiteY0" fmla="*/ 0 h 257442"/>
                <a:gd name="connsiteX1" fmla="*/ 1889749 w 2205761"/>
                <a:gd name="connsiteY1" fmla="*/ 257442 h 257442"/>
                <a:gd name="connsiteX2" fmla="*/ 0 w 2205761"/>
                <a:gd name="connsiteY2" fmla="*/ 257442 h 257442"/>
                <a:gd name="connsiteX3" fmla="*/ 1 w 2205761"/>
                <a:gd name="connsiteY3" fmla="*/ 0 h 257442"/>
                <a:gd name="connsiteX0" fmla="*/ 2205761 w 2205761"/>
                <a:gd name="connsiteY0" fmla="*/ 0 h 257442"/>
                <a:gd name="connsiteX1" fmla="*/ 2151040 w 2205761"/>
                <a:gd name="connsiteY1" fmla="*/ 257442 h 257442"/>
                <a:gd name="connsiteX2" fmla="*/ 0 w 2205761"/>
                <a:gd name="connsiteY2" fmla="*/ 257442 h 257442"/>
                <a:gd name="connsiteX3" fmla="*/ 1 w 2205761"/>
                <a:gd name="connsiteY3" fmla="*/ 0 h 257442"/>
                <a:gd name="connsiteX0" fmla="*/ 2205760 w 2205760"/>
                <a:gd name="connsiteY0" fmla="*/ 0 h 257442"/>
                <a:gd name="connsiteX1" fmla="*/ 2151039 w 2205760"/>
                <a:gd name="connsiteY1" fmla="*/ 257442 h 257442"/>
                <a:gd name="connsiteX2" fmla="*/ 0 w 2205760"/>
                <a:gd name="connsiteY2" fmla="*/ 257442 h 257442"/>
                <a:gd name="connsiteX3" fmla="*/ 0 w 2205760"/>
                <a:gd name="connsiteY3" fmla="*/ 0 h 257442"/>
                <a:gd name="connsiteX0" fmla="*/ 2205761 w 2205761"/>
                <a:gd name="connsiteY0" fmla="*/ 0 h 257442"/>
                <a:gd name="connsiteX1" fmla="*/ 2151040 w 2205761"/>
                <a:gd name="connsiteY1" fmla="*/ 257442 h 257442"/>
                <a:gd name="connsiteX2" fmla="*/ 1 w 2205761"/>
                <a:gd name="connsiteY2" fmla="*/ 257442 h 257442"/>
                <a:gd name="connsiteX3" fmla="*/ 0 w 2205761"/>
                <a:gd name="connsiteY3" fmla="*/ 0 h 257442"/>
                <a:gd name="connsiteX0" fmla="*/ 2366061 w 2366061"/>
                <a:gd name="connsiteY0" fmla="*/ 0 h 257442"/>
                <a:gd name="connsiteX1" fmla="*/ 2151040 w 2366061"/>
                <a:gd name="connsiteY1" fmla="*/ 257442 h 257442"/>
                <a:gd name="connsiteX2" fmla="*/ 1 w 2366061"/>
                <a:gd name="connsiteY2" fmla="*/ 257442 h 257442"/>
                <a:gd name="connsiteX3" fmla="*/ 0 w 2366061"/>
                <a:gd name="connsiteY3" fmla="*/ 0 h 257442"/>
                <a:gd name="connsiteX0" fmla="*/ 2366061 w 2366061"/>
                <a:gd name="connsiteY0" fmla="*/ 0 h 257442"/>
                <a:gd name="connsiteX1" fmla="*/ 2311340 w 2366061"/>
                <a:gd name="connsiteY1" fmla="*/ 257442 h 257442"/>
                <a:gd name="connsiteX2" fmla="*/ 1 w 2366061"/>
                <a:gd name="connsiteY2" fmla="*/ 257442 h 257442"/>
                <a:gd name="connsiteX3" fmla="*/ 0 w 2366061"/>
                <a:gd name="connsiteY3" fmla="*/ 0 h 257442"/>
                <a:gd name="connsiteX0" fmla="*/ 2366061 w 2366061"/>
                <a:gd name="connsiteY0" fmla="*/ 0 h 257442"/>
                <a:gd name="connsiteX1" fmla="*/ 2311340 w 2366061"/>
                <a:gd name="connsiteY1" fmla="*/ 257442 h 257442"/>
                <a:gd name="connsiteX2" fmla="*/ 1 w 2366061"/>
                <a:gd name="connsiteY2" fmla="*/ 257442 h 257442"/>
                <a:gd name="connsiteX3" fmla="*/ 0 w 2366061"/>
                <a:gd name="connsiteY3" fmla="*/ 0 h 257442"/>
                <a:gd name="connsiteX0" fmla="*/ 2366060 w 2366060"/>
                <a:gd name="connsiteY0" fmla="*/ 0 h 257442"/>
                <a:gd name="connsiteX1" fmla="*/ 2311339 w 2366060"/>
                <a:gd name="connsiteY1" fmla="*/ 257442 h 257442"/>
                <a:gd name="connsiteX2" fmla="*/ 0 w 2366060"/>
                <a:gd name="connsiteY2" fmla="*/ 257442 h 257442"/>
                <a:gd name="connsiteX3" fmla="*/ 0 w 2366060"/>
                <a:gd name="connsiteY3" fmla="*/ 0 h 257442"/>
                <a:gd name="connsiteX0" fmla="*/ 2205759 w 2311339"/>
                <a:gd name="connsiteY0" fmla="*/ 0 h 257442"/>
                <a:gd name="connsiteX1" fmla="*/ 2311339 w 2311339"/>
                <a:gd name="connsiteY1" fmla="*/ 257442 h 257442"/>
                <a:gd name="connsiteX2" fmla="*/ 0 w 2311339"/>
                <a:gd name="connsiteY2" fmla="*/ 257442 h 257442"/>
                <a:gd name="connsiteX3" fmla="*/ 0 w 2311339"/>
                <a:gd name="connsiteY3" fmla="*/ 0 h 257442"/>
                <a:gd name="connsiteX0" fmla="*/ 2205759 w 2205759"/>
                <a:gd name="connsiteY0" fmla="*/ 0 h 257442"/>
                <a:gd name="connsiteX1" fmla="*/ 2151039 w 2205759"/>
                <a:gd name="connsiteY1" fmla="*/ 257442 h 257442"/>
                <a:gd name="connsiteX2" fmla="*/ 0 w 2205759"/>
                <a:gd name="connsiteY2" fmla="*/ 257442 h 257442"/>
                <a:gd name="connsiteX3" fmla="*/ 0 w 2205759"/>
                <a:gd name="connsiteY3" fmla="*/ 0 h 257442"/>
                <a:gd name="connsiteX0" fmla="*/ 2205759 w 2205759"/>
                <a:gd name="connsiteY0" fmla="*/ 0 h 257442"/>
                <a:gd name="connsiteX1" fmla="*/ 2151039 w 2205759"/>
                <a:gd name="connsiteY1" fmla="*/ 257442 h 257442"/>
                <a:gd name="connsiteX2" fmla="*/ 0 w 2205759"/>
                <a:gd name="connsiteY2" fmla="*/ 257442 h 257442"/>
                <a:gd name="connsiteX3" fmla="*/ 0 w 2205759"/>
                <a:gd name="connsiteY3" fmla="*/ 0 h 257442"/>
                <a:gd name="connsiteX0" fmla="*/ 2205759 w 2205759"/>
                <a:gd name="connsiteY0" fmla="*/ 0 h 257442"/>
                <a:gd name="connsiteX1" fmla="*/ 2151039 w 2205759"/>
                <a:gd name="connsiteY1" fmla="*/ 257442 h 257442"/>
                <a:gd name="connsiteX2" fmla="*/ 0 w 2205759"/>
                <a:gd name="connsiteY2" fmla="*/ 257442 h 257442"/>
                <a:gd name="connsiteX3" fmla="*/ 0 w 2205759"/>
                <a:gd name="connsiteY3" fmla="*/ 0 h 257442"/>
                <a:gd name="connsiteX0" fmla="*/ 2045460 w 2151039"/>
                <a:gd name="connsiteY0" fmla="*/ 0 h 257442"/>
                <a:gd name="connsiteX1" fmla="*/ 2151039 w 2151039"/>
                <a:gd name="connsiteY1" fmla="*/ 257442 h 257442"/>
                <a:gd name="connsiteX2" fmla="*/ 0 w 2151039"/>
                <a:gd name="connsiteY2" fmla="*/ 257442 h 257442"/>
                <a:gd name="connsiteX3" fmla="*/ 0 w 2151039"/>
                <a:gd name="connsiteY3" fmla="*/ 0 h 257442"/>
                <a:gd name="connsiteX0" fmla="*/ 2045460 w 2045460"/>
                <a:gd name="connsiteY0" fmla="*/ 0 h 257442"/>
                <a:gd name="connsiteX1" fmla="*/ 1990739 w 2045460"/>
                <a:gd name="connsiteY1" fmla="*/ 257442 h 257442"/>
                <a:gd name="connsiteX2" fmla="*/ 0 w 2045460"/>
                <a:gd name="connsiteY2" fmla="*/ 257442 h 257442"/>
                <a:gd name="connsiteX3" fmla="*/ 0 w 2045460"/>
                <a:gd name="connsiteY3" fmla="*/ 0 h 257442"/>
                <a:gd name="connsiteX0" fmla="*/ 2045460 w 2045460"/>
                <a:gd name="connsiteY0" fmla="*/ 0 h 257442"/>
                <a:gd name="connsiteX1" fmla="*/ 1990739 w 2045460"/>
                <a:gd name="connsiteY1" fmla="*/ 257442 h 257442"/>
                <a:gd name="connsiteX2" fmla="*/ 0 w 2045460"/>
                <a:gd name="connsiteY2" fmla="*/ 257442 h 257442"/>
                <a:gd name="connsiteX3" fmla="*/ 0 w 2045460"/>
                <a:gd name="connsiteY3" fmla="*/ 0 h 257442"/>
                <a:gd name="connsiteX0" fmla="*/ 2045460 w 2045460"/>
                <a:gd name="connsiteY0" fmla="*/ 0 h 257442"/>
                <a:gd name="connsiteX1" fmla="*/ 1990739 w 2045460"/>
                <a:gd name="connsiteY1" fmla="*/ 257442 h 257442"/>
                <a:gd name="connsiteX2" fmla="*/ 0 w 2045460"/>
                <a:gd name="connsiteY2" fmla="*/ 257442 h 257442"/>
                <a:gd name="connsiteX3" fmla="*/ 0 w 2045460"/>
                <a:gd name="connsiteY3" fmla="*/ 0 h 257442"/>
                <a:gd name="connsiteX0" fmla="*/ 1944470 w 1990739"/>
                <a:gd name="connsiteY0" fmla="*/ 0 h 257442"/>
                <a:gd name="connsiteX1" fmla="*/ 1990739 w 1990739"/>
                <a:gd name="connsiteY1" fmla="*/ 257442 h 257442"/>
                <a:gd name="connsiteX2" fmla="*/ 0 w 1990739"/>
                <a:gd name="connsiteY2" fmla="*/ 257442 h 257442"/>
                <a:gd name="connsiteX3" fmla="*/ 0 w 1990739"/>
                <a:gd name="connsiteY3" fmla="*/ 0 h 257442"/>
                <a:gd name="connsiteX0" fmla="*/ 1944470 w 1944470"/>
                <a:gd name="connsiteY0" fmla="*/ 0 h 257442"/>
                <a:gd name="connsiteX1" fmla="*/ 1889750 w 1944470"/>
                <a:gd name="connsiteY1" fmla="*/ 257442 h 257442"/>
                <a:gd name="connsiteX2" fmla="*/ 0 w 1944470"/>
                <a:gd name="connsiteY2" fmla="*/ 257442 h 257442"/>
                <a:gd name="connsiteX3" fmla="*/ 0 w 1944470"/>
                <a:gd name="connsiteY3" fmla="*/ 0 h 257442"/>
                <a:gd name="connsiteX0" fmla="*/ 1944470 w 1944470"/>
                <a:gd name="connsiteY0" fmla="*/ 0 h 257442"/>
                <a:gd name="connsiteX1" fmla="*/ 1889750 w 1944470"/>
                <a:gd name="connsiteY1" fmla="*/ 257442 h 257442"/>
                <a:gd name="connsiteX2" fmla="*/ 1 w 1944470"/>
                <a:gd name="connsiteY2" fmla="*/ 257442 h 257442"/>
                <a:gd name="connsiteX3" fmla="*/ 0 w 1944470"/>
                <a:gd name="connsiteY3" fmla="*/ 0 h 257442"/>
                <a:gd name="connsiteX0" fmla="*/ 1944469 w 1944469"/>
                <a:gd name="connsiteY0" fmla="*/ 0 h 257442"/>
                <a:gd name="connsiteX1" fmla="*/ 1889749 w 1944469"/>
                <a:gd name="connsiteY1" fmla="*/ 257442 h 257442"/>
                <a:gd name="connsiteX2" fmla="*/ 0 w 1944469"/>
                <a:gd name="connsiteY2" fmla="*/ 257442 h 257442"/>
                <a:gd name="connsiteX3" fmla="*/ 0 w 1944469"/>
                <a:gd name="connsiteY3" fmla="*/ 0 h 257442"/>
                <a:gd name="connsiteX0" fmla="*/ 1776155 w 1889749"/>
                <a:gd name="connsiteY0" fmla="*/ 0 h 257442"/>
                <a:gd name="connsiteX1" fmla="*/ 1889749 w 1889749"/>
                <a:gd name="connsiteY1" fmla="*/ 257442 h 257442"/>
                <a:gd name="connsiteX2" fmla="*/ 0 w 1889749"/>
                <a:gd name="connsiteY2" fmla="*/ 257442 h 257442"/>
                <a:gd name="connsiteX3" fmla="*/ 0 w 1889749"/>
                <a:gd name="connsiteY3" fmla="*/ 0 h 257442"/>
                <a:gd name="connsiteX0" fmla="*/ 1776155 w 1776155"/>
                <a:gd name="connsiteY0" fmla="*/ 0 h 257442"/>
                <a:gd name="connsiteX1" fmla="*/ 1721434 w 1776155"/>
                <a:gd name="connsiteY1" fmla="*/ 257442 h 257442"/>
                <a:gd name="connsiteX2" fmla="*/ 0 w 1776155"/>
                <a:gd name="connsiteY2" fmla="*/ 257442 h 257442"/>
                <a:gd name="connsiteX3" fmla="*/ 0 w 1776155"/>
                <a:gd name="connsiteY3" fmla="*/ 0 h 257442"/>
                <a:gd name="connsiteX0" fmla="*/ 1776155 w 1776155"/>
                <a:gd name="connsiteY0" fmla="*/ 0 h 257442"/>
                <a:gd name="connsiteX1" fmla="*/ 1721434 w 1776155"/>
                <a:gd name="connsiteY1" fmla="*/ 257442 h 257442"/>
                <a:gd name="connsiteX2" fmla="*/ 0 w 1776155"/>
                <a:gd name="connsiteY2" fmla="*/ 257442 h 257442"/>
                <a:gd name="connsiteX3" fmla="*/ 0 w 1776155"/>
                <a:gd name="connsiteY3" fmla="*/ 0 h 257442"/>
                <a:gd name="connsiteX0" fmla="*/ 1776155 w 1776155"/>
                <a:gd name="connsiteY0" fmla="*/ 0 h 257442"/>
                <a:gd name="connsiteX1" fmla="*/ 1721434 w 1776155"/>
                <a:gd name="connsiteY1" fmla="*/ 257442 h 257442"/>
                <a:gd name="connsiteX2" fmla="*/ 0 w 1776155"/>
                <a:gd name="connsiteY2" fmla="*/ 257442 h 257442"/>
                <a:gd name="connsiteX3" fmla="*/ 0 w 1776155"/>
                <a:gd name="connsiteY3" fmla="*/ 0 h 257442"/>
                <a:gd name="connsiteX0" fmla="*/ 1598221 w 1721434"/>
                <a:gd name="connsiteY0" fmla="*/ 0 h 257442"/>
                <a:gd name="connsiteX1" fmla="*/ 1721434 w 1721434"/>
                <a:gd name="connsiteY1" fmla="*/ 257442 h 257442"/>
                <a:gd name="connsiteX2" fmla="*/ 0 w 1721434"/>
                <a:gd name="connsiteY2" fmla="*/ 257442 h 257442"/>
                <a:gd name="connsiteX3" fmla="*/ 0 w 1721434"/>
                <a:gd name="connsiteY3" fmla="*/ 0 h 257442"/>
                <a:gd name="connsiteX0" fmla="*/ 1598221 w 1598221"/>
                <a:gd name="connsiteY0" fmla="*/ 0 h 257442"/>
                <a:gd name="connsiteX1" fmla="*/ 1543500 w 1598221"/>
                <a:gd name="connsiteY1" fmla="*/ 257442 h 257442"/>
                <a:gd name="connsiteX2" fmla="*/ 0 w 1598221"/>
                <a:gd name="connsiteY2" fmla="*/ 257442 h 257442"/>
                <a:gd name="connsiteX3" fmla="*/ 0 w 1598221"/>
                <a:gd name="connsiteY3" fmla="*/ 0 h 257442"/>
                <a:gd name="connsiteX0" fmla="*/ 1598221 w 1598221"/>
                <a:gd name="connsiteY0" fmla="*/ 0 h 257442"/>
                <a:gd name="connsiteX1" fmla="*/ 1543500 w 1598221"/>
                <a:gd name="connsiteY1" fmla="*/ 257442 h 257442"/>
                <a:gd name="connsiteX2" fmla="*/ 1 w 1598221"/>
                <a:gd name="connsiteY2" fmla="*/ 257442 h 257442"/>
                <a:gd name="connsiteX3" fmla="*/ 0 w 1598221"/>
                <a:gd name="connsiteY3" fmla="*/ 0 h 257442"/>
                <a:gd name="connsiteX0" fmla="*/ 1598220 w 1598220"/>
                <a:gd name="connsiteY0" fmla="*/ 0 h 257442"/>
                <a:gd name="connsiteX1" fmla="*/ 1543499 w 1598220"/>
                <a:gd name="connsiteY1" fmla="*/ 257442 h 257442"/>
                <a:gd name="connsiteX2" fmla="*/ 0 w 1598220"/>
                <a:gd name="connsiteY2" fmla="*/ 257442 h 257442"/>
                <a:gd name="connsiteX3" fmla="*/ 0 w 1598220"/>
                <a:gd name="connsiteY3" fmla="*/ 0 h 257442"/>
                <a:gd name="connsiteX0" fmla="*/ 1420288 w 1543499"/>
                <a:gd name="connsiteY0" fmla="*/ 0 h 257442"/>
                <a:gd name="connsiteX1" fmla="*/ 1543499 w 1543499"/>
                <a:gd name="connsiteY1" fmla="*/ 257442 h 257442"/>
                <a:gd name="connsiteX2" fmla="*/ 0 w 1543499"/>
                <a:gd name="connsiteY2" fmla="*/ 257442 h 257442"/>
                <a:gd name="connsiteX3" fmla="*/ 0 w 1543499"/>
                <a:gd name="connsiteY3" fmla="*/ 0 h 257442"/>
                <a:gd name="connsiteX0" fmla="*/ 1420288 w 1420288"/>
                <a:gd name="connsiteY0" fmla="*/ 0 h 257442"/>
                <a:gd name="connsiteX1" fmla="*/ 1365568 w 1420288"/>
                <a:gd name="connsiteY1" fmla="*/ 257442 h 257442"/>
                <a:gd name="connsiteX2" fmla="*/ 0 w 1420288"/>
                <a:gd name="connsiteY2" fmla="*/ 257442 h 257442"/>
                <a:gd name="connsiteX3" fmla="*/ 0 w 1420288"/>
                <a:gd name="connsiteY3" fmla="*/ 0 h 257442"/>
                <a:gd name="connsiteX0" fmla="*/ 1420288 w 1420288"/>
                <a:gd name="connsiteY0" fmla="*/ 0 h 257442"/>
                <a:gd name="connsiteX1" fmla="*/ 1365568 w 1420288"/>
                <a:gd name="connsiteY1" fmla="*/ 257442 h 257442"/>
                <a:gd name="connsiteX2" fmla="*/ 0 w 1420288"/>
                <a:gd name="connsiteY2" fmla="*/ 257442 h 257442"/>
                <a:gd name="connsiteX3" fmla="*/ 0 w 1420288"/>
                <a:gd name="connsiteY3" fmla="*/ 0 h 257442"/>
                <a:gd name="connsiteX0" fmla="*/ 1420288 w 1420288"/>
                <a:gd name="connsiteY0" fmla="*/ 0 h 257442"/>
                <a:gd name="connsiteX1" fmla="*/ 1365568 w 1420288"/>
                <a:gd name="connsiteY1" fmla="*/ 257442 h 257442"/>
                <a:gd name="connsiteX2" fmla="*/ 0 w 1420288"/>
                <a:gd name="connsiteY2" fmla="*/ 257442 h 257442"/>
                <a:gd name="connsiteX3" fmla="*/ 0 w 1420288"/>
                <a:gd name="connsiteY3" fmla="*/ 0 h 257442"/>
                <a:gd name="connsiteX0" fmla="*/ 1259988 w 1365568"/>
                <a:gd name="connsiteY0" fmla="*/ 0 h 257442"/>
                <a:gd name="connsiteX1" fmla="*/ 1365568 w 1365568"/>
                <a:gd name="connsiteY1" fmla="*/ 257442 h 257442"/>
                <a:gd name="connsiteX2" fmla="*/ 0 w 1365568"/>
                <a:gd name="connsiteY2" fmla="*/ 257442 h 257442"/>
                <a:gd name="connsiteX3" fmla="*/ 0 w 1365568"/>
                <a:gd name="connsiteY3" fmla="*/ 0 h 257442"/>
                <a:gd name="connsiteX0" fmla="*/ 1259988 w 1259988"/>
                <a:gd name="connsiteY0" fmla="*/ 0 h 257442"/>
                <a:gd name="connsiteX1" fmla="*/ 1205267 w 1259988"/>
                <a:gd name="connsiteY1" fmla="*/ 257442 h 257442"/>
                <a:gd name="connsiteX2" fmla="*/ 0 w 1259988"/>
                <a:gd name="connsiteY2" fmla="*/ 257442 h 257442"/>
                <a:gd name="connsiteX3" fmla="*/ 0 w 1259988"/>
                <a:gd name="connsiteY3" fmla="*/ 0 h 257442"/>
                <a:gd name="connsiteX0" fmla="*/ 1259988 w 1259988"/>
                <a:gd name="connsiteY0" fmla="*/ 0 h 257442"/>
                <a:gd name="connsiteX1" fmla="*/ 1205267 w 1259988"/>
                <a:gd name="connsiteY1" fmla="*/ 257442 h 257442"/>
                <a:gd name="connsiteX2" fmla="*/ 0 w 1259988"/>
                <a:gd name="connsiteY2" fmla="*/ 257442 h 257442"/>
                <a:gd name="connsiteX3" fmla="*/ 0 w 1259988"/>
                <a:gd name="connsiteY3" fmla="*/ 0 h 257442"/>
                <a:gd name="connsiteX0" fmla="*/ 1259988 w 1259988"/>
                <a:gd name="connsiteY0" fmla="*/ 0 h 257442"/>
                <a:gd name="connsiteX1" fmla="*/ 1205267 w 1259988"/>
                <a:gd name="connsiteY1" fmla="*/ 257442 h 257442"/>
                <a:gd name="connsiteX2" fmla="*/ 0 w 1259988"/>
                <a:gd name="connsiteY2" fmla="*/ 257442 h 257442"/>
                <a:gd name="connsiteX3" fmla="*/ 0 w 1259988"/>
                <a:gd name="connsiteY3" fmla="*/ 0 h 257442"/>
                <a:gd name="connsiteX0" fmla="*/ 1119116 w 1205267"/>
                <a:gd name="connsiteY0" fmla="*/ 0 h 257442"/>
                <a:gd name="connsiteX1" fmla="*/ 1205267 w 1205267"/>
                <a:gd name="connsiteY1" fmla="*/ 257442 h 257442"/>
                <a:gd name="connsiteX2" fmla="*/ 0 w 1205267"/>
                <a:gd name="connsiteY2" fmla="*/ 257442 h 257442"/>
                <a:gd name="connsiteX3" fmla="*/ 0 w 1205267"/>
                <a:gd name="connsiteY3" fmla="*/ 0 h 257442"/>
                <a:gd name="connsiteX0" fmla="*/ 1119116 w 1119116"/>
                <a:gd name="connsiteY0" fmla="*/ 0 h 257442"/>
                <a:gd name="connsiteX1" fmla="*/ 1064396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119116 w 1119116"/>
                <a:gd name="connsiteY0" fmla="*/ 0 h 257442"/>
                <a:gd name="connsiteX1" fmla="*/ 1064396 w 1119116"/>
                <a:gd name="connsiteY1" fmla="*/ 257442 h 257442"/>
                <a:gd name="connsiteX2" fmla="*/ 1 w 1119116"/>
                <a:gd name="connsiteY2" fmla="*/ 257442 h 257442"/>
                <a:gd name="connsiteX3" fmla="*/ 0 w 1119116"/>
                <a:gd name="connsiteY3" fmla="*/ 0 h 257442"/>
                <a:gd name="connsiteX0" fmla="*/ 1119115 w 1119115"/>
                <a:gd name="connsiteY0" fmla="*/ 0 h 257442"/>
                <a:gd name="connsiteX1" fmla="*/ 1064395 w 1119115"/>
                <a:gd name="connsiteY1" fmla="*/ 257442 h 257442"/>
                <a:gd name="connsiteX2" fmla="*/ 0 w 1119115"/>
                <a:gd name="connsiteY2" fmla="*/ 257442 h 257442"/>
                <a:gd name="connsiteX3" fmla="*/ 0 w 1119115"/>
                <a:gd name="connsiteY3" fmla="*/ 0 h 257442"/>
                <a:gd name="connsiteX0" fmla="*/ 950801 w 1064395"/>
                <a:gd name="connsiteY0" fmla="*/ 0 h 257442"/>
                <a:gd name="connsiteX1" fmla="*/ 1064395 w 1064395"/>
                <a:gd name="connsiteY1" fmla="*/ 257442 h 257442"/>
                <a:gd name="connsiteX2" fmla="*/ 0 w 1064395"/>
                <a:gd name="connsiteY2" fmla="*/ 257442 h 257442"/>
                <a:gd name="connsiteX3" fmla="*/ 0 w 1064395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782550 w 896080"/>
                <a:gd name="connsiteY0" fmla="*/ 0 h 257442"/>
                <a:gd name="connsiteX1" fmla="*/ 896080 w 896080"/>
                <a:gd name="connsiteY1" fmla="*/ 257442 h 257442"/>
                <a:gd name="connsiteX2" fmla="*/ 0 w 896080"/>
                <a:gd name="connsiteY2" fmla="*/ 257442 h 257442"/>
                <a:gd name="connsiteX3" fmla="*/ 0 w 896080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0 w 782550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0 w 782550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0 w 782550"/>
                <a:gd name="connsiteY3" fmla="*/ 0 h 257442"/>
                <a:gd name="connsiteX0" fmla="*/ 1099688 w 1099688"/>
                <a:gd name="connsiteY0" fmla="*/ 0 h 257442"/>
                <a:gd name="connsiteX1" fmla="*/ 727829 w 1099688"/>
                <a:gd name="connsiteY1" fmla="*/ 257442 h 257442"/>
                <a:gd name="connsiteX2" fmla="*/ 0 w 1099688"/>
                <a:gd name="connsiteY2" fmla="*/ 257442 h 257442"/>
                <a:gd name="connsiteX3" fmla="*/ 0 w 1099688"/>
                <a:gd name="connsiteY3" fmla="*/ 0 h 257442"/>
                <a:gd name="connsiteX0" fmla="*/ 1099688 w 1099688"/>
                <a:gd name="connsiteY0" fmla="*/ 0 h 257442"/>
                <a:gd name="connsiteX1" fmla="*/ 1044967 w 1099688"/>
                <a:gd name="connsiteY1" fmla="*/ 257442 h 257442"/>
                <a:gd name="connsiteX2" fmla="*/ 0 w 1099688"/>
                <a:gd name="connsiteY2" fmla="*/ 257442 h 257442"/>
                <a:gd name="connsiteX3" fmla="*/ 0 w 1099688"/>
                <a:gd name="connsiteY3" fmla="*/ 0 h 257442"/>
                <a:gd name="connsiteX0" fmla="*/ 1099688 w 1099688"/>
                <a:gd name="connsiteY0" fmla="*/ 0 h 257442"/>
                <a:gd name="connsiteX1" fmla="*/ 1044967 w 1099688"/>
                <a:gd name="connsiteY1" fmla="*/ 257442 h 257442"/>
                <a:gd name="connsiteX2" fmla="*/ 0 w 1099688"/>
                <a:gd name="connsiteY2" fmla="*/ 257442 h 257442"/>
                <a:gd name="connsiteX3" fmla="*/ 0 w 1099688"/>
                <a:gd name="connsiteY3" fmla="*/ 0 h 257442"/>
                <a:gd name="connsiteX0" fmla="*/ 1099688 w 1099688"/>
                <a:gd name="connsiteY0" fmla="*/ 0 h 257442"/>
                <a:gd name="connsiteX1" fmla="*/ 1044967 w 1099688"/>
                <a:gd name="connsiteY1" fmla="*/ 257442 h 257442"/>
                <a:gd name="connsiteX2" fmla="*/ 0 w 1099688"/>
                <a:gd name="connsiteY2" fmla="*/ 257442 h 257442"/>
                <a:gd name="connsiteX3" fmla="*/ 0 w 1099688"/>
                <a:gd name="connsiteY3" fmla="*/ 0 h 257442"/>
                <a:gd name="connsiteX0" fmla="*/ 1420289 w 1420289"/>
                <a:gd name="connsiteY0" fmla="*/ 0 h 257442"/>
                <a:gd name="connsiteX1" fmla="*/ 1044967 w 1420289"/>
                <a:gd name="connsiteY1" fmla="*/ 257442 h 257442"/>
                <a:gd name="connsiteX2" fmla="*/ 0 w 1420289"/>
                <a:gd name="connsiteY2" fmla="*/ 257442 h 257442"/>
                <a:gd name="connsiteX3" fmla="*/ 0 w 1420289"/>
                <a:gd name="connsiteY3" fmla="*/ 0 h 257442"/>
                <a:gd name="connsiteX0" fmla="*/ 1420289 w 1420289"/>
                <a:gd name="connsiteY0" fmla="*/ 0 h 257442"/>
                <a:gd name="connsiteX1" fmla="*/ 1365568 w 1420289"/>
                <a:gd name="connsiteY1" fmla="*/ 257442 h 257442"/>
                <a:gd name="connsiteX2" fmla="*/ 0 w 1420289"/>
                <a:gd name="connsiteY2" fmla="*/ 257442 h 257442"/>
                <a:gd name="connsiteX3" fmla="*/ 0 w 1420289"/>
                <a:gd name="connsiteY3" fmla="*/ 0 h 257442"/>
                <a:gd name="connsiteX0" fmla="*/ 1420289 w 1420289"/>
                <a:gd name="connsiteY0" fmla="*/ 0 h 257442"/>
                <a:gd name="connsiteX1" fmla="*/ 1365568 w 1420289"/>
                <a:gd name="connsiteY1" fmla="*/ 257442 h 257442"/>
                <a:gd name="connsiteX2" fmla="*/ 0 w 1420289"/>
                <a:gd name="connsiteY2" fmla="*/ 257442 h 257442"/>
                <a:gd name="connsiteX3" fmla="*/ 0 w 1420289"/>
                <a:gd name="connsiteY3" fmla="*/ 0 h 257442"/>
                <a:gd name="connsiteX0" fmla="*/ 1420289 w 1420289"/>
                <a:gd name="connsiteY0" fmla="*/ 0 h 257442"/>
                <a:gd name="connsiteX1" fmla="*/ 1365568 w 1420289"/>
                <a:gd name="connsiteY1" fmla="*/ 257442 h 257442"/>
                <a:gd name="connsiteX2" fmla="*/ 0 w 1420289"/>
                <a:gd name="connsiteY2" fmla="*/ 257442 h 257442"/>
                <a:gd name="connsiteX3" fmla="*/ 0 w 1420289"/>
                <a:gd name="connsiteY3" fmla="*/ 0 h 257442"/>
                <a:gd name="connsiteX0" fmla="*/ 1580589 w 1580589"/>
                <a:gd name="connsiteY0" fmla="*/ 0 h 257442"/>
                <a:gd name="connsiteX1" fmla="*/ 1365568 w 1580589"/>
                <a:gd name="connsiteY1" fmla="*/ 257442 h 257442"/>
                <a:gd name="connsiteX2" fmla="*/ 0 w 1580589"/>
                <a:gd name="connsiteY2" fmla="*/ 257442 h 257442"/>
                <a:gd name="connsiteX3" fmla="*/ 0 w 1580589"/>
                <a:gd name="connsiteY3" fmla="*/ 0 h 257442"/>
                <a:gd name="connsiteX0" fmla="*/ 1580589 w 1580589"/>
                <a:gd name="connsiteY0" fmla="*/ 0 h 257442"/>
                <a:gd name="connsiteX1" fmla="*/ 1525868 w 1580589"/>
                <a:gd name="connsiteY1" fmla="*/ 257442 h 257442"/>
                <a:gd name="connsiteX2" fmla="*/ 0 w 1580589"/>
                <a:gd name="connsiteY2" fmla="*/ 257442 h 257442"/>
                <a:gd name="connsiteX3" fmla="*/ 0 w 1580589"/>
                <a:gd name="connsiteY3" fmla="*/ 0 h 257442"/>
                <a:gd name="connsiteX0" fmla="*/ 1580589 w 1580589"/>
                <a:gd name="connsiteY0" fmla="*/ 0 h 257442"/>
                <a:gd name="connsiteX1" fmla="*/ 1525868 w 1580589"/>
                <a:gd name="connsiteY1" fmla="*/ 257442 h 257442"/>
                <a:gd name="connsiteX2" fmla="*/ 0 w 1580589"/>
                <a:gd name="connsiteY2" fmla="*/ 257442 h 257442"/>
                <a:gd name="connsiteX3" fmla="*/ 0 w 1580589"/>
                <a:gd name="connsiteY3" fmla="*/ 0 h 257442"/>
                <a:gd name="connsiteX0" fmla="*/ 1580589 w 1580589"/>
                <a:gd name="connsiteY0" fmla="*/ 0 h 257442"/>
                <a:gd name="connsiteX1" fmla="*/ 1525868 w 1580589"/>
                <a:gd name="connsiteY1" fmla="*/ 257442 h 257442"/>
                <a:gd name="connsiteX2" fmla="*/ 0 w 1580589"/>
                <a:gd name="connsiteY2" fmla="*/ 257442 h 257442"/>
                <a:gd name="connsiteX3" fmla="*/ 0 w 1580589"/>
                <a:gd name="connsiteY3" fmla="*/ 0 h 257442"/>
                <a:gd name="connsiteX0" fmla="*/ 1849893 w 1849893"/>
                <a:gd name="connsiteY0" fmla="*/ 0 h 257442"/>
                <a:gd name="connsiteX1" fmla="*/ 1525868 w 1849893"/>
                <a:gd name="connsiteY1" fmla="*/ 257442 h 257442"/>
                <a:gd name="connsiteX2" fmla="*/ 0 w 1849893"/>
                <a:gd name="connsiteY2" fmla="*/ 257442 h 257442"/>
                <a:gd name="connsiteX3" fmla="*/ 0 w 1849893"/>
                <a:gd name="connsiteY3" fmla="*/ 0 h 257442"/>
                <a:gd name="connsiteX0" fmla="*/ 1849893 w 1849893"/>
                <a:gd name="connsiteY0" fmla="*/ 0 h 257442"/>
                <a:gd name="connsiteX1" fmla="*/ 1795172 w 1849893"/>
                <a:gd name="connsiteY1" fmla="*/ 257442 h 257442"/>
                <a:gd name="connsiteX2" fmla="*/ 0 w 1849893"/>
                <a:gd name="connsiteY2" fmla="*/ 257442 h 257442"/>
                <a:gd name="connsiteX3" fmla="*/ 0 w 1849893"/>
                <a:gd name="connsiteY3" fmla="*/ 0 h 257442"/>
                <a:gd name="connsiteX0" fmla="*/ 1849893 w 1849893"/>
                <a:gd name="connsiteY0" fmla="*/ 0 h 257442"/>
                <a:gd name="connsiteX1" fmla="*/ 1795172 w 1849893"/>
                <a:gd name="connsiteY1" fmla="*/ 257442 h 257442"/>
                <a:gd name="connsiteX2" fmla="*/ 0 w 1849893"/>
                <a:gd name="connsiteY2" fmla="*/ 257442 h 257442"/>
                <a:gd name="connsiteX3" fmla="*/ 0 w 1849893"/>
                <a:gd name="connsiteY3" fmla="*/ 0 h 257442"/>
                <a:gd name="connsiteX0" fmla="*/ 1849893 w 1849893"/>
                <a:gd name="connsiteY0" fmla="*/ 0 h 257442"/>
                <a:gd name="connsiteX1" fmla="*/ 1795172 w 1849893"/>
                <a:gd name="connsiteY1" fmla="*/ 257442 h 257442"/>
                <a:gd name="connsiteX2" fmla="*/ 0 w 1849893"/>
                <a:gd name="connsiteY2" fmla="*/ 257442 h 257442"/>
                <a:gd name="connsiteX3" fmla="*/ 0 w 1849893"/>
                <a:gd name="connsiteY3" fmla="*/ 0 h 257442"/>
                <a:gd name="connsiteX0" fmla="*/ 2018208 w 2018208"/>
                <a:gd name="connsiteY0" fmla="*/ 0 h 257442"/>
                <a:gd name="connsiteX1" fmla="*/ 1795172 w 2018208"/>
                <a:gd name="connsiteY1" fmla="*/ 257442 h 257442"/>
                <a:gd name="connsiteX2" fmla="*/ 0 w 2018208"/>
                <a:gd name="connsiteY2" fmla="*/ 257442 h 257442"/>
                <a:gd name="connsiteX3" fmla="*/ 0 w 2018208"/>
                <a:gd name="connsiteY3" fmla="*/ 0 h 257442"/>
                <a:gd name="connsiteX0" fmla="*/ 2018208 w 2018208"/>
                <a:gd name="connsiteY0" fmla="*/ 0 h 257442"/>
                <a:gd name="connsiteX1" fmla="*/ 1963486 w 2018208"/>
                <a:gd name="connsiteY1" fmla="*/ 257442 h 257442"/>
                <a:gd name="connsiteX2" fmla="*/ 0 w 2018208"/>
                <a:gd name="connsiteY2" fmla="*/ 257442 h 257442"/>
                <a:gd name="connsiteX3" fmla="*/ 0 w 2018208"/>
                <a:gd name="connsiteY3" fmla="*/ 0 h 257442"/>
                <a:gd name="connsiteX0" fmla="*/ 2018209 w 2018209"/>
                <a:gd name="connsiteY0" fmla="*/ 0 h 257442"/>
                <a:gd name="connsiteX1" fmla="*/ 1963487 w 2018209"/>
                <a:gd name="connsiteY1" fmla="*/ 257442 h 257442"/>
                <a:gd name="connsiteX2" fmla="*/ 0 w 2018209"/>
                <a:gd name="connsiteY2" fmla="*/ 257442 h 257442"/>
                <a:gd name="connsiteX3" fmla="*/ 1 w 2018209"/>
                <a:gd name="connsiteY3" fmla="*/ 0 h 257442"/>
                <a:gd name="connsiteX0" fmla="*/ 2018209 w 2018209"/>
                <a:gd name="connsiteY0" fmla="*/ 0 h 257442"/>
                <a:gd name="connsiteX1" fmla="*/ 1963487 w 2018209"/>
                <a:gd name="connsiteY1" fmla="*/ 257442 h 257442"/>
                <a:gd name="connsiteX2" fmla="*/ 0 w 2018209"/>
                <a:gd name="connsiteY2" fmla="*/ 257442 h 257442"/>
                <a:gd name="connsiteX3" fmla="*/ 1 w 2018209"/>
                <a:gd name="connsiteY3" fmla="*/ 0 h 257442"/>
                <a:gd name="connsiteX0" fmla="*/ 2186525 w 2186525"/>
                <a:gd name="connsiteY0" fmla="*/ 0 h 257442"/>
                <a:gd name="connsiteX1" fmla="*/ 1963487 w 2186525"/>
                <a:gd name="connsiteY1" fmla="*/ 257442 h 257442"/>
                <a:gd name="connsiteX2" fmla="*/ 0 w 2186525"/>
                <a:gd name="connsiteY2" fmla="*/ 257442 h 257442"/>
                <a:gd name="connsiteX3" fmla="*/ 1 w 2186525"/>
                <a:gd name="connsiteY3" fmla="*/ 0 h 257442"/>
                <a:gd name="connsiteX0" fmla="*/ 2186525 w 2186525"/>
                <a:gd name="connsiteY0" fmla="*/ 0 h 257442"/>
                <a:gd name="connsiteX1" fmla="*/ 2131804 w 2186525"/>
                <a:gd name="connsiteY1" fmla="*/ 257442 h 257442"/>
                <a:gd name="connsiteX2" fmla="*/ 0 w 2186525"/>
                <a:gd name="connsiteY2" fmla="*/ 257442 h 257442"/>
                <a:gd name="connsiteX3" fmla="*/ 1 w 2186525"/>
                <a:gd name="connsiteY3" fmla="*/ 0 h 257442"/>
                <a:gd name="connsiteX0" fmla="*/ 2186524 w 2186524"/>
                <a:gd name="connsiteY0" fmla="*/ 0 h 257442"/>
                <a:gd name="connsiteX1" fmla="*/ 2131803 w 2186524"/>
                <a:gd name="connsiteY1" fmla="*/ 257442 h 257442"/>
                <a:gd name="connsiteX2" fmla="*/ 0 w 2186524"/>
                <a:gd name="connsiteY2" fmla="*/ 257442 h 257442"/>
                <a:gd name="connsiteX3" fmla="*/ 0 w 2186524"/>
                <a:gd name="connsiteY3" fmla="*/ 0 h 257442"/>
                <a:gd name="connsiteX0" fmla="*/ 2186525 w 2186525"/>
                <a:gd name="connsiteY0" fmla="*/ 0 h 257442"/>
                <a:gd name="connsiteX1" fmla="*/ 2131804 w 2186525"/>
                <a:gd name="connsiteY1" fmla="*/ 257442 h 257442"/>
                <a:gd name="connsiteX2" fmla="*/ 1 w 2186525"/>
                <a:gd name="connsiteY2" fmla="*/ 257442 h 257442"/>
                <a:gd name="connsiteX3" fmla="*/ 0 w 2186525"/>
                <a:gd name="connsiteY3" fmla="*/ 0 h 257442"/>
                <a:gd name="connsiteX0" fmla="*/ 2455830 w 2455830"/>
                <a:gd name="connsiteY0" fmla="*/ 0 h 257442"/>
                <a:gd name="connsiteX1" fmla="*/ 2131804 w 2455830"/>
                <a:gd name="connsiteY1" fmla="*/ 257442 h 257442"/>
                <a:gd name="connsiteX2" fmla="*/ 1 w 2455830"/>
                <a:gd name="connsiteY2" fmla="*/ 257442 h 257442"/>
                <a:gd name="connsiteX3" fmla="*/ 0 w 2455830"/>
                <a:gd name="connsiteY3" fmla="*/ 0 h 257442"/>
                <a:gd name="connsiteX0" fmla="*/ 2455830 w 2455830"/>
                <a:gd name="connsiteY0" fmla="*/ 0 h 257442"/>
                <a:gd name="connsiteX1" fmla="*/ 2401108 w 2455830"/>
                <a:gd name="connsiteY1" fmla="*/ 257442 h 257442"/>
                <a:gd name="connsiteX2" fmla="*/ 1 w 2455830"/>
                <a:gd name="connsiteY2" fmla="*/ 257442 h 257442"/>
                <a:gd name="connsiteX3" fmla="*/ 0 w 2455830"/>
                <a:gd name="connsiteY3" fmla="*/ 0 h 257442"/>
                <a:gd name="connsiteX0" fmla="*/ 2455830 w 2455830"/>
                <a:gd name="connsiteY0" fmla="*/ 0 h 257442"/>
                <a:gd name="connsiteX1" fmla="*/ 2401108 w 2455830"/>
                <a:gd name="connsiteY1" fmla="*/ 257442 h 257442"/>
                <a:gd name="connsiteX2" fmla="*/ 0 w 2455830"/>
                <a:gd name="connsiteY2" fmla="*/ 257442 h 257442"/>
                <a:gd name="connsiteX3" fmla="*/ 0 w 2455830"/>
                <a:gd name="connsiteY3" fmla="*/ 0 h 257442"/>
                <a:gd name="connsiteX0" fmla="*/ 2455830 w 2455830"/>
                <a:gd name="connsiteY0" fmla="*/ 0 h 257442"/>
                <a:gd name="connsiteX1" fmla="*/ 2401108 w 2455830"/>
                <a:gd name="connsiteY1" fmla="*/ 257442 h 257442"/>
                <a:gd name="connsiteX2" fmla="*/ 0 w 2455830"/>
                <a:gd name="connsiteY2" fmla="*/ 257442 h 257442"/>
                <a:gd name="connsiteX3" fmla="*/ 0 w 2455830"/>
                <a:gd name="connsiteY3" fmla="*/ 0 h 257442"/>
                <a:gd name="connsiteX0" fmla="*/ 950801 w 2401108"/>
                <a:gd name="connsiteY0" fmla="*/ 0 h 257442"/>
                <a:gd name="connsiteX1" fmla="*/ 2401108 w 2401108"/>
                <a:gd name="connsiteY1" fmla="*/ 257442 h 257442"/>
                <a:gd name="connsiteX2" fmla="*/ 0 w 2401108"/>
                <a:gd name="connsiteY2" fmla="*/ 257442 h 257442"/>
                <a:gd name="connsiteX3" fmla="*/ 0 w 2401108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0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0 w 950800"/>
                <a:gd name="connsiteY3" fmla="*/ 0 h 257442"/>
                <a:gd name="connsiteX0" fmla="*/ 1261783 w 1261783"/>
                <a:gd name="connsiteY0" fmla="*/ 0 h 257442"/>
                <a:gd name="connsiteX1" fmla="*/ 896079 w 1261783"/>
                <a:gd name="connsiteY1" fmla="*/ 257442 h 257442"/>
                <a:gd name="connsiteX2" fmla="*/ 0 w 1261783"/>
                <a:gd name="connsiteY2" fmla="*/ 257442 h 257442"/>
                <a:gd name="connsiteX3" fmla="*/ 0 w 1261783"/>
                <a:gd name="connsiteY3" fmla="*/ 0 h 257442"/>
                <a:gd name="connsiteX0" fmla="*/ 1261783 w 1261783"/>
                <a:gd name="connsiteY0" fmla="*/ 0 h 257442"/>
                <a:gd name="connsiteX1" fmla="*/ 1207062 w 1261783"/>
                <a:gd name="connsiteY1" fmla="*/ 257442 h 257442"/>
                <a:gd name="connsiteX2" fmla="*/ 0 w 1261783"/>
                <a:gd name="connsiteY2" fmla="*/ 257442 h 257442"/>
                <a:gd name="connsiteX3" fmla="*/ 0 w 1261783"/>
                <a:gd name="connsiteY3" fmla="*/ 0 h 257442"/>
                <a:gd name="connsiteX0" fmla="*/ 1261784 w 1261784"/>
                <a:gd name="connsiteY0" fmla="*/ 0 h 257442"/>
                <a:gd name="connsiteX1" fmla="*/ 1207063 w 1261784"/>
                <a:gd name="connsiteY1" fmla="*/ 257442 h 257442"/>
                <a:gd name="connsiteX2" fmla="*/ 0 w 1261784"/>
                <a:gd name="connsiteY2" fmla="*/ 257442 h 257442"/>
                <a:gd name="connsiteX3" fmla="*/ 1 w 1261784"/>
                <a:gd name="connsiteY3" fmla="*/ 0 h 257442"/>
                <a:gd name="connsiteX0" fmla="*/ 1261784 w 1261784"/>
                <a:gd name="connsiteY0" fmla="*/ 0 h 257442"/>
                <a:gd name="connsiteX1" fmla="*/ 1207063 w 1261784"/>
                <a:gd name="connsiteY1" fmla="*/ 257442 h 257442"/>
                <a:gd name="connsiteX2" fmla="*/ 0 w 1261784"/>
                <a:gd name="connsiteY2" fmla="*/ 257442 h 257442"/>
                <a:gd name="connsiteX3" fmla="*/ 0 w 1261784"/>
                <a:gd name="connsiteY3" fmla="*/ 0 h 257442"/>
                <a:gd name="connsiteX0" fmla="*/ 1523073 w 1523073"/>
                <a:gd name="connsiteY0" fmla="*/ 0 h 257442"/>
                <a:gd name="connsiteX1" fmla="*/ 1207063 w 1523073"/>
                <a:gd name="connsiteY1" fmla="*/ 257442 h 257442"/>
                <a:gd name="connsiteX2" fmla="*/ 0 w 1523073"/>
                <a:gd name="connsiteY2" fmla="*/ 257442 h 257442"/>
                <a:gd name="connsiteX3" fmla="*/ 0 w 1523073"/>
                <a:gd name="connsiteY3" fmla="*/ 0 h 257442"/>
                <a:gd name="connsiteX0" fmla="*/ 1523073 w 1523073"/>
                <a:gd name="connsiteY0" fmla="*/ 0 h 257442"/>
                <a:gd name="connsiteX1" fmla="*/ 1468352 w 1523073"/>
                <a:gd name="connsiteY1" fmla="*/ 257442 h 257442"/>
                <a:gd name="connsiteX2" fmla="*/ 0 w 1523073"/>
                <a:gd name="connsiteY2" fmla="*/ 257442 h 257442"/>
                <a:gd name="connsiteX3" fmla="*/ 0 w 1523073"/>
                <a:gd name="connsiteY3" fmla="*/ 0 h 257442"/>
                <a:gd name="connsiteX0" fmla="*/ 1523073 w 1523073"/>
                <a:gd name="connsiteY0" fmla="*/ 0 h 257442"/>
                <a:gd name="connsiteX1" fmla="*/ 1468352 w 1523073"/>
                <a:gd name="connsiteY1" fmla="*/ 257442 h 257442"/>
                <a:gd name="connsiteX2" fmla="*/ 0 w 1523073"/>
                <a:gd name="connsiteY2" fmla="*/ 257442 h 257442"/>
                <a:gd name="connsiteX3" fmla="*/ 0 w 1523073"/>
                <a:gd name="connsiteY3" fmla="*/ 0 h 257442"/>
                <a:gd name="connsiteX0" fmla="*/ 1523073 w 1523073"/>
                <a:gd name="connsiteY0" fmla="*/ 0 h 257442"/>
                <a:gd name="connsiteX1" fmla="*/ 1468352 w 1523073"/>
                <a:gd name="connsiteY1" fmla="*/ 257442 h 257442"/>
                <a:gd name="connsiteX2" fmla="*/ 0 w 1523073"/>
                <a:gd name="connsiteY2" fmla="*/ 257442 h 257442"/>
                <a:gd name="connsiteX3" fmla="*/ 0 w 1523073"/>
                <a:gd name="connsiteY3" fmla="*/ 0 h 257442"/>
                <a:gd name="connsiteX0" fmla="*/ 1701007 w 1701007"/>
                <a:gd name="connsiteY0" fmla="*/ 0 h 257442"/>
                <a:gd name="connsiteX1" fmla="*/ 1468352 w 1701007"/>
                <a:gd name="connsiteY1" fmla="*/ 257442 h 257442"/>
                <a:gd name="connsiteX2" fmla="*/ 0 w 1701007"/>
                <a:gd name="connsiteY2" fmla="*/ 257442 h 257442"/>
                <a:gd name="connsiteX3" fmla="*/ 0 w 1701007"/>
                <a:gd name="connsiteY3" fmla="*/ 0 h 257442"/>
                <a:gd name="connsiteX0" fmla="*/ 1701007 w 1701007"/>
                <a:gd name="connsiteY0" fmla="*/ 0 h 257442"/>
                <a:gd name="connsiteX1" fmla="*/ 1646286 w 1701007"/>
                <a:gd name="connsiteY1" fmla="*/ 257442 h 257442"/>
                <a:gd name="connsiteX2" fmla="*/ 0 w 1701007"/>
                <a:gd name="connsiteY2" fmla="*/ 257442 h 257442"/>
                <a:gd name="connsiteX3" fmla="*/ 0 w 1701007"/>
                <a:gd name="connsiteY3" fmla="*/ 0 h 257442"/>
                <a:gd name="connsiteX0" fmla="*/ 1701007 w 1701007"/>
                <a:gd name="connsiteY0" fmla="*/ 0 h 257442"/>
                <a:gd name="connsiteX1" fmla="*/ 1646286 w 1701007"/>
                <a:gd name="connsiteY1" fmla="*/ 257442 h 257442"/>
                <a:gd name="connsiteX2" fmla="*/ 0 w 1701007"/>
                <a:gd name="connsiteY2" fmla="*/ 257442 h 257442"/>
                <a:gd name="connsiteX3" fmla="*/ 0 w 1701007"/>
                <a:gd name="connsiteY3" fmla="*/ 0 h 257442"/>
                <a:gd name="connsiteX0" fmla="*/ 1701007 w 1701007"/>
                <a:gd name="connsiteY0" fmla="*/ 0 h 257442"/>
                <a:gd name="connsiteX1" fmla="*/ 1646286 w 1701007"/>
                <a:gd name="connsiteY1" fmla="*/ 257442 h 257442"/>
                <a:gd name="connsiteX2" fmla="*/ 0 w 1701007"/>
                <a:gd name="connsiteY2" fmla="*/ 257442 h 257442"/>
                <a:gd name="connsiteX3" fmla="*/ 0 w 1701007"/>
                <a:gd name="connsiteY3" fmla="*/ 0 h 257442"/>
                <a:gd name="connsiteX0" fmla="*/ 1523073 w 1646286"/>
                <a:gd name="connsiteY0" fmla="*/ 0 h 257442"/>
                <a:gd name="connsiteX1" fmla="*/ 1646286 w 1646286"/>
                <a:gd name="connsiteY1" fmla="*/ 257442 h 257442"/>
                <a:gd name="connsiteX2" fmla="*/ 0 w 1646286"/>
                <a:gd name="connsiteY2" fmla="*/ 257442 h 257442"/>
                <a:gd name="connsiteX3" fmla="*/ 0 w 1646286"/>
                <a:gd name="connsiteY3" fmla="*/ 0 h 257442"/>
                <a:gd name="connsiteX0" fmla="*/ 1523073 w 1523073"/>
                <a:gd name="connsiteY0" fmla="*/ 0 h 257442"/>
                <a:gd name="connsiteX1" fmla="*/ 1468352 w 1523073"/>
                <a:gd name="connsiteY1" fmla="*/ 257442 h 257442"/>
                <a:gd name="connsiteX2" fmla="*/ 0 w 1523073"/>
                <a:gd name="connsiteY2" fmla="*/ 257442 h 257442"/>
                <a:gd name="connsiteX3" fmla="*/ 0 w 1523073"/>
                <a:gd name="connsiteY3" fmla="*/ 0 h 257442"/>
                <a:gd name="connsiteX0" fmla="*/ 1523073 w 1523073"/>
                <a:gd name="connsiteY0" fmla="*/ 0 h 257442"/>
                <a:gd name="connsiteX1" fmla="*/ 1468352 w 1523073"/>
                <a:gd name="connsiteY1" fmla="*/ 257442 h 257442"/>
                <a:gd name="connsiteX2" fmla="*/ 1 w 1523073"/>
                <a:gd name="connsiteY2" fmla="*/ 257442 h 257442"/>
                <a:gd name="connsiteX3" fmla="*/ 0 w 1523073"/>
                <a:gd name="connsiteY3" fmla="*/ 0 h 257442"/>
                <a:gd name="connsiteX0" fmla="*/ 1523072 w 1523072"/>
                <a:gd name="connsiteY0" fmla="*/ 0 h 257442"/>
                <a:gd name="connsiteX1" fmla="*/ 1468351 w 1523072"/>
                <a:gd name="connsiteY1" fmla="*/ 257442 h 257442"/>
                <a:gd name="connsiteX2" fmla="*/ 0 w 1523072"/>
                <a:gd name="connsiteY2" fmla="*/ 257442 h 257442"/>
                <a:gd name="connsiteX3" fmla="*/ 0 w 1523072"/>
                <a:gd name="connsiteY3" fmla="*/ 0 h 257442"/>
                <a:gd name="connsiteX0" fmla="*/ 1827642 w 1827642"/>
                <a:gd name="connsiteY0" fmla="*/ 0 h 257442"/>
                <a:gd name="connsiteX1" fmla="*/ 1468351 w 1827642"/>
                <a:gd name="connsiteY1" fmla="*/ 257442 h 257442"/>
                <a:gd name="connsiteX2" fmla="*/ 0 w 1827642"/>
                <a:gd name="connsiteY2" fmla="*/ 257442 h 257442"/>
                <a:gd name="connsiteX3" fmla="*/ 0 w 1827642"/>
                <a:gd name="connsiteY3" fmla="*/ 0 h 257442"/>
                <a:gd name="connsiteX0" fmla="*/ 1827642 w 1827642"/>
                <a:gd name="connsiteY0" fmla="*/ 0 h 257442"/>
                <a:gd name="connsiteX1" fmla="*/ 1772921 w 1827642"/>
                <a:gd name="connsiteY1" fmla="*/ 257442 h 257442"/>
                <a:gd name="connsiteX2" fmla="*/ 0 w 1827642"/>
                <a:gd name="connsiteY2" fmla="*/ 257442 h 257442"/>
                <a:gd name="connsiteX3" fmla="*/ 0 w 1827642"/>
                <a:gd name="connsiteY3" fmla="*/ 0 h 257442"/>
                <a:gd name="connsiteX0" fmla="*/ 1827643 w 1827643"/>
                <a:gd name="connsiteY0" fmla="*/ 0 h 257442"/>
                <a:gd name="connsiteX1" fmla="*/ 1772922 w 1827643"/>
                <a:gd name="connsiteY1" fmla="*/ 257442 h 257442"/>
                <a:gd name="connsiteX2" fmla="*/ 0 w 1827643"/>
                <a:gd name="connsiteY2" fmla="*/ 257442 h 257442"/>
                <a:gd name="connsiteX3" fmla="*/ 1 w 1827643"/>
                <a:gd name="connsiteY3" fmla="*/ 0 h 257442"/>
                <a:gd name="connsiteX0" fmla="*/ 1827643 w 1827643"/>
                <a:gd name="connsiteY0" fmla="*/ 0 h 257442"/>
                <a:gd name="connsiteX1" fmla="*/ 1772922 w 1827643"/>
                <a:gd name="connsiteY1" fmla="*/ 257442 h 257442"/>
                <a:gd name="connsiteX2" fmla="*/ 0 w 1827643"/>
                <a:gd name="connsiteY2" fmla="*/ 257442 h 257442"/>
                <a:gd name="connsiteX3" fmla="*/ 1 w 1827643"/>
                <a:gd name="connsiteY3" fmla="*/ 0 h 257442"/>
                <a:gd name="connsiteX0" fmla="*/ 2096949 w 2096949"/>
                <a:gd name="connsiteY0" fmla="*/ 0 h 257442"/>
                <a:gd name="connsiteX1" fmla="*/ 1772922 w 2096949"/>
                <a:gd name="connsiteY1" fmla="*/ 257442 h 257442"/>
                <a:gd name="connsiteX2" fmla="*/ 0 w 2096949"/>
                <a:gd name="connsiteY2" fmla="*/ 257442 h 257442"/>
                <a:gd name="connsiteX3" fmla="*/ 1 w 2096949"/>
                <a:gd name="connsiteY3" fmla="*/ 0 h 257442"/>
                <a:gd name="connsiteX0" fmla="*/ 2096949 w 2096949"/>
                <a:gd name="connsiteY0" fmla="*/ 0 h 257442"/>
                <a:gd name="connsiteX1" fmla="*/ 2042228 w 2096949"/>
                <a:gd name="connsiteY1" fmla="*/ 257442 h 257442"/>
                <a:gd name="connsiteX2" fmla="*/ 0 w 2096949"/>
                <a:gd name="connsiteY2" fmla="*/ 257442 h 257442"/>
                <a:gd name="connsiteX3" fmla="*/ 1 w 2096949"/>
                <a:gd name="connsiteY3" fmla="*/ 0 h 257442"/>
                <a:gd name="connsiteX0" fmla="*/ 2096948 w 2096948"/>
                <a:gd name="connsiteY0" fmla="*/ 0 h 257442"/>
                <a:gd name="connsiteX1" fmla="*/ 2042227 w 2096948"/>
                <a:gd name="connsiteY1" fmla="*/ 257442 h 257442"/>
                <a:gd name="connsiteX2" fmla="*/ 0 w 2096948"/>
                <a:gd name="connsiteY2" fmla="*/ 257442 h 257442"/>
                <a:gd name="connsiteX3" fmla="*/ 0 w 2096948"/>
                <a:gd name="connsiteY3" fmla="*/ 0 h 257442"/>
                <a:gd name="connsiteX0" fmla="*/ 2096949 w 2096949"/>
                <a:gd name="connsiteY0" fmla="*/ 0 h 257442"/>
                <a:gd name="connsiteX1" fmla="*/ 2042228 w 2096949"/>
                <a:gd name="connsiteY1" fmla="*/ 257442 h 257442"/>
                <a:gd name="connsiteX2" fmla="*/ 1 w 2096949"/>
                <a:gd name="connsiteY2" fmla="*/ 257442 h 257442"/>
                <a:gd name="connsiteX3" fmla="*/ 0 w 2096949"/>
                <a:gd name="connsiteY3" fmla="*/ 0 h 257442"/>
                <a:gd name="connsiteX0" fmla="*/ 2257249 w 2257249"/>
                <a:gd name="connsiteY0" fmla="*/ 0 h 257442"/>
                <a:gd name="connsiteX1" fmla="*/ 2042228 w 2257249"/>
                <a:gd name="connsiteY1" fmla="*/ 257442 h 257442"/>
                <a:gd name="connsiteX2" fmla="*/ 1 w 2257249"/>
                <a:gd name="connsiteY2" fmla="*/ 257442 h 257442"/>
                <a:gd name="connsiteX3" fmla="*/ 0 w 2257249"/>
                <a:gd name="connsiteY3" fmla="*/ 0 h 257442"/>
                <a:gd name="connsiteX0" fmla="*/ 2257249 w 2257249"/>
                <a:gd name="connsiteY0" fmla="*/ 0 h 257442"/>
                <a:gd name="connsiteX1" fmla="*/ 2202528 w 2257249"/>
                <a:gd name="connsiteY1" fmla="*/ 257442 h 257442"/>
                <a:gd name="connsiteX2" fmla="*/ 1 w 2257249"/>
                <a:gd name="connsiteY2" fmla="*/ 257442 h 257442"/>
                <a:gd name="connsiteX3" fmla="*/ 0 w 2257249"/>
                <a:gd name="connsiteY3" fmla="*/ 0 h 257442"/>
                <a:gd name="connsiteX0" fmla="*/ 2257249 w 2257249"/>
                <a:gd name="connsiteY0" fmla="*/ 0 h 257442"/>
                <a:gd name="connsiteX1" fmla="*/ 2202528 w 2257249"/>
                <a:gd name="connsiteY1" fmla="*/ 257442 h 257442"/>
                <a:gd name="connsiteX2" fmla="*/ 1 w 2257249"/>
                <a:gd name="connsiteY2" fmla="*/ 257442 h 257442"/>
                <a:gd name="connsiteX3" fmla="*/ 0 w 2257249"/>
                <a:gd name="connsiteY3" fmla="*/ 0 h 257442"/>
                <a:gd name="connsiteX0" fmla="*/ 2257248 w 2257248"/>
                <a:gd name="connsiteY0" fmla="*/ 0 h 257442"/>
                <a:gd name="connsiteX1" fmla="*/ 2202527 w 2257248"/>
                <a:gd name="connsiteY1" fmla="*/ 257442 h 257442"/>
                <a:gd name="connsiteX2" fmla="*/ 0 w 2257248"/>
                <a:gd name="connsiteY2" fmla="*/ 257442 h 257442"/>
                <a:gd name="connsiteX3" fmla="*/ 0 w 2257248"/>
                <a:gd name="connsiteY3" fmla="*/ 0 h 257442"/>
                <a:gd name="connsiteX0" fmla="*/ 2417547 w 2417547"/>
                <a:gd name="connsiteY0" fmla="*/ 0 h 257442"/>
                <a:gd name="connsiteX1" fmla="*/ 2202527 w 2417547"/>
                <a:gd name="connsiteY1" fmla="*/ 257442 h 257442"/>
                <a:gd name="connsiteX2" fmla="*/ 0 w 2417547"/>
                <a:gd name="connsiteY2" fmla="*/ 257442 h 257442"/>
                <a:gd name="connsiteX3" fmla="*/ 0 w 2417547"/>
                <a:gd name="connsiteY3" fmla="*/ 0 h 257442"/>
                <a:gd name="connsiteX0" fmla="*/ 2417547 w 2417547"/>
                <a:gd name="connsiteY0" fmla="*/ 0 h 257442"/>
                <a:gd name="connsiteX1" fmla="*/ 2362826 w 2417547"/>
                <a:gd name="connsiteY1" fmla="*/ 257442 h 257442"/>
                <a:gd name="connsiteX2" fmla="*/ 0 w 2417547"/>
                <a:gd name="connsiteY2" fmla="*/ 257442 h 257442"/>
                <a:gd name="connsiteX3" fmla="*/ 0 w 2417547"/>
                <a:gd name="connsiteY3" fmla="*/ 0 h 257442"/>
                <a:gd name="connsiteX0" fmla="*/ 2417548 w 2417548"/>
                <a:gd name="connsiteY0" fmla="*/ 0 h 257442"/>
                <a:gd name="connsiteX1" fmla="*/ 2362827 w 2417548"/>
                <a:gd name="connsiteY1" fmla="*/ 257442 h 257442"/>
                <a:gd name="connsiteX2" fmla="*/ 0 w 2417548"/>
                <a:gd name="connsiteY2" fmla="*/ 257442 h 257442"/>
                <a:gd name="connsiteX3" fmla="*/ 1 w 2417548"/>
                <a:gd name="connsiteY3" fmla="*/ 0 h 257442"/>
                <a:gd name="connsiteX0" fmla="*/ 2417548 w 2417548"/>
                <a:gd name="connsiteY0" fmla="*/ 0 h 257442"/>
                <a:gd name="connsiteX1" fmla="*/ 2362827 w 2417548"/>
                <a:gd name="connsiteY1" fmla="*/ 257442 h 257442"/>
                <a:gd name="connsiteX2" fmla="*/ 0 w 2417548"/>
                <a:gd name="connsiteY2" fmla="*/ 257442 h 257442"/>
                <a:gd name="connsiteX3" fmla="*/ 0 w 2417548"/>
                <a:gd name="connsiteY3" fmla="*/ 0 h 257442"/>
                <a:gd name="connsiteX0" fmla="*/ 2577849 w 2577849"/>
                <a:gd name="connsiteY0" fmla="*/ 0 h 257442"/>
                <a:gd name="connsiteX1" fmla="*/ 2362827 w 2577849"/>
                <a:gd name="connsiteY1" fmla="*/ 257442 h 257442"/>
                <a:gd name="connsiteX2" fmla="*/ 0 w 2577849"/>
                <a:gd name="connsiteY2" fmla="*/ 257442 h 257442"/>
                <a:gd name="connsiteX3" fmla="*/ 0 w 2577849"/>
                <a:gd name="connsiteY3" fmla="*/ 0 h 257442"/>
                <a:gd name="connsiteX0" fmla="*/ 2577849 w 2577849"/>
                <a:gd name="connsiteY0" fmla="*/ 0 h 257442"/>
                <a:gd name="connsiteX1" fmla="*/ 2523128 w 2577849"/>
                <a:gd name="connsiteY1" fmla="*/ 257442 h 257442"/>
                <a:gd name="connsiteX2" fmla="*/ 0 w 2577849"/>
                <a:gd name="connsiteY2" fmla="*/ 257442 h 257442"/>
                <a:gd name="connsiteX3" fmla="*/ 0 w 2577849"/>
                <a:gd name="connsiteY3" fmla="*/ 0 h 257442"/>
                <a:gd name="connsiteX0" fmla="*/ 2577849 w 2577849"/>
                <a:gd name="connsiteY0" fmla="*/ 0 h 257442"/>
                <a:gd name="connsiteX1" fmla="*/ 2523128 w 2577849"/>
                <a:gd name="connsiteY1" fmla="*/ 257442 h 257442"/>
                <a:gd name="connsiteX2" fmla="*/ 0 w 2577849"/>
                <a:gd name="connsiteY2" fmla="*/ 257442 h 257442"/>
                <a:gd name="connsiteX3" fmla="*/ 0 w 2577849"/>
                <a:gd name="connsiteY3" fmla="*/ 0 h 257442"/>
                <a:gd name="connsiteX0" fmla="*/ 2577849 w 2577849"/>
                <a:gd name="connsiteY0" fmla="*/ 0 h 257442"/>
                <a:gd name="connsiteX1" fmla="*/ 2523128 w 2577849"/>
                <a:gd name="connsiteY1" fmla="*/ 257442 h 257442"/>
                <a:gd name="connsiteX2" fmla="*/ 0 w 2577849"/>
                <a:gd name="connsiteY2" fmla="*/ 257442 h 257442"/>
                <a:gd name="connsiteX3" fmla="*/ 0 w 2577849"/>
                <a:gd name="connsiteY3" fmla="*/ 0 h 257442"/>
                <a:gd name="connsiteX0" fmla="*/ 2908067 w 2908067"/>
                <a:gd name="connsiteY0" fmla="*/ 0 h 257442"/>
                <a:gd name="connsiteX1" fmla="*/ 2523128 w 2908067"/>
                <a:gd name="connsiteY1" fmla="*/ 257442 h 257442"/>
                <a:gd name="connsiteX2" fmla="*/ 0 w 2908067"/>
                <a:gd name="connsiteY2" fmla="*/ 257442 h 257442"/>
                <a:gd name="connsiteX3" fmla="*/ 0 w 2908067"/>
                <a:gd name="connsiteY3" fmla="*/ 0 h 257442"/>
                <a:gd name="connsiteX0" fmla="*/ 2908067 w 2908067"/>
                <a:gd name="connsiteY0" fmla="*/ 0 h 257442"/>
                <a:gd name="connsiteX1" fmla="*/ 2853346 w 2908067"/>
                <a:gd name="connsiteY1" fmla="*/ 257442 h 257442"/>
                <a:gd name="connsiteX2" fmla="*/ 0 w 2908067"/>
                <a:gd name="connsiteY2" fmla="*/ 257442 h 257442"/>
                <a:gd name="connsiteX3" fmla="*/ 0 w 2908067"/>
                <a:gd name="connsiteY3" fmla="*/ 0 h 257442"/>
                <a:gd name="connsiteX0" fmla="*/ 2908067 w 2908067"/>
                <a:gd name="connsiteY0" fmla="*/ 0 h 257442"/>
                <a:gd name="connsiteX1" fmla="*/ 2853346 w 2908067"/>
                <a:gd name="connsiteY1" fmla="*/ 257442 h 257442"/>
                <a:gd name="connsiteX2" fmla="*/ 0 w 2908067"/>
                <a:gd name="connsiteY2" fmla="*/ 257442 h 257442"/>
                <a:gd name="connsiteX3" fmla="*/ 0 w 2908067"/>
                <a:gd name="connsiteY3" fmla="*/ 0 h 257442"/>
                <a:gd name="connsiteX0" fmla="*/ 2908067 w 2908067"/>
                <a:gd name="connsiteY0" fmla="*/ 0 h 257442"/>
                <a:gd name="connsiteX1" fmla="*/ 2853346 w 2908067"/>
                <a:gd name="connsiteY1" fmla="*/ 257442 h 257442"/>
                <a:gd name="connsiteX2" fmla="*/ 0 w 2908067"/>
                <a:gd name="connsiteY2" fmla="*/ 257442 h 257442"/>
                <a:gd name="connsiteX3" fmla="*/ 0 w 2908067"/>
                <a:gd name="connsiteY3" fmla="*/ 0 h 257442"/>
                <a:gd name="connsiteX0" fmla="*/ 3068368 w 3068368"/>
                <a:gd name="connsiteY0" fmla="*/ 0 h 257442"/>
                <a:gd name="connsiteX1" fmla="*/ 2853346 w 3068368"/>
                <a:gd name="connsiteY1" fmla="*/ 257442 h 257442"/>
                <a:gd name="connsiteX2" fmla="*/ 0 w 3068368"/>
                <a:gd name="connsiteY2" fmla="*/ 257442 h 257442"/>
                <a:gd name="connsiteX3" fmla="*/ 0 w 3068368"/>
                <a:gd name="connsiteY3" fmla="*/ 0 h 257442"/>
                <a:gd name="connsiteX0" fmla="*/ 3068368 w 3068368"/>
                <a:gd name="connsiteY0" fmla="*/ 0 h 257442"/>
                <a:gd name="connsiteX1" fmla="*/ 3013646 w 3068368"/>
                <a:gd name="connsiteY1" fmla="*/ 257442 h 257442"/>
                <a:gd name="connsiteX2" fmla="*/ 0 w 3068368"/>
                <a:gd name="connsiteY2" fmla="*/ 257442 h 257442"/>
                <a:gd name="connsiteX3" fmla="*/ 0 w 3068368"/>
                <a:gd name="connsiteY3" fmla="*/ 0 h 257442"/>
                <a:gd name="connsiteX0" fmla="*/ 3068369 w 3068369"/>
                <a:gd name="connsiteY0" fmla="*/ 0 h 257442"/>
                <a:gd name="connsiteX1" fmla="*/ 3013647 w 3068369"/>
                <a:gd name="connsiteY1" fmla="*/ 257442 h 257442"/>
                <a:gd name="connsiteX2" fmla="*/ 0 w 3068369"/>
                <a:gd name="connsiteY2" fmla="*/ 257442 h 257442"/>
                <a:gd name="connsiteX3" fmla="*/ 1 w 3068369"/>
                <a:gd name="connsiteY3" fmla="*/ 0 h 257442"/>
                <a:gd name="connsiteX0" fmla="*/ 3068369 w 3068369"/>
                <a:gd name="connsiteY0" fmla="*/ 0 h 257442"/>
                <a:gd name="connsiteX1" fmla="*/ 3013647 w 3068369"/>
                <a:gd name="connsiteY1" fmla="*/ 257442 h 257442"/>
                <a:gd name="connsiteX2" fmla="*/ 0 w 3068369"/>
                <a:gd name="connsiteY2" fmla="*/ 257442 h 257442"/>
                <a:gd name="connsiteX3" fmla="*/ 1 w 3068369"/>
                <a:gd name="connsiteY3" fmla="*/ 0 h 257442"/>
                <a:gd name="connsiteX0" fmla="*/ 3254317 w 3254317"/>
                <a:gd name="connsiteY0" fmla="*/ 0 h 257442"/>
                <a:gd name="connsiteX1" fmla="*/ 3013647 w 3254317"/>
                <a:gd name="connsiteY1" fmla="*/ 257442 h 257442"/>
                <a:gd name="connsiteX2" fmla="*/ 0 w 3254317"/>
                <a:gd name="connsiteY2" fmla="*/ 257442 h 257442"/>
                <a:gd name="connsiteX3" fmla="*/ 1 w 3254317"/>
                <a:gd name="connsiteY3" fmla="*/ 0 h 257442"/>
                <a:gd name="connsiteX0" fmla="*/ 3254317 w 3254317"/>
                <a:gd name="connsiteY0" fmla="*/ 0 h 257442"/>
                <a:gd name="connsiteX1" fmla="*/ 3199596 w 3254317"/>
                <a:gd name="connsiteY1" fmla="*/ 257442 h 257442"/>
                <a:gd name="connsiteX2" fmla="*/ 0 w 3254317"/>
                <a:gd name="connsiteY2" fmla="*/ 257442 h 257442"/>
                <a:gd name="connsiteX3" fmla="*/ 1 w 3254317"/>
                <a:gd name="connsiteY3" fmla="*/ 0 h 257442"/>
                <a:gd name="connsiteX0" fmla="*/ 3254316 w 3254316"/>
                <a:gd name="connsiteY0" fmla="*/ 0 h 257442"/>
                <a:gd name="connsiteX1" fmla="*/ 3199595 w 3254316"/>
                <a:gd name="connsiteY1" fmla="*/ 257442 h 257442"/>
                <a:gd name="connsiteX2" fmla="*/ 0 w 3254316"/>
                <a:gd name="connsiteY2" fmla="*/ 257442 h 257442"/>
                <a:gd name="connsiteX3" fmla="*/ 0 w 3254316"/>
                <a:gd name="connsiteY3" fmla="*/ 0 h 257442"/>
                <a:gd name="connsiteX0" fmla="*/ 3254317 w 3254317"/>
                <a:gd name="connsiteY0" fmla="*/ 0 h 257442"/>
                <a:gd name="connsiteX1" fmla="*/ 3199596 w 3254317"/>
                <a:gd name="connsiteY1" fmla="*/ 257442 h 257442"/>
                <a:gd name="connsiteX2" fmla="*/ 1 w 3254317"/>
                <a:gd name="connsiteY2" fmla="*/ 257442 h 257442"/>
                <a:gd name="connsiteX3" fmla="*/ 0 w 3254317"/>
                <a:gd name="connsiteY3" fmla="*/ 0 h 257442"/>
                <a:gd name="connsiteX0" fmla="*/ 3414617 w 3414617"/>
                <a:gd name="connsiteY0" fmla="*/ 0 h 257442"/>
                <a:gd name="connsiteX1" fmla="*/ 3199596 w 3414617"/>
                <a:gd name="connsiteY1" fmla="*/ 257442 h 257442"/>
                <a:gd name="connsiteX2" fmla="*/ 1 w 3414617"/>
                <a:gd name="connsiteY2" fmla="*/ 257442 h 257442"/>
                <a:gd name="connsiteX3" fmla="*/ 0 w 3414617"/>
                <a:gd name="connsiteY3" fmla="*/ 0 h 257442"/>
                <a:gd name="connsiteX0" fmla="*/ 3414617 w 3414617"/>
                <a:gd name="connsiteY0" fmla="*/ 0 h 257442"/>
                <a:gd name="connsiteX1" fmla="*/ 3359896 w 3414617"/>
                <a:gd name="connsiteY1" fmla="*/ 257442 h 257442"/>
                <a:gd name="connsiteX2" fmla="*/ 1 w 3414617"/>
                <a:gd name="connsiteY2" fmla="*/ 257442 h 257442"/>
                <a:gd name="connsiteX3" fmla="*/ 0 w 3414617"/>
                <a:gd name="connsiteY3" fmla="*/ 0 h 257442"/>
                <a:gd name="connsiteX0" fmla="*/ 3414617 w 3414617"/>
                <a:gd name="connsiteY0" fmla="*/ 0 h 257442"/>
                <a:gd name="connsiteX1" fmla="*/ 3359896 w 3414617"/>
                <a:gd name="connsiteY1" fmla="*/ 257442 h 257442"/>
                <a:gd name="connsiteX2" fmla="*/ 1 w 3414617"/>
                <a:gd name="connsiteY2" fmla="*/ 257442 h 257442"/>
                <a:gd name="connsiteX3" fmla="*/ 0 w 3414617"/>
                <a:gd name="connsiteY3" fmla="*/ 0 h 257442"/>
                <a:gd name="connsiteX0" fmla="*/ 3414616 w 3414616"/>
                <a:gd name="connsiteY0" fmla="*/ 0 h 257442"/>
                <a:gd name="connsiteX1" fmla="*/ 3359895 w 3414616"/>
                <a:gd name="connsiteY1" fmla="*/ 257442 h 257442"/>
                <a:gd name="connsiteX2" fmla="*/ 0 w 3414616"/>
                <a:gd name="connsiteY2" fmla="*/ 257442 h 257442"/>
                <a:gd name="connsiteX3" fmla="*/ 0 w 3414616"/>
                <a:gd name="connsiteY3" fmla="*/ 0 h 257442"/>
                <a:gd name="connsiteX0" fmla="*/ 3582931 w 3582931"/>
                <a:gd name="connsiteY0" fmla="*/ 0 h 257442"/>
                <a:gd name="connsiteX1" fmla="*/ 3359895 w 3582931"/>
                <a:gd name="connsiteY1" fmla="*/ 257442 h 257442"/>
                <a:gd name="connsiteX2" fmla="*/ 0 w 3582931"/>
                <a:gd name="connsiteY2" fmla="*/ 257442 h 257442"/>
                <a:gd name="connsiteX3" fmla="*/ 0 w 3582931"/>
                <a:gd name="connsiteY3" fmla="*/ 0 h 257442"/>
                <a:gd name="connsiteX0" fmla="*/ 3582931 w 3582931"/>
                <a:gd name="connsiteY0" fmla="*/ 0 h 257442"/>
                <a:gd name="connsiteX1" fmla="*/ 3528210 w 3582931"/>
                <a:gd name="connsiteY1" fmla="*/ 257442 h 257442"/>
                <a:gd name="connsiteX2" fmla="*/ 0 w 3582931"/>
                <a:gd name="connsiteY2" fmla="*/ 257442 h 257442"/>
                <a:gd name="connsiteX3" fmla="*/ 0 w 3582931"/>
                <a:gd name="connsiteY3" fmla="*/ 0 h 257442"/>
                <a:gd name="connsiteX0" fmla="*/ 3582932 w 3582932"/>
                <a:gd name="connsiteY0" fmla="*/ 0 h 257442"/>
                <a:gd name="connsiteX1" fmla="*/ 3528211 w 3582932"/>
                <a:gd name="connsiteY1" fmla="*/ 257442 h 257442"/>
                <a:gd name="connsiteX2" fmla="*/ 0 w 3582932"/>
                <a:gd name="connsiteY2" fmla="*/ 257442 h 257442"/>
                <a:gd name="connsiteX3" fmla="*/ 1 w 3582932"/>
                <a:gd name="connsiteY3" fmla="*/ 0 h 257442"/>
                <a:gd name="connsiteX0" fmla="*/ 3582932 w 3582932"/>
                <a:gd name="connsiteY0" fmla="*/ 0 h 257442"/>
                <a:gd name="connsiteX1" fmla="*/ 3528211 w 3582932"/>
                <a:gd name="connsiteY1" fmla="*/ 257442 h 257442"/>
                <a:gd name="connsiteX2" fmla="*/ 0 w 3582932"/>
                <a:gd name="connsiteY2" fmla="*/ 257442 h 257442"/>
                <a:gd name="connsiteX3" fmla="*/ 0 w 3582932"/>
                <a:gd name="connsiteY3" fmla="*/ 0 h 257442"/>
                <a:gd name="connsiteX0" fmla="*/ 950801 w 3528211"/>
                <a:gd name="connsiteY0" fmla="*/ 0 h 257442"/>
                <a:gd name="connsiteX1" fmla="*/ 3528211 w 3528211"/>
                <a:gd name="connsiteY1" fmla="*/ 257442 h 257442"/>
                <a:gd name="connsiteX2" fmla="*/ 0 w 3528211"/>
                <a:gd name="connsiteY2" fmla="*/ 257442 h 257442"/>
                <a:gd name="connsiteX3" fmla="*/ 0 w 3528211"/>
                <a:gd name="connsiteY3" fmla="*/ 0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0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0 w 950800"/>
                <a:gd name="connsiteY3" fmla="*/ 0 h 257442"/>
                <a:gd name="connsiteX0" fmla="*/ 1119115 w 1119115"/>
                <a:gd name="connsiteY0" fmla="*/ 0 h 257442"/>
                <a:gd name="connsiteX1" fmla="*/ 896080 w 1119115"/>
                <a:gd name="connsiteY1" fmla="*/ 257442 h 257442"/>
                <a:gd name="connsiteX2" fmla="*/ 0 w 1119115"/>
                <a:gd name="connsiteY2" fmla="*/ 257442 h 257442"/>
                <a:gd name="connsiteX3" fmla="*/ 0 w 1119115"/>
                <a:gd name="connsiteY3" fmla="*/ 0 h 257442"/>
                <a:gd name="connsiteX0" fmla="*/ 1119115 w 1119115"/>
                <a:gd name="connsiteY0" fmla="*/ 0 h 257442"/>
                <a:gd name="connsiteX1" fmla="*/ 1064394 w 1119115"/>
                <a:gd name="connsiteY1" fmla="*/ 257442 h 257442"/>
                <a:gd name="connsiteX2" fmla="*/ 0 w 1119115"/>
                <a:gd name="connsiteY2" fmla="*/ 257442 h 257442"/>
                <a:gd name="connsiteX3" fmla="*/ 0 w 1119115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1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380406 w 1380406"/>
                <a:gd name="connsiteY0" fmla="*/ 0 h 257442"/>
                <a:gd name="connsiteX1" fmla="*/ 1064395 w 1380406"/>
                <a:gd name="connsiteY1" fmla="*/ 257442 h 257442"/>
                <a:gd name="connsiteX2" fmla="*/ 0 w 1380406"/>
                <a:gd name="connsiteY2" fmla="*/ 257442 h 257442"/>
                <a:gd name="connsiteX3" fmla="*/ 0 w 1380406"/>
                <a:gd name="connsiteY3" fmla="*/ 0 h 257442"/>
                <a:gd name="connsiteX0" fmla="*/ 1380406 w 1380406"/>
                <a:gd name="connsiteY0" fmla="*/ 0 h 257442"/>
                <a:gd name="connsiteX1" fmla="*/ 1325685 w 1380406"/>
                <a:gd name="connsiteY1" fmla="*/ 257442 h 257442"/>
                <a:gd name="connsiteX2" fmla="*/ 0 w 1380406"/>
                <a:gd name="connsiteY2" fmla="*/ 257442 h 257442"/>
                <a:gd name="connsiteX3" fmla="*/ 0 w 1380406"/>
                <a:gd name="connsiteY3" fmla="*/ 0 h 257442"/>
                <a:gd name="connsiteX0" fmla="*/ 1380406 w 1380406"/>
                <a:gd name="connsiteY0" fmla="*/ 0 h 257442"/>
                <a:gd name="connsiteX1" fmla="*/ 1325685 w 1380406"/>
                <a:gd name="connsiteY1" fmla="*/ 257442 h 257442"/>
                <a:gd name="connsiteX2" fmla="*/ 0 w 1380406"/>
                <a:gd name="connsiteY2" fmla="*/ 257442 h 257442"/>
                <a:gd name="connsiteX3" fmla="*/ 0 w 1380406"/>
                <a:gd name="connsiteY3" fmla="*/ 0 h 257442"/>
                <a:gd name="connsiteX0" fmla="*/ 1380406 w 1380406"/>
                <a:gd name="connsiteY0" fmla="*/ 0 h 257442"/>
                <a:gd name="connsiteX1" fmla="*/ 1325685 w 1380406"/>
                <a:gd name="connsiteY1" fmla="*/ 257442 h 257442"/>
                <a:gd name="connsiteX2" fmla="*/ 0 w 1380406"/>
                <a:gd name="connsiteY2" fmla="*/ 257442 h 257442"/>
                <a:gd name="connsiteX3" fmla="*/ 0 w 1380406"/>
                <a:gd name="connsiteY3" fmla="*/ 0 h 257442"/>
                <a:gd name="connsiteX0" fmla="*/ 1540706 w 1540706"/>
                <a:gd name="connsiteY0" fmla="*/ 0 h 257442"/>
                <a:gd name="connsiteX1" fmla="*/ 1325685 w 1540706"/>
                <a:gd name="connsiteY1" fmla="*/ 257442 h 257442"/>
                <a:gd name="connsiteX2" fmla="*/ 0 w 1540706"/>
                <a:gd name="connsiteY2" fmla="*/ 257442 h 257442"/>
                <a:gd name="connsiteX3" fmla="*/ 0 w 1540706"/>
                <a:gd name="connsiteY3" fmla="*/ 0 h 257442"/>
                <a:gd name="connsiteX0" fmla="*/ 1540706 w 1540706"/>
                <a:gd name="connsiteY0" fmla="*/ 0 h 257442"/>
                <a:gd name="connsiteX1" fmla="*/ 1485985 w 1540706"/>
                <a:gd name="connsiteY1" fmla="*/ 257442 h 257442"/>
                <a:gd name="connsiteX2" fmla="*/ 0 w 1540706"/>
                <a:gd name="connsiteY2" fmla="*/ 257442 h 257442"/>
                <a:gd name="connsiteX3" fmla="*/ 0 w 1540706"/>
                <a:gd name="connsiteY3" fmla="*/ 0 h 257442"/>
                <a:gd name="connsiteX0" fmla="*/ 1540706 w 1540706"/>
                <a:gd name="connsiteY0" fmla="*/ 0 h 257442"/>
                <a:gd name="connsiteX1" fmla="*/ 1485985 w 1540706"/>
                <a:gd name="connsiteY1" fmla="*/ 257442 h 257442"/>
                <a:gd name="connsiteX2" fmla="*/ 0 w 1540706"/>
                <a:gd name="connsiteY2" fmla="*/ 257442 h 257442"/>
                <a:gd name="connsiteX3" fmla="*/ 0 w 1540706"/>
                <a:gd name="connsiteY3" fmla="*/ 0 h 257442"/>
                <a:gd name="connsiteX0" fmla="*/ 1540706 w 1540706"/>
                <a:gd name="connsiteY0" fmla="*/ 0 h 257442"/>
                <a:gd name="connsiteX1" fmla="*/ 1485985 w 1540706"/>
                <a:gd name="connsiteY1" fmla="*/ 257442 h 257442"/>
                <a:gd name="connsiteX2" fmla="*/ 0 w 1540706"/>
                <a:gd name="connsiteY2" fmla="*/ 257442 h 257442"/>
                <a:gd name="connsiteX3" fmla="*/ 0 w 1540706"/>
                <a:gd name="connsiteY3" fmla="*/ 0 h 257442"/>
                <a:gd name="connsiteX0" fmla="*/ 1709021 w 1709021"/>
                <a:gd name="connsiteY0" fmla="*/ 0 h 257442"/>
                <a:gd name="connsiteX1" fmla="*/ 1485985 w 1709021"/>
                <a:gd name="connsiteY1" fmla="*/ 257442 h 257442"/>
                <a:gd name="connsiteX2" fmla="*/ 0 w 1709021"/>
                <a:gd name="connsiteY2" fmla="*/ 257442 h 257442"/>
                <a:gd name="connsiteX3" fmla="*/ 0 w 1709021"/>
                <a:gd name="connsiteY3" fmla="*/ 0 h 257442"/>
                <a:gd name="connsiteX0" fmla="*/ 1709021 w 1709021"/>
                <a:gd name="connsiteY0" fmla="*/ 0 h 257442"/>
                <a:gd name="connsiteX1" fmla="*/ 1654300 w 1709021"/>
                <a:gd name="connsiteY1" fmla="*/ 257442 h 257442"/>
                <a:gd name="connsiteX2" fmla="*/ 0 w 1709021"/>
                <a:gd name="connsiteY2" fmla="*/ 257442 h 257442"/>
                <a:gd name="connsiteX3" fmla="*/ 0 w 1709021"/>
                <a:gd name="connsiteY3" fmla="*/ 0 h 257442"/>
                <a:gd name="connsiteX0" fmla="*/ 1709021 w 1709021"/>
                <a:gd name="connsiteY0" fmla="*/ 0 h 257442"/>
                <a:gd name="connsiteX1" fmla="*/ 1654300 w 1709021"/>
                <a:gd name="connsiteY1" fmla="*/ 257442 h 257442"/>
                <a:gd name="connsiteX2" fmla="*/ 0 w 1709021"/>
                <a:gd name="connsiteY2" fmla="*/ 257442 h 257442"/>
                <a:gd name="connsiteX3" fmla="*/ 0 w 1709021"/>
                <a:gd name="connsiteY3" fmla="*/ 0 h 257442"/>
                <a:gd name="connsiteX0" fmla="*/ 1709021 w 1709021"/>
                <a:gd name="connsiteY0" fmla="*/ 0 h 257442"/>
                <a:gd name="connsiteX1" fmla="*/ 1654300 w 1709021"/>
                <a:gd name="connsiteY1" fmla="*/ 257442 h 257442"/>
                <a:gd name="connsiteX2" fmla="*/ 0 w 1709021"/>
                <a:gd name="connsiteY2" fmla="*/ 257442 h 257442"/>
                <a:gd name="connsiteX3" fmla="*/ 0 w 1709021"/>
                <a:gd name="connsiteY3" fmla="*/ 0 h 257442"/>
                <a:gd name="connsiteX0" fmla="*/ 1869321 w 1869321"/>
                <a:gd name="connsiteY0" fmla="*/ 0 h 257442"/>
                <a:gd name="connsiteX1" fmla="*/ 1654300 w 1869321"/>
                <a:gd name="connsiteY1" fmla="*/ 257442 h 257442"/>
                <a:gd name="connsiteX2" fmla="*/ 0 w 1869321"/>
                <a:gd name="connsiteY2" fmla="*/ 257442 h 257442"/>
                <a:gd name="connsiteX3" fmla="*/ 0 w 1869321"/>
                <a:gd name="connsiteY3" fmla="*/ 0 h 257442"/>
                <a:gd name="connsiteX0" fmla="*/ 1869321 w 1869321"/>
                <a:gd name="connsiteY0" fmla="*/ 0 h 257442"/>
                <a:gd name="connsiteX1" fmla="*/ 1814600 w 1869321"/>
                <a:gd name="connsiteY1" fmla="*/ 257442 h 257442"/>
                <a:gd name="connsiteX2" fmla="*/ 0 w 1869321"/>
                <a:gd name="connsiteY2" fmla="*/ 257442 h 257442"/>
                <a:gd name="connsiteX3" fmla="*/ 0 w 1869321"/>
                <a:gd name="connsiteY3" fmla="*/ 0 h 257442"/>
                <a:gd name="connsiteX0" fmla="*/ 1869321 w 1869321"/>
                <a:gd name="connsiteY0" fmla="*/ 0 h 257442"/>
                <a:gd name="connsiteX1" fmla="*/ 1814600 w 1869321"/>
                <a:gd name="connsiteY1" fmla="*/ 257442 h 257442"/>
                <a:gd name="connsiteX2" fmla="*/ 0 w 1869321"/>
                <a:gd name="connsiteY2" fmla="*/ 257442 h 257442"/>
                <a:gd name="connsiteX3" fmla="*/ 0 w 1869321"/>
                <a:gd name="connsiteY3" fmla="*/ 0 h 257442"/>
                <a:gd name="connsiteX0" fmla="*/ 1869321 w 1869321"/>
                <a:gd name="connsiteY0" fmla="*/ 0 h 257442"/>
                <a:gd name="connsiteX1" fmla="*/ 1814600 w 1869321"/>
                <a:gd name="connsiteY1" fmla="*/ 257442 h 257442"/>
                <a:gd name="connsiteX2" fmla="*/ 0 w 1869321"/>
                <a:gd name="connsiteY2" fmla="*/ 257442 h 257442"/>
                <a:gd name="connsiteX3" fmla="*/ 0 w 1869321"/>
                <a:gd name="connsiteY3" fmla="*/ 0 h 257442"/>
                <a:gd name="connsiteX0" fmla="*/ 1709021 w 1814600"/>
                <a:gd name="connsiteY0" fmla="*/ 0 h 257442"/>
                <a:gd name="connsiteX1" fmla="*/ 1814600 w 1814600"/>
                <a:gd name="connsiteY1" fmla="*/ 257442 h 257442"/>
                <a:gd name="connsiteX2" fmla="*/ 0 w 1814600"/>
                <a:gd name="connsiteY2" fmla="*/ 257442 h 257442"/>
                <a:gd name="connsiteX3" fmla="*/ 0 w 1814600"/>
                <a:gd name="connsiteY3" fmla="*/ 0 h 257442"/>
                <a:gd name="connsiteX0" fmla="*/ 1709021 w 1709021"/>
                <a:gd name="connsiteY0" fmla="*/ 0 h 257442"/>
                <a:gd name="connsiteX1" fmla="*/ 1654300 w 1709021"/>
                <a:gd name="connsiteY1" fmla="*/ 257442 h 257442"/>
                <a:gd name="connsiteX2" fmla="*/ 0 w 1709021"/>
                <a:gd name="connsiteY2" fmla="*/ 257442 h 257442"/>
                <a:gd name="connsiteX3" fmla="*/ 0 w 1709021"/>
                <a:gd name="connsiteY3" fmla="*/ 0 h 257442"/>
                <a:gd name="connsiteX0" fmla="*/ 1709021 w 1709021"/>
                <a:gd name="connsiteY0" fmla="*/ 0 h 257442"/>
                <a:gd name="connsiteX1" fmla="*/ 1654300 w 1709021"/>
                <a:gd name="connsiteY1" fmla="*/ 257442 h 257442"/>
                <a:gd name="connsiteX2" fmla="*/ 1 w 1709021"/>
                <a:gd name="connsiteY2" fmla="*/ 257442 h 257442"/>
                <a:gd name="connsiteX3" fmla="*/ 0 w 1709021"/>
                <a:gd name="connsiteY3" fmla="*/ 0 h 257442"/>
                <a:gd name="connsiteX0" fmla="*/ 1709020 w 1709020"/>
                <a:gd name="connsiteY0" fmla="*/ 0 h 257442"/>
                <a:gd name="connsiteX1" fmla="*/ 1654299 w 1709020"/>
                <a:gd name="connsiteY1" fmla="*/ 257442 h 257442"/>
                <a:gd name="connsiteX2" fmla="*/ 0 w 1709020"/>
                <a:gd name="connsiteY2" fmla="*/ 257442 h 257442"/>
                <a:gd name="connsiteX3" fmla="*/ 0 w 1709020"/>
                <a:gd name="connsiteY3" fmla="*/ 0 h 257442"/>
                <a:gd name="connsiteX0" fmla="*/ 1540705 w 1654299"/>
                <a:gd name="connsiteY0" fmla="*/ 0 h 257442"/>
                <a:gd name="connsiteX1" fmla="*/ 1654299 w 1654299"/>
                <a:gd name="connsiteY1" fmla="*/ 257442 h 257442"/>
                <a:gd name="connsiteX2" fmla="*/ 0 w 1654299"/>
                <a:gd name="connsiteY2" fmla="*/ 257442 h 257442"/>
                <a:gd name="connsiteX3" fmla="*/ 0 w 1654299"/>
                <a:gd name="connsiteY3" fmla="*/ 0 h 257442"/>
                <a:gd name="connsiteX0" fmla="*/ 1540705 w 1540705"/>
                <a:gd name="connsiteY0" fmla="*/ 0 h 257442"/>
                <a:gd name="connsiteX1" fmla="*/ 1485985 w 1540705"/>
                <a:gd name="connsiteY1" fmla="*/ 257442 h 257442"/>
                <a:gd name="connsiteX2" fmla="*/ 0 w 1540705"/>
                <a:gd name="connsiteY2" fmla="*/ 257442 h 257442"/>
                <a:gd name="connsiteX3" fmla="*/ 0 w 1540705"/>
                <a:gd name="connsiteY3" fmla="*/ 0 h 257442"/>
                <a:gd name="connsiteX0" fmla="*/ 1540705 w 1540705"/>
                <a:gd name="connsiteY0" fmla="*/ 0 h 257442"/>
                <a:gd name="connsiteX1" fmla="*/ 1485985 w 1540705"/>
                <a:gd name="connsiteY1" fmla="*/ 257442 h 257442"/>
                <a:gd name="connsiteX2" fmla="*/ 0 w 1540705"/>
                <a:gd name="connsiteY2" fmla="*/ 257442 h 257442"/>
                <a:gd name="connsiteX3" fmla="*/ 0 w 1540705"/>
                <a:gd name="connsiteY3" fmla="*/ 0 h 257442"/>
                <a:gd name="connsiteX0" fmla="*/ 1540705 w 1540705"/>
                <a:gd name="connsiteY0" fmla="*/ 0 h 257442"/>
                <a:gd name="connsiteX1" fmla="*/ 1485985 w 1540705"/>
                <a:gd name="connsiteY1" fmla="*/ 257442 h 257442"/>
                <a:gd name="connsiteX2" fmla="*/ 0 w 1540705"/>
                <a:gd name="connsiteY2" fmla="*/ 257442 h 257442"/>
                <a:gd name="connsiteX3" fmla="*/ 0 w 1540705"/>
                <a:gd name="connsiteY3" fmla="*/ 0 h 257442"/>
                <a:gd name="connsiteX0" fmla="*/ 1380406 w 1485985"/>
                <a:gd name="connsiteY0" fmla="*/ 0 h 257442"/>
                <a:gd name="connsiteX1" fmla="*/ 1485985 w 1485985"/>
                <a:gd name="connsiteY1" fmla="*/ 257442 h 257442"/>
                <a:gd name="connsiteX2" fmla="*/ 0 w 1485985"/>
                <a:gd name="connsiteY2" fmla="*/ 257442 h 257442"/>
                <a:gd name="connsiteX3" fmla="*/ 0 w 1485985"/>
                <a:gd name="connsiteY3" fmla="*/ 0 h 257442"/>
                <a:gd name="connsiteX0" fmla="*/ 1380406 w 1380406"/>
                <a:gd name="connsiteY0" fmla="*/ 0 h 257442"/>
                <a:gd name="connsiteX1" fmla="*/ 1325685 w 1380406"/>
                <a:gd name="connsiteY1" fmla="*/ 257442 h 257442"/>
                <a:gd name="connsiteX2" fmla="*/ 0 w 1380406"/>
                <a:gd name="connsiteY2" fmla="*/ 257442 h 257442"/>
                <a:gd name="connsiteX3" fmla="*/ 0 w 1380406"/>
                <a:gd name="connsiteY3" fmla="*/ 0 h 257442"/>
                <a:gd name="connsiteX0" fmla="*/ 1380406 w 1380406"/>
                <a:gd name="connsiteY0" fmla="*/ 0 h 257442"/>
                <a:gd name="connsiteX1" fmla="*/ 1325685 w 1380406"/>
                <a:gd name="connsiteY1" fmla="*/ 257442 h 257442"/>
                <a:gd name="connsiteX2" fmla="*/ 0 w 1380406"/>
                <a:gd name="connsiteY2" fmla="*/ 257442 h 257442"/>
                <a:gd name="connsiteX3" fmla="*/ 0 w 1380406"/>
                <a:gd name="connsiteY3" fmla="*/ 0 h 257442"/>
                <a:gd name="connsiteX0" fmla="*/ 1380406 w 1380406"/>
                <a:gd name="connsiteY0" fmla="*/ 0 h 257442"/>
                <a:gd name="connsiteX1" fmla="*/ 1325685 w 1380406"/>
                <a:gd name="connsiteY1" fmla="*/ 257442 h 257442"/>
                <a:gd name="connsiteX2" fmla="*/ 0 w 1380406"/>
                <a:gd name="connsiteY2" fmla="*/ 257442 h 257442"/>
                <a:gd name="connsiteX3" fmla="*/ 0 w 1380406"/>
                <a:gd name="connsiteY3" fmla="*/ 0 h 257442"/>
                <a:gd name="connsiteX0" fmla="*/ 1220106 w 1325685"/>
                <a:gd name="connsiteY0" fmla="*/ 0 h 257442"/>
                <a:gd name="connsiteX1" fmla="*/ 1325685 w 1325685"/>
                <a:gd name="connsiteY1" fmla="*/ 257442 h 257442"/>
                <a:gd name="connsiteX2" fmla="*/ 0 w 1325685"/>
                <a:gd name="connsiteY2" fmla="*/ 257442 h 257442"/>
                <a:gd name="connsiteX3" fmla="*/ 0 w 1325685"/>
                <a:gd name="connsiteY3" fmla="*/ 0 h 257442"/>
                <a:gd name="connsiteX0" fmla="*/ 1220106 w 1220106"/>
                <a:gd name="connsiteY0" fmla="*/ 0 h 257442"/>
                <a:gd name="connsiteX1" fmla="*/ 1165386 w 1220106"/>
                <a:gd name="connsiteY1" fmla="*/ 257442 h 257442"/>
                <a:gd name="connsiteX2" fmla="*/ 0 w 1220106"/>
                <a:gd name="connsiteY2" fmla="*/ 257442 h 257442"/>
                <a:gd name="connsiteX3" fmla="*/ 0 w 1220106"/>
                <a:gd name="connsiteY3" fmla="*/ 0 h 257442"/>
                <a:gd name="connsiteX0" fmla="*/ 1220106 w 1220106"/>
                <a:gd name="connsiteY0" fmla="*/ 0 h 257442"/>
                <a:gd name="connsiteX1" fmla="*/ 1165386 w 1220106"/>
                <a:gd name="connsiteY1" fmla="*/ 257442 h 257442"/>
                <a:gd name="connsiteX2" fmla="*/ 1 w 1220106"/>
                <a:gd name="connsiteY2" fmla="*/ 257442 h 257442"/>
                <a:gd name="connsiteX3" fmla="*/ 0 w 1220106"/>
                <a:gd name="connsiteY3" fmla="*/ 0 h 257442"/>
                <a:gd name="connsiteX0" fmla="*/ 1220105 w 1220105"/>
                <a:gd name="connsiteY0" fmla="*/ 0 h 257442"/>
                <a:gd name="connsiteX1" fmla="*/ 1165385 w 1220105"/>
                <a:gd name="connsiteY1" fmla="*/ 257442 h 257442"/>
                <a:gd name="connsiteX2" fmla="*/ 0 w 1220105"/>
                <a:gd name="connsiteY2" fmla="*/ 257442 h 257442"/>
                <a:gd name="connsiteX3" fmla="*/ 0 w 1220105"/>
                <a:gd name="connsiteY3" fmla="*/ 0 h 257442"/>
                <a:gd name="connsiteX0" fmla="*/ 1119116 w 1165385"/>
                <a:gd name="connsiteY0" fmla="*/ 0 h 257442"/>
                <a:gd name="connsiteX1" fmla="*/ 1165385 w 1165385"/>
                <a:gd name="connsiteY1" fmla="*/ 257442 h 257442"/>
                <a:gd name="connsiteX2" fmla="*/ 0 w 1165385"/>
                <a:gd name="connsiteY2" fmla="*/ 257442 h 257442"/>
                <a:gd name="connsiteX3" fmla="*/ 0 w 1165385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950801 w 1064395"/>
                <a:gd name="connsiteY0" fmla="*/ 0 h 257442"/>
                <a:gd name="connsiteX1" fmla="*/ 1064395 w 1064395"/>
                <a:gd name="connsiteY1" fmla="*/ 257442 h 257442"/>
                <a:gd name="connsiteX2" fmla="*/ 0 w 1064395"/>
                <a:gd name="connsiteY2" fmla="*/ 257442 h 257442"/>
                <a:gd name="connsiteX3" fmla="*/ 0 w 1064395"/>
                <a:gd name="connsiteY3" fmla="*/ 0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0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0 w 950800"/>
                <a:gd name="connsiteY3" fmla="*/ 0 h 257442"/>
                <a:gd name="connsiteX0" fmla="*/ 782549 w 896080"/>
                <a:gd name="connsiteY0" fmla="*/ 0 h 257442"/>
                <a:gd name="connsiteX1" fmla="*/ 896080 w 896080"/>
                <a:gd name="connsiteY1" fmla="*/ 257442 h 257442"/>
                <a:gd name="connsiteX2" fmla="*/ 0 w 896080"/>
                <a:gd name="connsiteY2" fmla="*/ 257442 h 257442"/>
                <a:gd name="connsiteX3" fmla="*/ 0 w 896080"/>
                <a:gd name="connsiteY3" fmla="*/ 0 h 257442"/>
                <a:gd name="connsiteX0" fmla="*/ 782549 w 782549"/>
                <a:gd name="connsiteY0" fmla="*/ 0 h 257442"/>
                <a:gd name="connsiteX1" fmla="*/ 727828 w 782549"/>
                <a:gd name="connsiteY1" fmla="*/ 257442 h 257442"/>
                <a:gd name="connsiteX2" fmla="*/ 0 w 782549"/>
                <a:gd name="connsiteY2" fmla="*/ 257442 h 257442"/>
                <a:gd name="connsiteX3" fmla="*/ 0 w 782549"/>
                <a:gd name="connsiteY3" fmla="*/ 0 h 257442"/>
                <a:gd name="connsiteX0" fmla="*/ 782549 w 782549"/>
                <a:gd name="connsiteY0" fmla="*/ 0 h 257442"/>
                <a:gd name="connsiteX1" fmla="*/ 727828 w 782549"/>
                <a:gd name="connsiteY1" fmla="*/ 257442 h 257442"/>
                <a:gd name="connsiteX2" fmla="*/ 0 w 782549"/>
                <a:gd name="connsiteY2" fmla="*/ 257442 h 257442"/>
                <a:gd name="connsiteX3" fmla="*/ 0 w 782549"/>
                <a:gd name="connsiteY3" fmla="*/ 0 h 257442"/>
                <a:gd name="connsiteX0" fmla="*/ 782549 w 782549"/>
                <a:gd name="connsiteY0" fmla="*/ 0 h 257442"/>
                <a:gd name="connsiteX1" fmla="*/ 727828 w 782549"/>
                <a:gd name="connsiteY1" fmla="*/ 257442 h 257442"/>
                <a:gd name="connsiteX2" fmla="*/ 0 w 782549"/>
                <a:gd name="connsiteY2" fmla="*/ 257442 h 257442"/>
                <a:gd name="connsiteX3" fmla="*/ 0 w 782549"/>
                <a:gd name="connsiteY3" fmla="*/ 0 h 257442"/>
                <a:gd name="connsiteX0" fmla="*/ 1128734 w 1128734"/>
                <a:gd name="connsiteY0" fmla="*/ 0 h 257442"/>
                <a:gd name="connsiteX1" fmla="*/ 727828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128734 w 1128734"/>
                <a:gd name="connsiteY0" fmla="*/ 0 h 257442"/>
                <a:gd name="connsiteX1" fmla="*/ 1074012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128735 w 1128735"/>
                <a:gd name="connsiteY0" fmla="*/ 0 h 257442"/>
                <a:gd name="connsiteX1" fmla="*/ 1074013 w 1128735"/>
                <a:gd name="connsiteY1" fmla="*/ 257442 h 257442"/>
                <a:gd name="connsiteX2" fmla="*/ 0 w 1128735"/>
                <a:gd name="connsiteY2" fmla="*/ 257442 h 257442"/>
                <a:gd name="connsiteX3" fmla="*/ 1 w 1128735"/>
                <a:gd name="connsiteY3" fmla="*/ 0 h 257442"/>
                <a:gd name="connsiteX0" fmla="*/ 1128735 w 1128735"/>
                <a:gd name="connsiteY0" fmla="*/ 0 h 257442"/>
                <a:gd name="connsiteX1" fmla="*/ 1074013 w 1128735"/>
                <a:gd name="connsiteY1" fmla="*/ 257442 h 257442"/>
                <a:gd name="connsiteX2" fmla="*/ 0 w 1128735"/>
                <a:gd name="connsiteY2" fmla="*/ 257442 h 257442"/>
                <a:gd name="connsiteX3" fmla="*/ 1 w 1128735"/>
                <a:gd name="connsiteY3" fmla="*/ 0 h 257442"/>
                <a:gd name="connsiteX0" fmla="*/ 1289035 w 1289035"/>
                <a:gd name="connsiteY0" fmla="*/ 0 h 257442"/>
                <a:gd name="connsiteX1" fmla="*/ 1074013 w 1289035"/>
                <a:gd name="connsiteY1" fmla="*/ 257442 h 257442"/>
                <a:gd name="connsiteX2" fmla="*/ 0 w 1289035"/>
                <a:gd name="connsiteY2" fmla="*/ 257442 h 257442"/>
                <a:gd name="connsiteX3" fmla="*/ 1 w 1289035"/>
                <a:gd name="connsiteY3" fmla="*/ 0 h 257442"/>
                <a:gd name="connsiteX0" fmla="*/ 1289035 w 1289035"/>
                <a:gd name="connsiteY0" fmla="*/ 0 h 257442"/>
                <a:gd name="connsiteX1" fmla="*/ 1234314 w 1289035"/>
                <a:gd name="connsiteY1" fmla="*/ 257442 h 257442"/>
                <a:gd name="connsiteX2" fmla="*/ 0 w 1289035"/>
                <a:gd name="connsiteY2" fmla="*/ 257442 h 257442"/>
                <a:gd name="connsiteX3" fmla="*/ 1 w 1289035"/>
                <a:gd name="connsiteY3" fmla="*/ 0 h 257442"/>
                <a:gd name="connsiteX0" fmla="*/ 1289034 w 1289034"/>
                <a:gd name="connsiteY0" fmla="*/ 0 h 257442"/>
                <a:gd name="connsiteX1" fmla="*/ 1234313 w 1289034"/>
                <a:gd name="connsiteY1" fmla="*/ 257442 h 257442"/>
                <a:gd name="connsiteX2" fmla="*/ 0 w 1289034"/>
                <a:gd name="connsiteY2" fmla="*/ 257442 h 257442"/>
                <a:gd name="connsiteX3" fmla="*/ 0 w 1289034"/>
                <a:gd name="connsiteY3" fmla="*/ 0 h 257442"/>
                <a:gd name="connsiteX0" fmla="*/ 1289035 w 1289035"/>
                <a:gd name="connsiteY0" fmla="*/ 0 h 257442"/>
                <a:gd name="connsiteX1" fmla="*/ 1234314 w 1289035"/>
                <a:gd name="connsiteY1" fmla="*/ 257442 h 257442"/>
                <a:gd name="connsiteX2" fmla="*/ 1 w 1289035"/>
                <a:gd name="connsiteY2" fmla="*/ 257442 h 257442"/>
                <a:gd name="connsiteX3" fmla="*/ 0 w 1289035"/>
                <a:gd name="connsiteY3" fmla="*/ 0 h 257442"/>
                <a:gd name="connsiteX0" fmla="*/ 1457351 w 1457351"/>
                <a:gd name="connsiteY0" fmla="*/ 0 h 257442"/>
                <a:gd name="connsiteX1" fmla="*/ 1234314 w 1457351"/>
                <a:gd name="connsiteY1" fmla="*/ 257442 h 257442"/>
                <a:gd name="connsiteX2" fmla="*/ 1 w 1457351"/>
                <a:gd name="connsiteY2" fmla="*/ 257442 h 257442"/>
                <a:gd name="connsiteX3" fmla="*/ 0 w 1457351"/>
                <a:gd name="connsiteY3" fmla="*/ 0 h 257442"/>
                <a:gd name="connsiteX0" fmla="*/ 1457351 w 1457351"/>
                <a:gd name="connsiteY0" fmla="*/ 0 h 257442"/>
                <a:gd name="connsiteX1" fmla="*/ 1402630 w 1457351"/>
                <a:gd name="connsiteY1" fmla="*/ 257442 h 257442"/>
                <a:gd name="connsiteX2" fmla="*/ 1 w 1457351"/>
                <a:gd name="connsiteY2" fmla="*/ 257442 h 257442"/>
                <a:gd name="connsiteX3" fmla="*/ 0 w 1457351"/>
                <a:gd name="connsiteY3" fmla="*/ 0 h 257442"/>
                <a:gd name="connsiteX0" fmla="*/ 1457351 w 1457351"/>
                <a:gd name="connsiteY0" fmla="*/ 0 h 257442"/>
                <a:gd name="connsiteX1" fmla="*/ 1402630 w 1457351"/>
                <a:gd name="connsiteY1" fmla="*/ 257442 h 257442"/>
                <a:gd name="connsiteX2" fmla="*/ 1 w 1457351"/>
                <a:gd name="connsiteY2" fmla="*/ 257442 h 257442"/>
                <a:gd name="connsiteX3" fmla="*/ 0 w 1457351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635282 w 1635282"/>
                <a:gd name="connsiteY0" fmla="*/ 0 h 257442"/>
                <a:gd name="connsiteX1" fmla="*/ 1402629 w 1635282"/>
                <a:gd name="connsiteY1" fmla="*/ 257442 h 257442"/>
                <a:gd name="connsiteX2" fmla="*/ 0 w 1635282"/>
                <a:gd name="connsiteY2" fmla="*/ 257442 h 257442"/>
                <a:gd name="connsiteX3" fmla="*/ 0 w 1635282"/>
                <a:gd name="connsiteY3" fmla="*/ 0 h 257442"/>
                <a:gd name="connsiteX0" fmla="*/ 1635282 w 1635282"/>
                <a:gd name="connsiteY0" fmla="*/ 0 h 257442"/>
                <a:gd name="connsiteX1" fmla="*/ 1580561 w 1635282"/>
                <a:gd name="connsiteY1" fmla="*/ 257442 h 257442"/>
                <a:gd name="connsiteX2" fmla="*/ 0 w 1635282"/>
                <a:gd name="connsiteY2" fmla="*/ 257442 h 257442"/>
                <a:gd name="connsiteX3" fmla="*/ 0 w 1635282"/>
                <a:gd name="connsiteY3" fmla="*/ 0 h 257442"/>
                <a:gd name="connsiteX0" fmla="*/ 1635283 w 1635283"/>
                <a:gd name="connsiteY0" fmla="*/ 0 h 257442"/>
                <a:gd name="connsiteX1" fmla="*/ 1580562 w 1635283"/>
                <a:gd name="connsiteY1" fmla="*/ 257442 h 257442"/>
                <a:gd name="connsiteX2" fmla="*/ 0 w 1635283"/>
                <a:gd name="connsiteY2" fmla="*/ 257442 h 257442"/>
                <a:gd name="connsiteX3" fmla="*/ 1 w 1635283"/>
                <a:gd name="connsiteY3" fmla="*/ 0 h 257442"/>
                <a:gd name="connsiteX0" fmla="*/ 1635283 w 1635283"/>
                <a:gd name="connsiteY0" fmla="*/ 0 h 257442"/>
                <a:gd name="connsiteX1" fmla="*/ 1580562 w 1635283"/>
                <a:gd name="connsiteY1" fmla="*/ 257442 h 257442"/>
                <a:gd name="connsiteX2" fmla="*/ 0 w 1635283"/>
                <a:gd name="connsiteY2" fmla="*/ 257442 h 257442"/>
                <a:gd name="connsiteX3" fmla="*/ 1 w 1635283"/>
                <a:gd name="connsiteY3" fmla="*/ 0 h 257442"/>
                <a:gd name="connsiteX0" fmla="*/ 1904588 w 1904588"/>
                <a:gd name="connsiteY0" fmla="*/ 0 h 257442"/>
                <a:gd name="connsiteX1" fmla="*/ 1580562 w 1904588"/>
                <a:gd name="connsiteY1" fmla="*/ 257442 h 257442"/>
                <a:gd name="connsiteX2" fmla="*/ 0 w 1904588"/>
                <a:gd name="connsiteY2" fmla="*/ 257442 h 257442"/>
                <a:gd name="connsiteX3" fmla="*/ 1 w 1904588"/>
                <a:gd name="connsiteY3" fmla="*/ 0 h 257442"/>
                <a:gd name="connsiteX0" fmla="*/ 1904588 w 1904588"/>
                <a:gd name="connsiteY0" fmla="*/ 0 h 257442"/>
                <a:gd name="connsiteX1" fmla="*/ 1849866 w 1904588"/>
                <a:gd name="connsiteY1" fmla="*/ 257442 h 257442"/>
                <a:gd name="connsiteX2" fmla="*/ 0 w 1904588"/>
                <a:gd name="connsiteY2" fmla="*/ 257442 h 257442"/>
                <a:gd name="connsiteX3" fmla="*/ 1 w 1904588"/>
                <a:gd name="connsiteY3" fmla="*/ 0 h 257442"/>
                <a:gd name="connsiteX0" fmla="*/ 1904588 w 1904588"/>
                <a:gd name="connsiteY0" fmla="*/ 0 h 257442"/>
                <a:gd name="connsiteX1" fmla="*/ 1849866 w 1904588"/>
                <a:gd name="connsiteY1" fmla="*/ 257442 h 257442"/>
                <a:gd name="connsiteX2" fmla="*/ 0 w 1904588"/>
                <a:gd name="connsiteY2" fmla="*/ 257442 h 257442"/>
                <a:gd name="connsiteX3" fmla="*/ 1 w 1904588"/>
                <a:gd name="connsiteY3" fmla="*/ 0 h 257442"/>
                <a:gd name="connsiteX0" fmla="*/ 1904588 w 1904588"/>
                <a:gd name="connsiteY0" fmla="*/ 0 h 257442"/>
                <a:gd name="connsiteX1" fmla="*/ 1849866 w 1904588"/>
                <a:gd name="connsiteY1" fmla="*/ 257442 h 257442"/>
                <a:gd name="connsiteX2" fmla="*/ 0 w 1904588"/>
                <a:gd name="connsiteY2" fmla="*/ 257442 h 257442"/>
                <a:gd name="connsiteX3" fmla="*/ 0 w 1904588"/>
                <a:gd name="connsiteY3" fmla="*/ 0 h 257442"/>
                <a:gd name="connsiteX0" fmla="*/ 2082521 w 2082521"/>
                <a:gd name="connsiteY0" fmla="*/ 0 h 257442"/>
                <a:gd name="connsiteX1" fmla="*/ 1849866 w 2082521"/>
                <a:gd name="connsiteY1" fmla="*/ 257442 h 257442"/>
                <a:gd name="connsiteX2" fmla="*/ 0 w 2082521"/>
                <a:gd name="connsiteY2" fmla="*/ 257442 h 257442"/>
                <a:gd name="connsiteX3" fmla="*/ 0 w 2082521"/>
                <a:gd name="connsiteY3" fmla="*/ 0 h 257442"/>
                <a:gd name="connsiteX0" fmla="*/ 2082521 w 2082521"/>
                <a:gd name="connsiteY0" fmla="*/ 0 h 257442"/>
                <a:gd name="connsiteX1" fmla="*/ 2027800 w 2082521"/>
                <a:gd name="connsiteY1" fmla="*/ 257442 h 257442"/>
                <a:gd name="connsiteX2" fmla="*/ 0 w 2082521"/>
                <a:gd name="connsiteY2" fmla="*/ 257442 h 257442"/>
                <a:gd name="connsiteX3" fmla="*/ 0 w 2082521"/>
                <a:gd name="connsiteY3" fmla="*/ 0 h 257442"/>
                <a:gd name="connsiteX0" fmla="*/ 2082521 w 2082521"/>
                <a:gd name="connsiteY0" fmla="*/ 0 h 257442"/>
                <a:gd name="connsiteX1" fmla="*/ 2027800 w 2082521"/>
                <a:gd name="connsiteY1" fmla="*/ 257442 h 257442"/>
                <a:gd name="connsiteX2" fmla="*/ 0 w 2082521"/>
                <a:gd name="connsiteY2" fmla="*/ 257442 h 257442"/>
                <a:gd name="connsiteX3" fmla="*/ 0 w 2082521"/>
                <a:gd name="connsiteY3" fmla="*/ 0 h 257442"/>
                <a:gd name="connsiteX0" fmla="*/ 2082521 w 2082521"/>
                <a:gd name="connsiteY0" fmla="*/ 0 h 257442"/>
                <a:gd name="connsiteX1" fmla="*/ 2027800 w 2082521"/>
                <a:gd name="connsiteY1" fmla="*/ 257442 h 257442"/>
                <a:gd name="connsiteX2" fmla="*/ 0 w 2082521"/>
                <a:gd name="connsiteY2" fmla="*/ 257442 h 257442"/>
                <a:gd name="connsiteX3" fmla="*/ 0 w 2082521"/>
                <a:gd name="connsiteY3" fmla="*/ 0 h 257442"/>
                <a:gd name="connsiteX0" fmla="*/ 2335796 w 2335796"/>
                <a:gd name="connsiteY0" fmla="*/ 0 h 257442"/>
                <a:gd name="connsiteX1" fmla="*/ 2027800 w 2335796"/>
                <a:gd name="connsiteY1" fmla="*/ 257442 h 257442"/>
                <a:gd name="connsiteX2" fmla="*/ 0 w 2335796"/>
                <a:gd name="connsiteY2" fmla="*/ 257442 h 257442"/>
                <a:gd name="connsiteX3" fmla="*/ 0 w 2335796"/>
                <a:gd name="connsiteY3" fmla="*/ 0 h 257442"/>
                <a:gd name="connsiteX0" fmla="*/ 2335796 w 2335796"/>
                <a:gd name="connsiteY0" fmla="*/ 0 h 257442"/>
                <a:gd name="connsiteX1" fmla="*/ 2281074 w 2335796"/>
                <a:gd name="connsiteY1" fmla="*/ 257442 h 257442"/>
                <a:gd name="connsiteX2" fmla="*/ 0 w 2335796"/>
                <a:gd name="connsiteY2" fmla="*/ 257442 h 257442"/>
                <a:gd name="connsiteX3" fmla="*/ 0 w 2335796"/>
                <a:gd name="connsiteY3" fmla="*/ 0 h 257442"/>
                <a:gd name="connsiteX0" fmla="*/ 2335797 w 2335797"/>
                <a:gd name="connsiteY0" fmla="*/ 0 h 257442"/>
                <a:gd name="connsiteX1" fmla="*/ 2281075 w 2335797"/>
                <a:gd name="connsiteY1" fmla="*/ 257442 h 257442"/>
                <a:gd name="connsiteX2" fmla="*/ 0 w 2335797"/>
                <a:gd name="connsiteY2" fmla="*/ 257442 h 257442"/>
                <a:gd name="connsiteX3" fmla="*/ 1 w 2335797"/>
                <a:gd name="connsiteY3" fmla="*/ 0 h 257442"/>
                <a:gd name="connsiteX0" fmla="*/ 2335797 w 2335797"/>
                <a:gd name="connsiteY0" fmla="*/ 0 h 257442"/>
                <a:gd name="connsiteX1" fmla="*/ 2281075 w 2335797"/>
                <a:gd name="connsiteY1" fmla="*/ 257442 h 257442"/>
                <a:gd name="connsiteX2" fmla="*/ 0 w 2335797"/>
                <a:gd name="connsiteY2" fmla="*/ 257442 h 257442"/>
                <a:gd name="connsiteX3" fmla="*/ 1 w 2335797"/>
                <a:gd name="connsiteY3" fmla="*/ 0 h 257442"/>
                <a:gd name="connsiteX0" fmla="*/ 2504111 w 2504111"/>
                <a:gd name="connsiteY0" fmla="*/ 0 h 257442"/>
                <a:gd name="connsiteX1" fmla="*/ 2281075 w 2504111"/>
                <a:gd name="connsiteY1" fmla="*/ 257442 h 257442"/>
                <a:gd name="connsiteX2" fmla="*/ 0 w 2504111"/>
                <a:gd name="connsiteY2" fmla="*/ 257442 h 257442"/>
                <a:gd name="connsiteX3" fmla="*/ 1 w 2504111"/>
                <a:gd name="connsiteY3" fmla="*/ 0 h 257442"/>
                <a:gd name="connsiteX0" fmla="*/ 2504111 w 2504111"/>
                <a:gd name="connsiteY0" fmla="*/ 0 h 257442"/>
                <a:gd name="connsiteX1" fmla="*/ 2449390 w 2504111"/>
                <a:gd name="connsiteY1" fmla="*/ 257442 h 257442"/>
                <a:gd name="connsiteX2" fmla="*/ 0 w 2504111"/>
                <a:gd name="connsiteY2" fmla="*/ 257442 h 257442"/>
                <a:gd name="connsiteX3" fmla="*/ 1 w 2504111"/>
                <a:gd name="connsiteY3" fmla="*/ 0 h 257442"/>
                <a:gd name="connsiteX0" fmla="*/ 2504110 w 2504110"/>
                <a:gd name="connsiteY0" fmla="*/ 0 h 257442"/>
                <a:gd name="connsiteX1" fmla="*/ 2449389 w 2504110"/>
                <a:gd name="connsiteY1" fmla="*/ 257442 h 257442"/>
                <a:gd name="connsiteX2" fmla="*/ 0 w 2504110"/>
                <a:gd name="connsiteY2" fmla="*/ 257442 h 257442"/>
                <a:gd name="connsiteX3" fmla="*/ 0 w 2504110"/>
                <a:gd name="connsiteY3" fmla="*/ 0 h 257442"/>
                <a:gd name="connsiteX0" fmla="*/ 2504111 w 2504111"/>
                <a:gd name="connsiteY0" fmla="*/ 0 h 257442"/>
                <a:gd name="connsiteX1" fmla="*/ 2449390 w 2504111"/>
                <a:gd name="connsiteY1" fmla="*/ 257442 h 257442"/>
                <a:gd name="connsiteX2" fmla="*/ 1 w 2504111"/>
                <a:gd name="connsiteY2" fmla="*/ 257442 h 257442"/>
                <a:gd name="connsiteX3" fmla="*/ 0 w 2504111"/>
                <a:gd name="connsiteY3" fmla="*/ 0 h 257442"/>
                <a:gd name="connsiteX0" fmla="*/ 2664412 w 2664412"/>
                <a:gd name="connsiteY0" fmla="*/ 0 h 257442"/>
                <a:gd name="connsiteX1" fmla="*/ 2449390 w 2664412"/>
                <a:gd name="connsiteY1" fmla="*/ 257442 h 257442"/>
                <a:gd name="connsiteX2" fmla="*/ 1 w 2664412"/>
                <a:gd name="connsiteY2" fmla="*/ 257442 h 257442"/>
                <a:gd name="connsiteX3" fmla="*/ 0 w 2664412"/>
                <a:gd name="connsiteY3" fmla="*/ 0 h 257442"/>
                <a:gd name="connsiteX0" fmla="*/ 2664412 w 2664412"/>
                <a:gd name="connsiteY0" fmla="*/ 0 h 257442"/>
                <a:gd name="connsiteX1" fmla="*/ 2609690 w 2664412"/>
                <a:gd name="connsiteY1" fmla="*/ 257442 h 257442"/>
                <a:gd name="connsiteX2" fmla="*/ 1 w 2664412"/>
                <a:gd name="connsiteY2" fmla="*/ 257442 h 257442"/>
                <a:gd name="connsiteX3" fmla="*/ 0 w 2664412"/>
                <a:gd name="connsiteY3" fmla="*/ 0 h 257442"/>
                <a:gd name="connsiteX0" fmla="*/ 2664412 w 2664412"/>
                <a:gd name="connsiteY0" fmla="*/ 0 h 257442"/>
                <a:gd name="connsiteX1" fmla="*/ 2609690 w 2664412"/>
                <a:gd name="connsiteY1" fmla="*/ 257442 h 257442"/>
                <a:gd name="connsiteX2" fmla="*/ 0 w 2664412"/>
                <a:gd name="connsiteY2" fmla="*/ 257442 h 257442"/>
                <a:gd name="connsiteX3" fmla="*/ 0 w 2664412"/>
                <a:gd name="connsiteY3" fmla="*/ 0 h 257442"/>
                <a:gd name="connsiteX0" fmla="*/ 2664412 w 2664412"/>
                <a:gd name="connsiteY0" fmla="*/ 0 h 257442"/>
                <a:gd name="connsiteX1" fmla="*/ 2609690 w 2664412"/>
                <a:gd name="connsiteY1" fmla="*/ 257442 h 257442"/>
                <a:gd name="connsiteX2" fmla="*/ 0 w 2664412"/>
                <a:gd name="connsiteY2" fmla="*/ 257442 h 257442"/>
                <a:gd name="connsiteX3" fmla="*/ 0 w 2664412"/>
                <a:gd name="connsiteY3" fmla="*/ 0 h 257442"/>
                <a:gd name="connsiteX0" fmla="*/ 2832727 w 2832727"/>
                <a:gd name="connsiteY0" fmla="*/ 0 h 257442"/>
                <a:gd name="connsiteX1" fmla="*/ 2609690 w 2832727"/>
                <a:gd name="connsiteY1" fmla="*/ 257442 h 257442"/>
                <a:gd name="connsiteX2" fmla="*/ 0 w 2832727"/>
                <a:gd name="connsiteY2" fmla="*/ 257442 h 257442"/>
                <a:gd name="connsiteX3" fmla="*/ 0 w 2832727"/>
                <a:gd name="connsiteY3" fmla="*/ 0 h 257442"/>
                <a:gd name="connsiteX0" fmla="*/ 2832727 w 2832727"/>
                <a:gd name="connsiteY0" fmla="*/ 0 h 257442"/>
                <a:gd name="connsiteX1" fmla="*/ 2778006 w 2832727"/>
                <a:gd name="connsiteY1" fmla="*/ 257442 h 257442"/>
                <a:gd name="connsiteX2" fmla="*/ 0 w 2832727"/>
                <a:gd name="connsiteY2" fmla="*/ 257442 h 257442"/>
                <a:gd name="connsiteX3" fmla="*/ 0 w 2832727"/>
                <a:gd name="connsiteY3" fmla="*/ 0 h 257442"/>
                <a:gd name="connsiteX0" fmla="*/ 2832727 w 2832727"/>
                <a:gd name="connsiteY0" fmla="*/ 0 h 257442"/>
                <a:gd name="connsiteX1" fmla="*/ 2778006 w 2832727"/>
                <a:gd name="connsiteY1" fmla="*/ 257442 h 257442"/>
                <a:gd name="connsiteX2" fmla="*/ 0 w 2832727"/>
                <a:gd name="connsiteY2" fmla="*/ 257442 h 257442"/>
                <a:gd name="connsiteX3" fmla="*/ 0 w 2832727"/>
                <a:gd name="connsiteY3" fmla="*/ 0 h 257442"/>
                <a:gd name="connsiteX0" fmla="*/ 2832727 w 2832727"/>
                <a:gd name="connsiteY0" fmla="*/ 0 h 257442"/>
                <a:gd name="connsiteX1" fmla="*/ 2778006 w 2832727"/>
                <a:gd name="connsiteY1" fmla="*/ 257442 h 257442"/>
                <a:gd name="connsiteX2" fmla="*/ 0 w 2832727"/>
                <a:gd name="connsiteY2" fmla="*/ 257442 h 257442"/>
                <a:gd name="connsiteX3" fmla="*/ 0 w 2832727"/>
                <a:gd name="connsiteY3" fmla="*/ 0 h 257442"/>
                <a:gd name="connsiteX0" fmla="*/ 3001041 w 3001041"/>
                <a:gd name="connsiteY0" fmla="*/ 0 h 257442"/>
                <a:gd name="connsiteX1" fmla="*/ 2778006 w 3001041"/>
                <a:gd name="connsiteY1" fmla="*/ 257442 h 257442"/>
                <a:gd name="connsiteX2" fmla="*/ 0 w 3001041"/>
                <a:gd name="connsiteY2" fmla="*/ 257442 h 257442"/>
                <a:gd name="connsiteX3" fmla="*/ 0 w 3001041"/>
                <a:gd name="connsiteY3" fmla="*/ 0 h 257442"/>
                <a:gd name="connsiteX0" fmla="*/ 3001041 w 3001041"/>
                <a:gd name="connsiteY0" fmla="*/ 0 h 257442"/>
                <a:gd name="connsiteX1" fmla="*/ 2946320 w 3001041"/>
                <a:gd name="connsiteY1" fmla="*/ 257442 h 257442"/>
                <a:gd name="connsiteX2" fmla="*/ 0 w 3001041"/>
                <a:gd name="connsiteY2" fmla="*/ 257442 h 257442"/>
                <a:gd name="connsiteX3" fmla="*/ 0 w 3001041"/>
                <a:gd name="connsiteY3" fmla="*/ 0 h 257442"/>
                <a:gd name="connsiteX0" fmla="*/ 3001041 w 3001041"/>
                <a:gd name="connsiteY0" fmla="*/ 0 h 257442"/>
                <a:gd name="connsiteX1" fmla="*/ 2946320 w 3001041"/>
                <a:gd name="connsiteY1" fmla="*/ 257442 h 257442"/>
                <a:gd name="connsiteX2" fmla="*/ 0 w 3001041"/>
                <a:gd name="connsiteY2" fmla="*/ 257442 h 257442"/>
                <a:gd name="connsiteX3" fmla="*/ 0 w 3001041"/>
                <a:gd name="connsiteY3" fmla="*/ 0 h 257442"/>
                <a:gd name="connsiteX0" fmla="*/ 3001041 w 3001041"/>
                <a:gd name="connsiteY0" fmla="*/ 0 h 257442"/>
                <a:gd name="connsiteX1" fmla="*/ 2946320 w 3001041"/>
                <a:gd name="connsiteY1" fmla="*/ 257442 h 257442"/>
                <a:gd name="connsiteX2" fmla="*/ 0 w 3001041"/>
                <a:gd name="connsiteY2" fmla="*/ 257442 h 257442"/>
                <a:gd name="connsiteX3" fmla="*/ 0 w 3001041"/>
                <a:gd name="connsiteY3" fmla="*/ 0 h 257442"/>
                <a:gd name="connsiteX0" fmla="*/ 3161342 w 3161342"/>
                <a:gd name="connsiteY0" fmla="*/ 0 h 257442"/>
                <a:gd name="connsiteX1" fmla="*/ 2946320 w 3161342"/>
                <a:gd name="connsiteY1" fmla="*/ 257442 h 257442"/>
                <a:gd name="connsiteX2" fmla="*/ 0 w 3161342"/>
                <a:gd name="connsiteY2" fmla="*/ 257442 h 257442"/>
                <a:gd name="connsiteX3" fmla="*/ 0 w 3161342"/>
                <a:gd name="connsiteY3" fmla="*/ 0 h 257442"/>
                <a:gd name="connsiteX0" fmla="*/ 3161342 w 3161342"/>
                <a:gd name="connsiteY0" fmla="*/ 0 h 257442"/>
                <a:gd name="connsiteX1" fmla="*/ 3106620 w 3161342"/>
                <a:gd name="connsiteY1" fmla="*/ 257442 h 257442"/>
                <a:gd name="connsiteX2" fmla="*/ 0 w 3161342"/>
                <a:gd name="connsiteY2" fmla="*/ 257442 h 257442"/>
                <a:gd name="connsiteX3" fmla="*/ 0 w 3161342"/>
                <a:gd name="connsiteY3" fmla="*/ 0 h 257442"/>
                <a:gd name="connsiteX0" fmla="*/ 3161343 w 3161343"/>
                <a:gd name="connsiteY0" fmla="*/ 0 h 257442"/>
                <a:gd name="connsiteX1" fmla="*/ 3106621 w 3161343"/>
                <a:gd name="connsiteY1" fmla="*/ 257442 h 257442"/>
                <a:gd name="connsiteX2" fmla="*/ 0 w 3161343"/>
                <a:gd name="connsiteY2" fmla="*/ 257442 h 257442"/>
                <a:gd name="connsiteX3" fmla="*/ 1 w 3161343"/>
                <a:gd name="connsiteY3" fmla="*/ 0 h 257442"/>
                <a:gd name="connsiteX0" fmla="*/ 3161343 w 3161343"/>
                <a:gd name="connsiteY0" fmla="*/ 0 h 257442"/>
                <a:gd name="connsiteX1" fmla="*/ 3106621 w 3161343"/>
                <a:gd name="connsiteY1" fmla="*/ 257442 h 257442"/>
                <a:gd name="connsiteX2" fmla="*/ 0 w 3161343"/>
                <a:gd name="connsiteY2" fmla="*/ 257442 h 257442"/>
                <a:gd name="connsiteX3" fmla="*/ 1 w 3161343"/>
                <a:gd name="connsiteY3" fmla="*/ 0 h 257442"/>
                <a:gd name="connsiteX0" fmla="*/ 950802 w 3106621"/>
                <a:gd name="connsiteY0" fmla="*/ 0 h 257442"/>
                <a:gd name="connsiteX1" fmla="*/ 3106621 w 3106621"/>
                <a:gd name="connsiteY1" fmla="*/ 257442 h 257442"/>
                <a:gd name="connsiteX2" fmla="*/ 0 w 3106621"/>
                <a:gd name="connsiteY2" fmla="*/ 257442 h 257442"/>
                <a:gd name="connsiteX3" fmla="*/ 1 w 3106621"/>
                <a:gd name="connsiteY3" fmla="*/ 0 h 257442"/>
                <a:gd name="connsiteX0" fmla="*/ 950802 w 950802"/>
                <a:gd name="connsiteY0" fmla="*/ 0 h 257442"/>
                <a:gd name="connsiteX1" fmla="*/ 896081 w 950802"/>
                <a:gd name="connsiteY1" fmla="*/ 257442 h 257442"/>
                <a:gd name="connsiteX2" fmla="*/ 0 w 950802"/>
                <a:gd name="connsiteY2" fmla="*/ 257442 h 257442"/>
                <a:gd name="connsiteX3" fmla="*/ 1 w 950802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1119116 w 1119116"/>
                <a:gd name="connsiteY0" fmla="*/ 0 h 257442"/>
                <a:gd name="connsiteX1" fmla="*/ 896080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119116 w 1119116"/>
                <a:gd name="connsiteY0" fmla="*/ 0 h 257442"/>
                <a:gd name="connsiteX1" fmla="*/ 1064394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119117 w 1119117"/>
                <a:gd name="connsiteY0" fmla="*/ 0 h 257442"/>
                <a:gd name="connsiteX1" fmla="*/ 1064395 w 1119117"/>
                <a:gd name="connsiteY1" fmla="*/ 257442 h 257442"/>
                <a:gd name="connsiteX2" fmla="*/ 0 w 1119117"/>
                <a:gd name="connsiteY2" fmla="*/ 257442 h 257442"/>
                <a:gd name="connsiteX3" fmla="*/ 1 w 1119117"/>
                <a:gd name="connsiteY3" fmla="*/ 0 h 257442"/>
                <a:gd name="connsiteX0" fmla="*/ 1119117 w 1119117"/>
                <a:gd name="connsiteY0" fmla="*/ 0 h 257442"/>
                <a:gd name="connsiteX1" fmla="*/ 1064395 w 1119117"/>
                <a:gd name="connsiteY1" fmla="*/ 257442 h 257442"/>
                <a:gd name="connsiteX2" fmla="*/ 0 w 1119117"/>
                <a:gd name="connsiteY2" fmla="*/ 257442 h 257442"/>
                <a:gd name="connsiteX3" fmla="*/ 1 w 1119117"/>
                <a:gd name="connsiteY3" fmla="*/ 0 h 257442"/>
                <a:gd name="connsiteX0" fmla="*/ 1380407 w 1380407"/>
                <a:gd name="connsiteY0" fmla="*/ 0 h 257442"/>
                <a:gd name="connsiteX1" fmla="*/ 1064395 w 1380407"/>
                <a:gd name="connsiteY1" fmla="*/ 257442 h 257442"/>
                <a:gd name="connsiteX2" fmla="*/ 0 w 1380407"/>
                <a:gd name="connsiteY2" fmla="*/ 257442 h 257442"/>
                <a:gd name="connsiteX3" fmla="*/ 1 w 1380407"/>
                <a:gd name="connsiteY3" fmla="*/ 0 h 257442"/>
                <a:gd name="connsiteX0" fmla="*/ 1380407 w 1380407"/>
                <a:gd name="connsiteY0" fmla="*/ 0 h 257442"/>
                <a:gd name="connsiteX1" fmla="*/ 1325686 w 1380407"/>
                <a:gd name="connsiteY1" fmla="*/ 257442 h 257442"/>
                <a:gd name="connsiteX2" fmla="*/ 0 w 1380407"/>
                <a:gd name="connsiteY2" fmla="*/ 257442 h 257442"/>
                <a:gd name="connsiteX3" fmla="*/ 1 w 1380407"/>
                <a:gd name="connsiteY3" fmla="*/ 0 h 257442"/>
                <a:gd name="connsiteX0" fmla="*/ 1380406 w 1380406"/>
                <a:gd name="connsiteY0" fmla="*/ 0 h 257442"/>
                <a:gd name="connsiteX1" fmla="*/ 1325685 w 1380406"/>
                <a:gd name="connsiteY1" fmla="*/ 257442 h 257442"/>
                <a:gd name="connsiteX2" fmla="*/ 0 w 1380406"/>
                <a:gd name="connsiteY2" fmla="*/ 257442 h 257442"/>
                <a:gd name="connsiteX3" fmla="*/ 0 w 1380406"/>
                <a:gd name="connsiteY3" fmla="*/ 0 h 257442"/>
                <a:gd name="connsiteX0" fmla="*/ 1380407 w 1380407"/>
                <a:gd name="connsiteY0" fmla="*/ 0 h 257442"/>
                <a:gd name="connsiteX1" fmla="*/ 1325686 w 1380407"/>
                <a:gd name="connsiteY1" fmla="*/ 257442 h 257442"/>
                <a:gd name="connsiteX2" fmla="*/ 1 w 1380407"/>
                <a:gd name="connsiteY2" fmla="*/ 257442 h 257442"/>
                <a:gd name="connsiteX3" fmla="*/ 0 w 1380407"/>
                <a:gd name="connsiteY3" fmla="*/ 0 h 257442"/>
                <a:gd name="connsiteX0" fmla="*/ 1540707 w 1540707"/>
                <a:gd name="connsiteY0" fmla="*/ 0 h 257442"/>
                <a:gd name="connsiteX1" fmla="*/ 1325686 w 1540707"/>
                <a:gd name="connsiteY1" fmla="*/ 257442 h 257442"/>
                <a:gd name="connsiteX2" fmla="*/ 1 w 1540707"/>
                <a:gd name="connsiteY2" fmla="*/ 257442 h 257442"/>
                <a:gd name="connsiteX3" fmla="*/ 0 w 1540707"/>
                <a:gd name="connsiteY3" fmla="*/ 0 h 257442"/>
                <a:gd name="connsiteX0" fmla="*/ 1540707 w 1540707"/>
                <a:gd name="connsiteY0" fmla="*/ 0 h 257442"/>
                <a:gd name="connsiteX1" fmla="*/ 1485986 w 1540707"/>
                <a:gd name="connsiteY1" fmla="*/ 257442 h 257442"/>
                <a:gd name="connsiteX2" fmla="*/ 1 w 1540707"/>
                <a:gd name="connsiteY2" fmla="*/ 257442 h 257442"/>
                <a:gd name="connsiteX3" fmla="*/ 0 w 1540707"/>
                <a:gd name="connsiteY3" fmla="*/ 0 h 257442"/>
                <a:gd name="connsiteX0" fmla="*/ 1540707 w 1540707"/>
                <a:gd name="connsiteY0" fmla="*/ 0 h 257442"/>
                <a:gd name="connsiteX1" fmla="*/ 1485986 w 1540707"/>
                <a:gd name="connsiteY1" fmla="*/ 257442 h 257442"/>
                <a:gd name="connsiteX2" fmla="*/ 1 w 1540707"/>
                <a:gd name="connsiteY2" fmla="*/ 257442 h 257442"/>
                <a:gd name="connsiteX3" fmla="*/ 0 w 1540707"/>
                <a:gd name="connsiteY3" fmla="*/ 0 h 257442"/>
                <a:gd name="connsiteX0" fmla="*/ 1540706 w 1540706"/>
                <a:gd name="connsiteY0" fmla="*/ 0 h 257442"/>
                <a:gd name="connsiteX1" fmla="*/ 1485985 w 1540706"/>
                <a:gd name="connsiteY1" fmla="*/ 257442 h 257442"/>
                <a:gd name="connsiteX2" fmla="*/ 0 w 1540706"/>
                <a:gd name="connsiteY2" fmla="*/ 257442 h 257442"/>
                <a:gd name="connsiteX3" fmla="*/ 0 w 1540706"/>
                <a:gd name="connsiteY3" fmla="*/ 0 h 257442"/>
                <a:gd name="connsiteX0" fmla="*/ 1709020 w 1709020"/>
                <a:gd name="connsiteY0" fmla="*/ 0 h 257442"/>
                <a:gd name="connsiteX1" fmla="*/ 1485985 w 1709020"/>
                <a:gd name="connsiteY1" fmla="*/ 257442 h 257442"/>
                <a:gd name="connsiteX2" fmla="*/ 0 w 1709020"/>
                <a:gd name="connsiteY2" fmla="*/ 257442 h 257442"/>
                <a:gd name="connsiteX3" fmla="*/ 0 w 1709020"/>
                <a:gd name="connsiteY3" fmla="*/ 0 h 257442"/>
                <a:gd name="connsiteX0" fmla="*/ 1709020 w 1709020"/>
                <a:gd name="connsiteY0" fmla="*/ 0 h 257442"/>
                <a:gd name="connsiteX1" fmla="*/ 1654299 w 1709020"/>
                <a:gd name="connsiteY1" fmla="*/ 257442 h 257442"/>
                <a:gd name="connsiteX2" fmla="*/ 0 w 1709020"/>
                <a:gd name="connsiteY2" fmla="*/ 257442 h 257442"/>
                <a:gd name="connsiteX3" fmla="*/ 0 w 1709020"/>
                <a:gd name="connsiteY3" fmla="*/ 0 h 257442"/>
                <a:gd name="connsiteX0" fmla="*/ 1709021 w 1709021"/>
                <a:gd name="connsiteY0" fmla="*/ 0 h 257442"/>
                <a:gd name="connsiteX1" fmla="*/ 1654300 w 1709021"/>
                <a:gd name="connsiteY1" fmla="*/ 257442 h 257442"/>
                <a:gd name="connsiteX2" fmla="*/ 0 w 1709021"/>
                <a:gd name="connsiteY2" fmla="*/ 257442 h 257442"/>
                <a:gd name="connsiteX3" fmla="*/ 1 w 1709021"/>
                <a:gd name="connsiteY3" fmla="*/ 0 h 257442"/>
                <a:gd name="connsiteX0" fmla="*/ 1709021 w 1709021"/>
                <a:gd name="connsiteY0" fmla="*/ 0 h 257442"/>
                <a:gd name="connsiteX1" fmla="*/ 1654300 w 1709021"/>
                <a:gd name="connsiteY1" fmla="*/ 257442 h 257442"/>
                <a:gd name="connsiteX2" fmla="*/ 0 w 1709021"/>
                <a:gd name="connsiteY2" fmla="*/ 257442 h 257442"/>
                <a:gd name="connsiteX3" fmla="*/ 1 w 1709021"/>
                <a:gd name="connsiteY3" fmla="*/ 0 h 257442"/>
                <a:gd name="connsiteX0" fmla="*/ 1869322 w 1869322"/>
                <a:gd name="connsiteY0" fmla="*/ 0 h 257442"/>
                <a:gd name="connsiteX1" fmla="*/ 1654300 w 1869322"/>
                <a:gd name="connsiteY1" fmla="*/ 257442 h 257442"/>
                <a:gd name="connsiteX2" fmla="*/ 0 w 1869322"/>
                <a:gd name="connsiteY2" fmla="*/ 257442 h 257442"/>
                <a:gd name="connsiteX3" fmla="*/ 1 w 1869322"/>
                <a:gd name="connsiteY3" fmla="*/ 0 h 257442"/>
                <a:gd name="connsiteX0" fmla="*/ 1869322 w 1869322"/>
                <a:gd name="connsiteY0" fmla="*/ 0 h 257442"/>
                <a:gd name="connsiteX1" fmla="*/ 1814600 w 1869322"/>
                <a:gd name="connsiteY1" fmla="*/ 257442 h 257442"/>
                <a:gd name="connsiteX2" fmla="*/ 0 w 1869322"/>
                <a:gd name="connsiteY2" fmla="*/ 257442 h 257442"/>
                <a:gd name="connsiteX3" fmla="*/ 1 w 1869322"/>
                <a:gd name="connsiteY3" fmla="*/ 0 h 257442"/>
                <a:gd name="connsiteX0" fmla="*/ 1869322 w 1869322"/>
                <a:gd name="connsiteY0" fmla="*/ 0 h 257442"/>
                <a:gd name="connsiteX1" fmla="*/ 1814600 w 1869322"/>
                <a:gd name="connsiteY1" fmla="*/ 257442 h 257442"/>
                <a:gd name="connsiteX2" fmla="*/ 0 w 1869322"/>
                <a:gd name="connsiteY2" fmla="*/ 257442 h 257442"/>
                <a:gd name="connsiteX3" fmla="*/ 1 w 1869322"/>
                <a:gd name="connsiteY3" fmla="*/ 0 h 257442"/>
                <a:gd name="connsiteX0" fmla="*/ 1869322 w 1869322"/>
                <a:gd name="connsiteY0" fmla="*/ 0 h 257442"/>
                <a:gd name="connsiteX1" fmla="*/ 1814600 w 1869322"/>
                <a:gd name="connsiteY1" fmla="*/ 257442 h 257442"/>
                <a:gd name="connsiteX2" fmla="*/ 0 w 1869322"/>
                <a:gd name="connsiteY2" fmla="*/ 257442 h 257442"/>
                <a:gd name="connsiteX3" fmla="*/ 0 w 1869322"/>
                <a:gd name="connsiteY3" fmla="*/ 0 h 257442"/>
                <a:gd name="connsiteX0" fmla="*/ 2122596 w 2122596"/>
                <a:gd name="connsiteY0" fmla="*/ 0 h 257442"/>
                <a:gd name="connsiteX1" fmla="*/ 1814600 w 2122596"/>
                <a:gd name="connsiteY1" fmla="*/ 257442 h 257442"/>
                <a:gd name="connsiteX2" fmla="*/ 0 w 2122596"/>
                <a:gd name="connsiteY2" fmla="*/ 257442 h 257442"/>
                <a:gd name="connsiteX3" fmla="*/ 0 w 2122596"/>
                <a:gd name="connsiteY3" fmla="*/ 0 h 257442"/>
                <a:gd name="connsiteX0" fmla="*/ 2122596 w 2122596"/>
                <a:gd name="connsiteY0" fmla="*/ 0 h 257442"/>
                <a:gd name="connsiteX1" fmla="*/ 2067875 w 2122596"/>
                <a:gd name="connsiteY1" fmla="*/ 257442 h 257442"/>
                <a:gd name="connsiteX2" fmla="*/ 0 w 2122596"/>
                <a:gd name="connsiteY2" fmla="*/ 257442 h 257442"/>
                <a:gd name="connsiteX3" fmla="*/ 0 w 2122596"/>
                <a:gd name="connsiteY3" fmla="*/ 0 h 257442"/>
                <a:gd name="connsiteX0" fmla="*/ 2122596 w 2122596"/>
                <a:gd name="connsiteY0" fmla="*/ 0 h 257442"/>
                <a:gd name="connsiteX1" fmla="*/ 2067875 w 2122596"/>
                <a:gd name="connsiteY1" fmla="*/ 257442 h 257442"/>
                <a:gd name="connsiteX2" fmla="*/ 0 w 2122596"/>
                <a:gd name="connsiteY2" fmla="*/ 257442 h 257442"/>
                <a:gd name="connsiteX3" fmla="*/ 0 w 2122596"/>
                <a:gd name="connsiteY3" fmla="*/ 0 h 257442"/>
                <a:gd name="connsiteX0" fmla="*/ 2122596 w 2122596"/>
                <a:gd name="connsiteY0" fmla="*/ 0 h 257442"/>
                <a:gd name="connsiteX1" fmla="*/ 2067875 w 2122596"/>
                <a:gd name="connsiteY1" fmla="*/ 257442 h 257442"/>
                <a:gd name="connsiteX2" fmla="*/ 0 w 2122596"/>
                <a:gd name="connsiteY2" fmla="*/ 257442 h 257442"/>
                <a:gd name="connsiteX3" fmla="*/ 0 w 2122596"/>
                <a:gd name="connsiteY3" fmla="*/ 0 h 257442"/>
                <a:gd name="connsiteX0" fmla="*/ 2300530 w 2300530"/>
                <a:gd name="connsiteY0" fmla="*/ 0 h 257442"/>
                <a:gd name="connsiteX1" fmla="*/ 2067875 w 2300530"/>
                <a:gd name="connsiteY1" fmla="*/ 257442 h 257442"/>
                <a:gd name="connsiteX2" fmla="*/ 0 w 2300530"/>
                <a:gd name="connsiteY2" fmla="*/ 257442 h 257442"/>
                <a:gd name="connsiteX3" fmla="*/ 0 w 2300530"/>
                <a:gd name="connsiteY3" fmla="*/ 0 h 257442"/>
                <a:gd name="connsiteX0" fmla="*/ 2300530 w 2300530"/>
                <a:gd name="connsiteY0" fmla="*/ 0 h 257442"/>
                <a:gd name="connsiteX1" fmla="*/ 2245809 w 2300530"/>
                <a:gd name="connsiteY1" fmla="*/ 257442 h 257442"/>
                <a:gd name="connsiteX2" fmla="*/ 0 w 2300530"/>
                <a:gd name="connsiteY2" fmla="*/ 257442 h 257442"/>
                <a:gd name="connsiteX3" fmla="*/ 0 w 2300530"/>
                <a:gd name="connsiteY3" fmla="*/ 0 h 257442"/>
                <a:gd name="connsiteX0" fmla="*/ 2300530 w 2300530"/>
                <a:gd name="connsiteY0" fmla="*/ 0 h 257442"/>
                <a:gd name="connsiteX1" fmla="*/ 2245809 w 2300530"/>
                <a:gd name="connsiteY1" fmla="*/ 257442 h 257442"/>
                <a:gd name="connsiteX2" fmla="*/ 0 w 2300530"/>
                <a:gd name="connsiteY2" fmla="*/ 257442 h 257442"/>
                <a:gd name="connsiteX3" fmla="*/ 0 w 2300530"/>
                <a:gd name="connsiteY3" fmla="*/ 0 h 257442"/>
                <a:gd name="connsiteX0" fmla="*/ 2300530 w 2300530"/>
                <a:gd name="connsiteY0" fmla="*/ 0 h 257442"/>
                <a:gd name="connsiteX1" fmla="*/ 2245809 w 2300530"/>
                <a:gd name="connsiteY1" fmla="*/ 257442 h 257442"/>
                <a:gd name="connsiteX2" fmla="*/ 0 w 2300530"/>
                <a:gd name="connsiteY2" fmla="*/ 257442 h 257442"/>
                <a:gd name="connsiteX3" fmla="*/ 0 w 2300530"/>
                <a:gd name="connsiteY3" fmla="*/ 0 h 257442"/>
                <a:gd name="connsiteX0" fmla="*/ 2468844 w 2468844"/>
                <a:gd name="connsiteY0" fmla="*/ 0 h 257442"/>
                <a:gd name="connsiteX1" fmla="*/ 2245809 w 2468844"/>
                <a:gd name="connsiteY1" fmla="*/ 257442 h 257442"/>
                <a:gd name="connsiteX2" fmla="*/ 0 w 2468844"/>
                <a:gd name="connsiteY2" fmla="*/ 257442 h 257442"/>
                <a:gd name="connsiteX3" fmla="*/ 0 w 2468844"/>
                <a:gd name="connsiteY3" fmla="*/ 0 h 257442"/>
                <a:gd name="connsiteX0" fmla="*/ 2468844 w 2468844"/>
                <a:gd name="connsiteY0" fmla="*/ 0 h 257442"/>
                <a:gd name="connsiteX1" fmla="*/ 2414123 w 2468844"/>
                <a:gd name="connsiteY1" fmla="*/ 257442 h 257442"/>
                <a:gd name="connsiteX2" fmla="*/ 0 w 2468844"/>
                <a:gd name="connsiteY2" fmla="*/ 257442 h 257442"/>
                <a:gd name="connsiteX3" fmla="*/ 0 w 2468844"/>
                <a:gd name="connsiteY3" fmla="*/ 0 h 257442"/>
                <a:gd name="connsiteX0" fmla="*/ 2468844 w 2468844"/>
                <a:gd name="connsiteY0" fmla="*/ 0 h 257442"/>
                <a:gd name="connsiteX1" fmla="*/ 2414123 w 2468844"/>
                <a:gd name="connsiteY1" fmla="*/ 257442 h 257442"/>
                <a:gd name="connsiteX2" fmla="*/ 0 w 2468844"/>
                <a:gd name="connsiteY2" fmla="*/ 257442 h 257442"/>
                <a:gd name="connsiteX3" fmla="*/ 0 w 2468844"/>
                <a:gd name="connsiteY3" fmla="*/ 0 h 257442"/>
                <a:gd name="connsiteX0" fmla="*/ 2468844 w 2468844"/>
                <a:gd name="connsiteY0" fmla="*/ 0 h 257442"/>
                <a:gd name="connsiteX1" fmla="*/ 2414123 w 2468844"/>
                <a:gd name="connsiteY1" fmla="*/ 257442 h 257442"/>
                <a:gd name="connsiteX2" fmla="*/ 0 w 2468844"/>
                <a:gd name="connsiteY2" fmla="*/ 257442 h 257442"/>
                <a:gd name="connsiteX3" fmla="*/ 0 w 2468844"/>
                <a:gd name="connsiteY3" fmla="*/ 0 h 257442"/>
                <a:gd name="connsiteX0" fmla="*/ 2747767 w 2747767"/>
                <a:gd name="connsiteY0" fmla="*/ 0 h 257442"/>
                <a:gd name="connsiteX1" fmla="*/ 2414123 w 2747767"/>
                <a:gd name="connsiteY1" fmla="*/ 257442 h 257442"/>
                <a:gd name="connsiteX2" fmla="*/ 0 w 2747767"/>
                <a:gd name="connsiteY2" fmla="*/ 257442 h 257442"/>
                <a:gd name="connsiteX3" fmla="*/ 0 w 2747767"/>
                <a:gd name="connsiteY3" fmla="*/ 0 h 257442"/>
                <a:gd name="connsiteX0" fmla="*/ 2747767 w 2747767"/>
                <a:gd name="connsiteY0" fmla="*/ 0 h 257442"/>
                <a:gd name="connsiteX1" fmla="*/ 2693046 w 2747767"/>
                <a:gd name="connsiteY1" fmla="*/ 257442 h 257442"/>
                <a:gd name="connsiteX2" fmla="*/ 0 w 2747767"/>
                <a:gd name="connsiteY2" fmla="*/ 257442 h 257442"/>
                <a:gd name="connsiteX3" fmla="*/ 0 w 2747767"/>
                <a:gd name="connsiteY3" fmla="*/ 0 h 257442"/>
                <a:gd name="connsiteX0" fmla="*/ 2747767 w 2747767"/>
                <a:gd name="connsiteY0" fmla="*/ 0 h 257442"/>
                <a:gd name="connsiteX1" fmla="*/ 2693046 w 2747767"/>
                <a:gd name="connsiteY1" fmla="*/ 257442 h 257442"/>
                <a:gd name="connsiteX2" fmla="*/ 0 w 2747767"/>
                <a:gd name="connsiteY2" fmla="*/ 257442 h 257442"/>
                <a:gd name="connsiteX3" fmla="*/ 0 w 2747767"/>
                <a:gd name="connsiteY3" fmla="*/ 0 h 257442"/>
                <a:gd name="connsiteX0" fmla="*/ 2747767 w 2747767"/>
                <a:gd name="connsiteY0" fmla="*/ 0 h 257442"/>
                <a:gd name="connsiteX1" fmla="*/ 2693046 w 2747767"/>
                <a:gd name="connsiteY1" fmla="*/ 257442 h 257442"/>
                <a:gd name="connsiteX2" fmla="*/ 0 w 2747767"/>
                <a:gd name="connsiteY2" fmla="*/ 257442 h 257442"/>
                <a:gd name="connsiteX3" fmla="*/ 0 w 2747767"/>
                <a:gd name="connsiteY3" fmla="*/ 0 h 257442"/>
                <a:gd name="connsiteX0" fmla="*/ 2916083 w 2916083"/>
                <a:gd name="connsiteY0" fmla="*/ 0 h 257442"/>
                <a:gd name="connsiteX1" fmla="*/ 2693046 w 2916083"/>
                <a:gd name="connsiteY1" fmla="*/ 257442 h 257442"/>
                <a:gd name="connsiteX2" fmla="*/ 0 w 2916083"/>
                <a:gd name="connsiteY2" fmla="*/ 257442 h 257442"/>
                <a:gd name="connsiteX3" fmla="*/ 0 w 2916083"/>
                <a:gd name="connsiteY3" fmla="*/ 0 h 257442"/>
                <a:gd name="connsiteX0" fmla="*/ 2916083 w 2916083"/>
                <a:gd name="connsiteY0" fmla="*/ 0 h 257442"/>
                <a:gd name="connsiteX1" fmla="*/ 2861362 w 2916083"/>
                <a:gd name="connsiteY1" fmla="*/ 257442 h 257442"/>
                <a:gd name="connsiteX2" fmla="*/ 0 w 2916083"/>
                <a:gd name="connsiteY2" fmla="*/ 257442 h 257442"/>
                <a:gd name="connsiteX3" fmla="*/ 0 w 2916083"/>
                <a:gd name="connsiteY3" fmla="*/ 0 h 257442"/>
                <a:gd name="connsiteX0" fmla="*/ 2916083 w 2916083"/>
                <a:gd name="connsiteY0" fmla="*/ 0 h 257442"/>
                <a:gd name="connsiteX1" fmla="*/ 2861362 w 2916083"/>
                <a:gd name="connsiteY1" fmla="*/ 257442 h 257442"/>
                <a:gd name="connsiteX2" fmla="*/ 0 w 2916083"/>
                <a:gd name="connsiteY2" fmla="*/ 257442 h 257442"/>
                <a:gd name="connsiteX3" fmla="*/ 0 w 2916083"/>
                <a:gd name="connsiteY3" fmla="*/ 0 h 257442"/>
                <a:gd name="connsiteX0" fmla="*/ 2916083 w 2916083"/>
                <a:gd name="connsiteY0" fmla="*/ 0 h 257442"/>
                <a:gd name="connsiteX1" fmla="*/ 2861362 w 2916083"/>
                <a:gd name="connsiteY1" fmla="*/ 257442 h 257442"/>
                <a:gd name="connsiteX2" fmla="*/ 0 w 2916083"/>
                <a:gd name="connsiteY2" fmla="*/ 257442 h 257442"/>
                <a:gd name="connsiteX3" fmla="*/ 0 w 2916083"/>
                <a:gd name="connsiteY3" fmla="*/ 0 h 257442"/>
                <a:gd name="connsiteX0" fmla="*/ 3094016 w 3094016"/>
                <a:gd name="connsiteY0" fmla="*/ 0 h 257442"/>
                <a:gd name="connsiteX1" fmla="*/ 2861362 w 3094016"/>
                <a:gd name="connsiteY1" fmla="*/ 257442 h 257442"/>
                <a:gd name="connsiteX2" fmla="*/ 0 w 3094016"/>
                <a:gd name="connsiteY2" fmla="*/ 257442 h 257442"/>
                <a:gd name="connsiteX3" fmla="*/ 0 w 3094016"/>
                <a:gd name="connsiteY3" fmla="*/ 0 h 257442"/>
                <a:gd name="connsiteX0" fmla="*/ 3094016 w 3094016"/>
                <a:gd name="connsiteY0" fmla="*/ 0 h 257442"/>
                <a:gd name="connsiteX1" fmla="*/ 3039294 w 3094016"/>
                <a:gd name="connsiteY1" fmla="*/ 257442 h 257442"/>
                <a:gd name="connsiteX2" fmla="*/ 0 w 3094016"/>
                <a:gd name="connsiteY2" fmla="*/ 257442 h 257442"/>
                <a:gd name="connsiteX3" fmla="*/ 0 w 3094016"/>
                <a:gd name="connsiteY3" fmla="*/ 0 h 257442"/>
                <a:gd name="connsiteX0" fmla="*/ 3094017 w 3094017"/>
                <a:gd name="connsiteY0" fmla="*/ 0 h 257442"/>
                <a:gd name="connsiteX1" fmla="*/ 3039295 w 3094017"/>
                <a:gd name="connsiteY1" fmla="*/ 257442 h 257442"/>
                <a:gd name="connsiteX2" fmla="*/ 0 w 3094017"/>
                <a:gd name="connsiteY2" fmla="*/ 257442 h 257442"/>
                <a:gd name="connsiteX3" fmla="*/ 1 w 3094017"/>
                <a:gd name="connsiteY3" fmla="*/ 0 h 257442"/>
                <a:gd name="connsiteX0" fmla="*/ 3094017 w 3094017"/>
                <a:gd name="connsiteY0" fmla="*/ 0 h 257442"/>
                <a:gd name="connsiteX1" fmla="*/ 3039295 w 3094017"/>
                <a:gd name="connsiteY1" fmla="*/ 257442 h 257442"/>
                <a:gd name="connsiteX2" fmla="*/ 0 w 3094017"/>
                <a:gd name="connsiteY2" fmla="*/ 257442 h 257442"/>
                <a:gd name="connsiteX3" fmla="*/ 1 w 3094017"/>
                <a:gd name="connsiteY3" fmla="*/ 0 h 257442"/>
                <a:gd name="connsiteX0" fmla="*/ 3297598 w 3297598"/>
                <a:gd name="connsiteY0" fmla="*/ 0 h 257442"/>
                <a:gd name="connsiteX1" fmla="*/ 3039295 w 3297598"/>
                <a:gd name="connsiteY1" fmla="*/ 257442 h 257442"/>
                <a:gd name="connsiteX2" fmla="*/ 0 w 3297598"/>
                <a:gd name="connsiteY2" fmla="*/ 257442 h 257442"/>
                <a:gd name="connsiteX3" fmla="*/ 1 w 3297598"/>
                <a:gd name="connsiteY3" fmla="*/ 0 h 257442"/>
                <a:gd name="connsiteX0" fmla="*/ 3297598 w 3297598"/>
                <a:gd name="connsiteY0" fmla="*/ 0 h 257442"/>
                <a:gd name="connsiteX1" fmla="*/ 3242876 w 3297598"/>
                <a:gd name="connsiteY1" fmla="*/ 257442 h 257442"/>
                <a:gd name="connsiteX2" fmla="*/ 0 w 3297598"/>
                <a:gd name="connsiteY2" fmla="*/ 257442 h 257442"/>
                <a:gd name="connsiteX3" fmla="*/ 1 w 3297598"/>
                <a:gd name="connsiteY3" fmla="*/ 0 h 257442"/>
                <a:gd name="connsiteX0" fmla="*/ 3297598 w 3297598"/>
                <a:gd name="connsiteY0" fmla="*/ 0 h 257442"/>
                <a:gd name="connsiteX1" fmla="*/ 3242876 w 3297598"/>
                <a:gd name="connsiteY1" fmla="*/ 257442 h 257442"/>
                <a:gd name="connsiteX2" fmla="*/ 0 w 3297598"/>
                <a:gd name="connsiteY2" fmla="*/ 257442 h 257442"/>
                <a:gd name="connsiteX3" fmla="*/ 1 w 3297598"/>
                <a:gd name="connsiteY3" fmla="*/ 0 h 257442"/>
                <a:gd name="connsiteX0" fmla="*/ 3297598 w 3297598"/>
                <a:gd name="connsiteY0" fmla="*/ 0 h 257442"/>
                <a:gd name="connsiteX1" fmla="*/ 3242876 w 3297598"/>
                <a:gd name="connsiteY1" fmla="*/ 257442 h 257442"/>
                <a:gd name="connsiteX2" fmla="*/ 0 w 3297598"/>
                <a:gd name="connsiteY2" fmla="*/ 257442 h 257442"/>
                <a:gd name="connsiteX3" fmla="*/ 0 w 3297598"/>
                <a:gd name="connsiteY3" fmla="*/ 0 h 257442"/>
                <a:gd name="connsiteX0" fmla="*/ 3618198 w 3618198"/>
                <a:gd name="connsiteY0" fmla="*/ 0 h 257442"/>
                <a:gd name="connsiteX1" fmla="*/ 3242876 w 3618198"/>
                <a:gd name="connsiteY1" fmla="*/ 257442 h 257442"/>
                <a:gd name="connsiteX2" fmla="*/ 0 w 3618198"/>
                <a:gd name="connsiteY2" fmla="*/ 257442 h 257442"/>
                <a:gd name="connsiteX3" fmla="*/ 0 w 3618198"/>
                <a:gd name="connsiteY3" fmla="*/ 0 h 257442"/>
                <a:gd name="connsiteX0" fmla="*/ 3618198 w 3618198"/>
                <a:gd name="connsiteY0" fmla="*/ 0 h 257442"/>
                <a:gd name="connsiteX1" fmla="*/ 3563477 w 3618198"/>
                <a:gd name="connsiteY1" fmla="*/ 257442 h 257442"/>
                <a:gd name="connsiteX2" fmla="*/ 0 w 3618198"/>
                <a:gd name="connsiteY2" fmla="*/ 257442 h 257442"/>
                <a:gd name="connsiteX3" fmla="*/ 0 w 3618198"/>
                <a:gd name="connsiteY3" fmla="*/ 0 h 257442"/>
                <a:gd name="connsiteX0" fmla="*/ 3618198 w 3618198"/>
                <a:gd name="connsiteY0" fmla="*/ 0 h 257442"/>
                <a:gd name="connsiteX1" fmla="*/ 3563477 w 3618198"/>
                <a:gd name="connsiteY1" fmla="*/ 257442 h 257442"/>
                <a:gd name="connsiteX2" fmla="*/ 0 w 3618198"/>
                <a:gd name="connsiteY2" fmla="*/ 257442 h 257442"/>
                <a:gd name="connsiteX3" fmla="*/ 0 w 3618198"/>
                <a:gd name="connsiteY3" fmla="*/ 0 h 257442"/>
                <a:gd name="connsiteX0" fmla="*/ 3618198 w 3618198"/>
                <a:gd name="connsiteY0" fmla="*/ 0 h 257442"/>
                <a:gd name="connsiteX1" fmla="*/ 3563477 w 3618198"/>
                <a:gd name="connsiteY1" fmla="*/ 257442 h 257442"/>
                <a:gd name="connsiteX2" fmla="*/ 0 w 3618198"/>
                <a:gd name="connsiteY2" fmla="*/ 257442 h 257442"/>
                <a:gd name="connsiteX3" fmla="*/ 0 w 3618198"/>
                <a:gd name="connsiteY3" fmla="*/ 0 h 257442"/>
                <a:gd name="connsiteX0" fmla="*/ 950801 w 3563477"/>
                <a:gd name="connsiteY0" fmla="*/ 0 h 257442"/>
                <a:gd name="connsiteX1" fmla="*/ 3563477 w 3563477"/>
                <a:gd name="connsiteY1" fmla="*/ 257442 h 257442"/>
                <a:gd name="connsiteX2" fmla="*/ 0 w 3563477"/>
                <a:gd name="connsiteY2" fmla="*/ 257442 h 257442"/>
                <a:gd name="connsiteX3" fmla="*/ 0 w 3563477"/>
                <a:gd name="connsiteY3" fmla="*/ 0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0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0 w 950800"/>
                <a:gd name="connsiteY3" fmla="*/ 0 h 257442"/>
                <a:gd name="connsiteX0" fmla="*/ 1111100 w 1111100"/>
                <a:gd name="connsiteY0" fmla="*/ 0 h 257442"/>
                <a:gd name="connsiteX1" fmla="*/ 896080 w 1111100"/>
                <a:gd name="connsiteY1" fmla="*/ 257442 h 257442"/>
                <a:gd name="connsiteX2" fmla="*/ 0 w 1111100"/>
                <a:gd name="connsiteY2" fmla="*/ 257442 h 257442"/>
                <a:gd name="connsiteX3" fmla="*/ 0 w 1111100"/>
                <a:gd name="connsiteY3" fmla="*/ 0 h 257442"/>
                <a:gd name="connsiteX0" fmla="*/ 1111100 w 1111100"/>
                <a:gd name="connsiteY0" fmla="*/ 0 h 257442"/>
                <a:gd name="connsiteX1" fmla="*/ 1056379 w 1111100"/>
                <a:gd name="connsiteY1" fmla="*/ 257442 h 257442"/>
                <a:gd name="connsiteX2" fmla="*/ 0 w 1111100"/>
                <a:gd name="connsiteY2" fmla="*/ 257442 h 257442"/>
                <a:gd name="connsiteX3" fmla="*/ 0 w 1111100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279417 w 1279417"/>
                <a:gd name="connsiteY0" fmla="*/ 0 h 257442"/>
                <a:gd name="connsiteX1" fmla="*/ 1056380 w 1279417"/>
                <a:gd name="connsiteY1" fmla="*/ 257442 h 257442"/>
                <a:gd name="connsiteX2" fmla="*/ 0 w 1279417"/>
                <a:gd name="connsiteY2" fmla="*/ 257442 h 257442"/>
                <a:gd name="connsiteX3" fmla="*/ 1 w 1279417"/>
                <a:gd name="connsiteY3" fmla="*/ 0 h 257442"/>
                <a:gd name="connsiteX0" fmla="*/ 1279417 w 1279417"/>
                <a:gd name="connsiteY0" fmla="*/ 0 h 257442"/>
                <a:gd name="connsiteX1" fmla="*/ 1224696 w 1279417"/>
                <a:gd name="connsiteY1" fmla="*/ 257442 h 257442"/>
                <a:gd name="connsiteX2" fmla="*/ 0 w 1279417"/>
                <a:gd name="connsiteY2" fmla="*/ 257442 h 257442"/>
                <a:gd name="connsiteX3" fmla="*/ 1 w 1279417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7 w 1279417"/>
                <a:gd name="connsiteY0" fmla="*/ 0 h 257442"/>
                <a:gd name="connsiteX1" fmla="*/ 1224696 w 1279417"/>
                <a:gd name="connsiteY1" fmla="*/ 257442 h 257442"/>
                <a:gd name="connsiteX2" fmla="*/ 1 w 1279417"/>
                <a:gd name="connsiteY2" fmla="*/ 257442 h 257442"/>
                <a:gd name="connsiteX3" fmla="*/ 0 w 1279417"/>
                <a:gd name="connsiteY3" fmla="*/ 0 h 257442"/>
                <a:gd name="connsiteX0" fmla="*/ 1447733 w 1447733"/>
                <a:gd name="connsiteY0" fmla="*/ 0 h 257442"/>
                <a:gd name="connsiteX1" fmla="*/ 1224696 w 1447733"/>
                <a:gd name="connsiteY1" fmla="*/ 257442 h 257442"/>
                <a:gd name="connsiteX2" fmla="*/ 1 w 1447733"/>
                <a:gd name="connsiteY2" fmla="*/ 257442 h 257442"/>
                <a:gd name="connsiteX3" fmla="*/ 0 w 1447733"/>
                <a:gd name="connsiteY3" fmla="*/ 0 h 257442"/>
                <a:gd name="connsiteX0" fmla="*/ 1447733 w 1447733"/>
                <a:gd name="connsiteY0" fmla="*/ 0 h 257442"/>
                <a:gd name="connsiteX1" fmla="*/ 1393012 w 1447733"/>
                <a:gd name="connsiteY1" fmla="*/ 257442 h 257442"/>
                <a:gd name="connsiteX2" fmla="*/ 1 w 1447733"/>
                <a:gd name="connsiteY2" fmla="*/ 257442 h 257442"/>
                <a:gd name="connsiteX3" fmla="*/ 0 w 1447733"/>
                <a:gd name="connsiteY3" fmla="*/ 0 h 257442"/>
                <a:gd name="connsiteX0" fmla="*/ 1447733 w 1447733"/>
                <a:gd name="connsiteY0" fmla="*/ 0 h 257442"/>
                <a:gd name="connsiteX1" fmla="*/ 1393012 w 1447733"/>
                <a:gd name="connsiteY1" fmla="*/ 257442 h 257442"/>
                <a:gd name="connsiteX2" fmla="*/ 1 w 1447733"/>
                <a:gd name="connsiteY2" fmla="*/ 257442 h 257442"/>
                <a:gd name="connsiteX3" fmla="*/ 0 w 1447733"/>
                <a:gd name="connsiteY3" fmla="*/ 0 h 257442"/>
                <a:gd name="connsiteX0" fmla="*/ 1447732 w 1447732"/>
                <a:gd name="connsiteY0" fmla="*/ 0 h 257442"/>
                <a:gd name="connsiteX1" fmla="*/ 1393011 w 1447732"/>
                <a:gd name="connsiteY1" fmla="*/ 257442 h 257442"/>
                <a:gd name="connsiteX2" fmla="*/ 0 w 1447732"/>
                <a:gd name="connsiteY2" fmla="*/ 257442 h 257442"/>
                <a:gd name="connsiteX3" fmla="*/ 0 w 1447732"/>
                <a:gd name="connsiteY3" fmla="*/ 0 h 257442"/>
                <a:gd name="connsiteX0" fmla="*/ 1651312 w 1651312"/>
                <a:gd name="connsiteY0" fmla="*/ 0 h 257442"/>
                <a:gd name="connsiteX1" fmla="*/ 1393011 w 1651312"/>
                <a:gd name="connsiteY1" fmla="*/ 257442 h 257442"/>
                <a:gd name="connsiteX2" fmla="*/ 0 w 1651312"/>
                <a:gd name="connsiteY2" fmla="*/ 257442 h 257442"/>
                <a:gd name="connsiteX3" fmla="*/ 0 w 1651312"/>
                <a:gd name="connsiteY3" fmla="*/ 0 h 257442"/>
                <a:gd name="connsiteX0" fmla="*/ 1651312 w 1651312"/>
                <a:gd name="connsiteY0" fmla="*/ 0 h 257442"/>
                <a:gd name="connsiteX1" fmla="*/ 1596591 w 1651312"/>
                <a:gd name="connsiteY1" fmla="*/ 257442 h 257442"/>
                <a:gd name="connsiteX2" fmla="*/ 0 w 1651312"/>
                <a:gd name="connsiteY2" fmla="*/ 257442 h 257442"/>
                <a:gd name="connsiteX3" fmla="*/ 0 w 1651312"/>
                <a:gd name="connsiteY3" fmla="*/ 0 h 257442"/>
                <a:gd name="connsiteX0" fmla="*/ 1651313 w 1651313"/>
                <a:gd name="connsiteY0" fmla="*/ 0 h 257442"/>
                <a:gd name="connsiteX1" fmla="*/ 1596592 w 1651313"/>
                <a:gd name="connsiteY1" fmla="*/ 257442 h 257442"/>
                <a:gd name="connsiteX2" fmla="*/ 0 w 1651313"/>
                <a:gd name="connsiteY2" fmla="*/ 257442 h 257442"/>
                <a:gd name="connsiteX3" fmla="*/ 1 w 1651313"/>
                <a:gd name="connsiteY3" fmla="*/ 0 h 257442"/>
                <a:gd name="connsiteX0" fmla="*/ 1651313 w 1651313"/>
                <a:gd name="connsiteY0" fmla="*/ 0 h 257442"/>
                <a:gd name="connsiteX1" fmla="*/ 1596592 w 1651313"/>
                <a:gd name="connsiteY1" fmla="*/ 257442 h 257442"/>
                <a:gd name="connsiteX2" fmla="*/ 0 w 1651313"/>
                <a:gd name="connsiteY2" fmla="*/ 257442 h 257442"/>
                <a:gd name="connsiteX3" fmla="*/ 1 w 1651313"/>
                <a:gd name="connsiteY3" fmla="*/ 0 h 257442"/>
                <a:gd name="connsiteX0" fmla="*/ 1920618 w 1920618"/>
                <a:gd name="connsiteY0" fmla="*/ 0 h 257442"/>
                <a:gd name="connsiteX1" fmla="*/ 1596592 w 1920618"/>
                <a:gd name="connsiteY1" fmla="*/ 257442 h 257442"/>
                <a:gd name="connsiteX2" fmla="*/ 0 w 1920618"/>
                <a:gd name="connsiteY2" fmla="*/ 257442 h 257442"/>
                <a:gd name="connsiteX3" fmla="*/ 1 w 1920618"/>
                <a:gd name="connsiteY3" fmla="*/ 0 h 257442"/>
                <a:gd name="connsiteX0" fmla="*/ 1920618 w 1920618"/>
                <a:gd name="connsiteY0" fmla="*/ 0 h 257442"/>
                <a:gd name="connsiteX1" fmla="*/ 1865896 w 1920618"/>
                <a:gd name="connsiteY1" fmla="*/ 257442 h 257442"/>
                <a:gd name="connsiteX2" fmla="*/ 0 w 1920618"/>
                <a:gd name="connsiteY2" fmla="*/ 257442 h 257442"/>
                <a:gd name="connsiteX3" fmla="*/ 1 w 1920618"/>
                <a:gd name="connsiteY3" fmla="*/ 0 h 257442"/>
                <a:gd name="connsiteX0" fmla="*/ 1920618 w 1920618"/>
                <a:gd name="connsiteY0" fmla="*/ 0 h 257442"/>
                <a:gd name="connsiteX1" fmla="*/ 1865896 w 1920618"/>
                <a:gd name="connsiteY1" fmla="*/ 257442 h 257442"/>
                <a:gd name="connsiteX2" fmla="*/ 0 w 1920618"/>
                <a:gd name="connsiteY2" fmla="*/ 257442 h 257442"/>
                <a:gd name="connsiteX3" fmla="*/ 1 w 1920618"/>
                <a:gd name="connsiteY3" fmla="*/ 0 h 257442"/>
                <a:gd name="connsiteX0" fmla="*/ 1920618 w 1920618"/>
                <a:gd name="connsiteY0" fmla="*/ 0 h 257442"/>
                <a:gd name="connsiteX1" fmla="*/ 1865896 w 1920618"/>
                <a:gd name="connsiteY1" fmla="*/ 257442 h 257442"/>
                <a:gd name="connsiteX2" fmla="*/ 0 w 1920618"/>
                <a:gd name="connsiteY2" fmla="*/ 257442 h 257442"/>
                <a:gd name="connsiteX3" fmla="*/ 0 w 1920618"/>
                <a:gd name="connsiteY3" fmla="*/ 0 h 257442"/>
                <a:gd name="connsiteX0" fmla="*/ 2088933 w 2088933"/>
                <a:gd name="connsiteY0" fmla="*/ 0 h 257442"/>
                <a:gd name="connsiteX1" fmla="*/ 1865896 w 2088933"/>
                <a:gd name="connsiteY1" fmla="*/ 257442 h 257442"/>
                <a:gd name="connsiteX2" fmla="*/ 0 w 2088933"/>
                <a:gd name="connsiteY2" fmla="*/ 257442 h 257442"/>
                <a:gd name="connsiteX3" fmla="*/ 0 w 2088933"/>
                <a:gd name="connsiteY3" fmla="*/ 0 h 257442"/>
                <a:gd name="connsiteX0" fmla="*/ 2088933 w 2088933"/>
                <a:gd name="connsiteY0" fmla="*/ 0 h 257442"/>
                <a:gd name="connsiteX1" fmla="*/ 2034212 w 2088933"/>
                <a:gd name="connsiteY1" fmla="*/ 257442 h 257442"/>
                <a:gd name="connsiteX2" fmla="*/ 0 w 2088933"/>
                <a:gd name="connsiteY2" fmla="*/ 257442 h 257442"/>
                <a:gd name="connsiteX3" fmla="*/ 0 w 2088933"/>
                <a:gd name="connsiteY3" fmla="*/ 0 h 257442"/>
                <a:gd name="connsiteX0" fmla="*/ 2088933 w 2088933"/>
                <a:gd name="connsiteY0" fmla="*/ 0 h 257442"/>
                <a:gd name="connsiteX1" fmla="*/ 2034212 w 2088933"/>
                <a:gd name="connsiteY1" fmla="*/ 257442 h 257442"/>
                <a:gd name="connsiteX2" fmla="*/ 0 w 2088933"/>
                <a:gd name="connsiteY2" fmla="*/ 257442 h 257442"/>
                <a:gd name="connsiteX3" fmla="*/ 0 w 2088933"/>
                <a:gd name="connsiteY3" fmla="*/ 0 h 257442"/>
                <a:gd name="connsiteX0" fmla="*/ 2088933 w 2088933"/>
                <a:gd name="connsiteY0" fmla="*/ 0 h 257442"/>
                <a:gd name="connsiteX1" fmla="*/ 2034212 w 2088933"/>
                <a:gd name="connsiteY1" fmla="*/ 257442 h 257442"/>
                <a:gd name="connsiteX2" fmla="*/ 0 w 2088933"/>
                <a:gd name="connsiteY2" fmla="*/ 257442 h 257442"/>
                <a:gd name="connsiteX3" fmla="*/ 0 w 2088933"/>
                <a:gd name="connsiteY3" fmla="*/ 0 h 257442"/>
                <a:gd name="connsiteX0" fmla="*/ 2249234 w 2249234"/>
                <a:gd name="connsiteY0" fmla="*/ 0 h 257442"/>
                <a:gd name="connsiteX1" fmla="*/ 2034212 w 2249234"/>
                <a:gd name="connsiteY1" fmla="*/ 257442 h 257442"/>
                <a:gd name="connsiteX2" fmla="*/ 0 w 2249234"/>
                <a:gd name="connsiteY2" fmla="*/ 257442 h 257442"/>
                <a:gd name="connsiteX3" fmla="*/ 0 w 2249234"/>
                <a:gd name="connsiteY3" fmla="*/ 0 h 257442"/>
                <a:gd name="connsiteX0" fmla="*/ 2249234 w 2249234"/>
                <a:gd name="connsiteY0" fmla="*/ 0 h 257442"/>
                <a:gd name="connsiteX1" fmla="*/ 2194512 w 2249234"/>
                <a:gd name="connsiteY1" fmla="*/ 257442 h 257442"/>
                <a:gd name="connsiteX2" fmla="*/ 0 w 2249234"/>
                <a:gd name="connsiteY2" fmla="*/ 257442 h 257442"/>
                <a:gd name="connsiteX3" fmla="*/ 0 w 2249234"/>
                <a:gd name="connsiteY3" fmla="*/ 0 h 257442"/>
                <a:gd name="connsiteX0" fmla="*/ 2249235 w 2249235"/>
                <a:gd name="connsiteY0" fmla="*/ 0 h 257442"/>
                <a:gd name="connsiteX1" fmla="*/ 2194513 w 2249235"/>
                <a:gd name="connsiteY1" fmla="*/ 257442 h 257442"/>
                <a:gd name="connsiteX2" fmla="*/ 0 w 2249235"/>
                <a:gd name="connsiteY2" fmla="*/ 257442 h 257442"/>
                <a:gd name="connsiteX3" fmla="*/ 1 w 2249235"/>
                <a:gd name="connsiteY3" fmla="*/ 0 h 257442"/>
                <a:gd name="connsiteX0" fmla="*/ 2249235 w 2249235"/>
                <a:gd name="connsiteY0" fmla="*/ 0 h 257442"/>
                <a:gd name="connsiteX1" fmla="*/ 2194513 w 2249235"/>
                <a:gd name="connsiteY1" fmla="*/ 257442 h 257442"/>
                <a:gd name="connsiteX2" fmla="*/ 0 w 2249235"/>
                <a:gd name="connsiteY2" fmla="*/ 257442 h 257442"/>
                <a:gd name="connsiteX3" fmla="*/ 1 w 2249235"/>
                <a:gd name="connsiteY3" fmla="*/ 0 h 257442"/>
                <a:gd name="connsiteX0" fmla="*/ 2518539 w 2518539"/>
                <a:gd name="connsiteY0" fmla="*/ 0 h 257442"/>
                <a:gd name="connsiteX1" fmla="*/ 2194513 w 2518539"/>
                <a:gd name="connsiteY1" fmla="*/ 257442 h 257442"/>
                <a:gd name="connsiteX2" fmla="*/ 0 w 2518539"/>
                <a:gd name="connsiteY2" fmla="*/ 257442 h 257442"/>
                <a:gd name="connsiteX3" fmla="*/ 1 w 2518539"/>
                <a:gd name="connsiteY3" fmla="*/ 0 h 257442"/>
                <a:gd name="connsiteX0" fmla="*/ 2518539 w 2518539"/>
                <a:gd name="connsiteY0" fmla="*/ 0 h 257442"/>
                <a:gd name="connsiteX1" fmla="*/ 2463818 w 2518539"/>
                <a:gd name="connsiteY1" fmla="*/ 257442 h 257442"/>
                <a:gd name="connsiteX2" fmla="*/ 0 w 2518539"/>
                <a:gd name="connsiteY2" fmla="*/ 257442 h 257442"/>
                <a:gd name="connsiteX3" fmla="*/ 1 w 2518539"/>
                <a:gd name="connsiteY3" fmla="*/ 0 h 257442"/>
                <a:gd name="connsiteX0" fmla="*/ 2518538 w 2518538"/>
                <a:gd name="connsiteY0" fmla="*/ 0 h 257442"/>
                <a:gd name="connsiteX1" fmla="*/ 2463817 w 2518538"/>
                <a:gd name="connsiteY1" fmla="*/ 257442 h 257442"/>
                <a:gd name="connsiteX2" fmla="*/ 0 w 2518538"/>
                <a:gd name="connsiteY2" fmla="*/ 257442 h 257442"/>
                <a:gd name="connsiteX3" fmla="*/ 0 w 2518538"/>
                <a:gd name="connsiteY3" fmla="*/ 0 h 257442"/>
                <a:gd name="connsiteX0" fmla="*/ 2518539 w 2518539"/>
                <a:gd name="connsiteY0" fmla="*/ 0 h 257442"/>
                <a:gd name="connsiteX1" fmla="*/ 2463818 w 2518539"/>
                <a:gd name="connsiteY1" fmla="*/ 257442 h 257442"/>
                <a:gd name="connsiteX2" fmla="*/ 1 w 2518539"/>
                <a:gd name="connsiteY2" fmla="*/ 257442 h 257442"/>
                <a:gd name="connsiteX3" fmla="*/ 0 w 2518539"/>
                <a:gd name="connsiteY3" fmla="*/ 0 h 257442"/>
                <a:gd name="connsiteX0" fmla="*/ 2771813 w 2771813"/>
                <a:gd name="connsiteY0" fmla="*/ 0 h 257442"/>
                <a:gd name="connsiteX1" fmla="*/ 2463818 w 2771813"/>
                <a:gd name="connsiteY1" fmla="*/ 257442 h 257442"/>
                <a:gd name="connsiteX2" fmla="*/ 1 w 2771813"/>
                <a:gd name="connsiteY2" fmla="*/ 257442 h 257442"/>
                <a:gd name="connsiteX3" fmla="*/ 0 w 2771813"/>
                <a:gd name="connsiteY3" fmla="*/ 0 h 257442"/>
                <a:gd name="connsiteX0" fmla="*/ 2771813 w 2771813"/>
                <a:gd name="connsiteY0" fmla="*/ 0 h 257442"/>
                <a:gd name="connsiteX1" fmla="*/ 2717092 w 2771813"/>
                <a:gd name="connsiteY1" fmla="*/ 257442 h 257442"/>
                <a:gd name="connsiteX2" fmla="*/ 1 w 2771813"/>
                <a:gd name="connsiteY2" fmla="*/ 257442 h 257442"/>
                <a:gd name="connsiteX3" fmla="*/ 0 w 2771813"/>
                <a:gd name="connsiteY3" fmla="*/ 0 h 257442"/>
                <a:gd name="connsiteX0" fmla="*/ 2771813 w 2771813"/>
                <a:gd name="connsiteY0" fmla="*/ 0 h 257442"/>
                <a:gd name="connsiteX1" fmla="*/ 2717092 w 2771813"/>
                <a:gd name="connsiteY1" fmla="*/ 257442 h 257442"/>
                <a:gd name="connsiteX2" fmla="*/ 1 w 2771813"/>
                <a:gd name="connsiteY2" fmla="*/ 257442 h 257442"/>
                <a:gd name="connsiteX3" fmla="*/ 0 w 2771813"/>
                <a:gd name="connsiteY3" fmla="*/ 0 h 257442"/>
                <a:gd name="connsiteX0" fmla="*/ 2771812 w 2771812"/>
                <a:gd name="connsiteY0" fmla="*/ 0 h 257442"/>
                <a:gd name="connsiteX1" fmla="*/ 2717091 w 2771812"/>
                <a:gd name="connsiteY1" fmla="*/ 257442 h 257442"/>
                <a:gd name="connsiteX2" fmla="*/ 0 w 2771812"/>
                <a:gd name="connsiteY2" fmla="*/ 257442 h 257442"/>
                <a:gd name="connsiteX3" fmla="*/ 0 w 2771812"/>
                <a:gd name="connsiteY3" fmla="*/ 0 h 257442"/>
                <a:gd name="connsiteX0" fmla="*/ 3029703 w 3029703"/>
                <a:gd name="connsiteY0" fmla="*/ 0 h 257442"/>
                <a:gd name="connsiteX1" fmla="*/ 2717091 w 3029703"/>
                <a:gd name="connsiteY1" fmla="*/ 257442 h 257442"/>
                <a:gd name="connsiteX2" fmla="*/ 0 w 3029703"/>
                <a:gd name="connsiteY2" fmla="*/ 257442 h 257442"/>
                <a:gd name="connsiteX3" fmla="*/ 0 w 3029703"/>
                <a:gd name="connsiteY3" fmla="*/ 0 h 257442"/>
                <a:gd name="connsiteX0" fmla="*/ 3029703 w 3029703"/>
                <a:gd name="connsiteY0" fmla="*/ 0 h 257442"/>
                <a:gd name="connsiteX1" fmla="*/ 2974982 w 3029703"/>
                <a:gd name="connsiteY1" fmla="*/ 257442 h 257442"/>
                <a:gd name="connsiteX2" fmla="*/ 0 w 3029703"/>
                <a:gd name="connsiteY2" fmla="*/ 257442 h 257442"/>
                <a:gd name="connsiteX3" fmla="*/ 0 w 3029703"/>
                <a:gd name="connsiteY3" fmla="*/ 0 h 257442"/>
                <a:gd name="connsiteX0" fmla="*/ 3029704 w 3029704"/>
                <a:gd name="connsiteY0" fmla="*/ 0 h 257442"/>
                <a:gd name="connsiteX1" fmla="*/ 2974983 w 3029704"/>
                <a:gd name="connsiteY1" fmla="*/ 257442 h 257442"/>
                <a:gd name="connsiteX2" fmla="*/ 0 w 3029704"/>
                <a:gd name="connsiteY2" fmla="*/ 257442 h 257442"/>
                <a:gd name="connsiteX3" fmla="*/ 1 w 3029704"/>
                <a:gd name="connsiteY3" fmla="*/ 0 h 257442"/>
                <a:gd name="connsiteX0" fmla="*/ 3029704 w 3029704"/>
                <a:gd name="connsiteY0" fmla="*/ 0 h 257442"/>
                <a:gd name="connsiteX1" fmla="*/ 2974983 w 3029704"/>
                <a:gd name="connsiteY1" fmla="*/ 257442 h 257442"/>
                <a:gd name="connsiteX2" fmla="*/ 0 w 3029704"/>
                <a:gd name="connsiteY2" fmla="*/ 257442 h 257442"/>
                <a:gd name="connsiteX3" fmla="*/ 0 w 3029704"/>
                <a:gd name="connsiteY3" fmla="*/ 0 h 257442"/>
                <a:gd name="connsiteX0" fmla="*/ 3377106 w 3377106"/>
                <a:gd name="connsiteY0" fmla="*/ 0 h 257442"/>
                <a:gd name="connsiteX1" fmla="*/ 2974983 w 3377106"/>
                <a:gd name="connsiteY1" fmla="*/ 257442 h 257442"/>
                <a:gd name="connsiteX2" fmla="*/ 0 w 3377106"/>
                <a:gd name="connsiteY2" fmla="*/ 257442 h 257442"/>
                <a:gd name="connsiteX3" fmla="*/ 0 w 3377106"/>
                <a:gd name="connsiteY3" fmla="*/ 0 h 257442"/>
                <a:gd name="connsiteX0" fmla="*/ 3377106 w 3377106"/>
                <a:gd name="connsiteY0" fmla="*/ 0 h 257442"/>
                <a:gd name="connsiteX1" fmla="*/ 3322385 w 3377106"/>
                <a:gd name="connsiteY1" fmla="*/ 257442 h 257442"/>
                <a:gd name="connsiteX2" fmla="*/ 0 w 3377106"/>
                <a:gd name="connsiteY2" fmla="*/ 257442 h 257442"/>
                <a:gd name="connsiteX3" fmla="*/ 0 w 3377106"/>
                <a:gd name="connsiteY3" fmla="*/ 0 h 257442"/>
                <a:gd name="connsiteX0" fmla="*/ 3377106 w 3377106"/>
                <a:gd name="connsiteY0" fmla="*/ 0 h 257442"/>
                <a:gd name="connsiteX1" fmla="*/ 3322385 w 3377106"/>
                <a:gd name="connsiteY1" fmla="*/ 257442 h 257442"/>
                <a:gd name="connsiteX2" fmla="*/ 0 w 3377106"/>
                <a:gd name="connsiteY2" fmla="*/ 257442 h 257442"/>
                <a:gd name="connsiteX3" fmla="*/ 0 w 3377106"/>
                <a:gd name="connsiteY3" fmla="*/ 0 h 257442"/>
                <a:gd name="connsiteX0" fmla="*/ 3377106 w 3377106"/>
                <a:gd name="connsiteY0" fmla="*/ 0 h 257442"/>
                <a:gd name="connsiteX1" fmla="*/ 3322385 w 3377106"/>
                <a:gd name="connsiteY1" fmla="*/ 257442 h 257442"/>
                <a:gd name="connsiteX2" fmla="*/ 0 w 3377106"/>
                <a:gd name="connsiteY2" fmla="*/ 257442 h 257442"/>
                <a:gd name="connsiteX3" fmla="*/ 0 w 3377106"/>
                <a:gd name="connsiteY3" fmla="*/ 0 h 257442"/>
                <a:gd name="connsiteX0" fmla="*/ 3646411 w 3646411"/>
                <a:gd name="connsiteY0" fmla="*/ 0 h 257442"/>
                <a:gd name="connsiteX1" fmla="*/ 3322385 w 3646411"/>
                <a:gd name="connsiteY1" fmla="*/ 257442 h 257442"/>
                <a:gd name="connsiteX2" fmla="*/ 0 w 3646411"/>
                <a:gd name="connsiteY2" fmla="*/ 257442 h 257442"/>
                <a:gd name="connsiteX3" fmla="*/ 0 w 3646411"/>
                <a:gd name="connsiteY3" fmla="*/ 0 h 257442"/>
                <a:gd name="connsiteX0" fmla="*/ 3646411 w 3646411"/>
                <a:gd name="connsiteY0" fmla="*/ 0 h 257442"/>
                <a:gd name="connsiteX1" fmla="*/ 3591690 w 3646411"/>
                <a:gd name="connsiteY1" fmla="*/ 257442 h 257442"/>
                <a:gd name="connsiteX2" fmla="*/ 0 w 3646411"/>
                <a:gd name="connsiteY2" fmla="*/ 257442 h 257442"/>
                <a:gd name="connsiteX3" fmla="*/ 0 w 3646411"/>
                <a:gd name="connsiteY3" fmla="*/ 0 h 257442"/>
                <a:gd name="connsiteX0" fmla="*/ 3646411 w 3646411"/>
                <a:gd name="connsiteY0" fmla="*/ 0 h 257442"/>
                <a:gd name="connsiteX1" fmla="*/ 3591690 w 3646411"/>
                <a:gd name="connsiteY1" fmla="*/ 257442 h 257442"/>
                <a:gd name="connsiteX2" fmla="*/ 0 w 3646411"/>
                <a:gd name="connsiteY2" fmla="*/ 257442 h 257442"/>
                <a:gd name="connsiteX3" fmla="*/ 0 w 3646411"/>
                <a:gd name="connsiteY3" fmla="*/ 0 h 257442"/>
                <a:gd name="connsiteX0" fmla="*/ 3646411 w 3646411"/>
                <a:gd name="connsiteY0" fmla="*/ 0 h 257442"/>
                <a:gd name="connsiteX1" fmla="*/ 3591690 w 3646411"/>
                <a:gd name="connsiteY1" fmla="*/ 257442 h 257442"/>
                <a:gd name="connsiteX2" fmla="*/ 0 w 3646411"/>
                <a:gd name="connsiteY2" fmla="*/ 257442 h 257442"/>
                <a:gd name="connsiteX3" fmla="*/ 0 w 3646411"/>
                <a:gd name="connsiteY3" fmla="*/ 0 h 257442"/>
                <a:gd name="connsiteX0" fmla="*/ 3814726 w 3814726"/>
                <a:gd name="connsiteY0" fmla="*/ 0 h 257442"/>
                <a:gd name="connsiteX1" fmla="*/ 3591690 w 3814726"/>
                <a:gd name="connsiteY1" fmla="*/ 257442 h 257442"/>
                <a:gd name="connsiteX2" fmla="*/ 0 w 3814726"/>
                <a:gd name="connsiteY2" fmla="*/ 257442 h 257442"/>
                <a:gd name="connsiteX3" fmla="*/ 0 w 3814726"/>
                <a:gd name="connsiteY3" fmla="*/ 0 h 257442"/>
                <a:gd name="connsiteX0" fmla="*/ 3814726 w 3814726"/>
                <a:gd name="connsiteY0" fmla="*/ 0 h 257442"/>
                <a:gd name="connsiteX1" fmla="*/ 3760004 w 3814726"/>
                <a:gd name="connsiteY1" fmla="*/ 257442 h 257442"/>
                <a:gd name="connsiteX2" fmla="*/ 0 w 3814726"/>
                <a:gd name="connsiteY2" fmla="*/ 257442 h 257442"/>
                <a:gd name="connsiteX3" fmla="*/ 0 w 3814726"/>
                <a:gd name="connsiteY3" fmla="*/ 0 h 257442"/>
                <a:gd name="connsiteX0" fmla="*/ 3814727 w 3814727"/>
                <a:gd name="connsiteY0" fmla="*/ 0 h 257442"/>
                <a:gd name="connsiteX1" fmla="*/ 3760005 w 3814727"/>
                <a:gd name="connsiteY1" fmla="*/ 257442 h 257442"/>
                <a:gd name="connsiteX2" fmla="*/ 0 w 3814727"/>
                <a:gd name="connsiteY2" fmla="*/ 257442 h 257442"/>
                <a:gd name="connsiteX3" fmla="*/ 1 w 3814727"/>
                <a:gd name="connsiteY3" fmla="*/ 0 h 257442"/>
                <a:gd name="connsiteX0" fmla="*/ 3814727 w 3814727"/>
                <a:gd name="connsiteY0" fmla="*/ 0 h 257442"/>
                <a:gd name="connsiteX1" fmla="*/ 3760005 w 3814727"/>
                <a:gd name="connsiteY1" fmla="*/ 257442 h 257442"/>
                <a:gd name="connsiteX2" fmla="*/ 0 w 3814727"/>
                <a:gd name="connsiteY2" fmla="*/ 257442 h 257442"/>
                <a:gd name="connsiteX3" fmla="*/ 1 w 3814727"/>
                <a:gd name="connsiteY3" fmla="*/ 0 h 257442"/>
                <a:gd name="connsiteX0" fmla="*/ 3975027 w 3975027"/>
                <a:gd name="connsiteY0" fmla="*/ 0 h 257442"/>
                <a:gd name="connsiteX1" fmla="*/ 3760005 w 3975027"/>
                <a:gd name="connsiteY1" fmla="*/ 257442 h 257442"/>
                <a:gd name="connsiteX2" fmla="*/ 0 w 3975027"/>
                <a:gd name="connsiteY2" fmla="*/ 257442 h 257442"/>
                <a:gd name="connsiteX3" fmla="*/ 1 w 3975027"/>
                <a:gd name="connsiteY3" fmla="*/ 0 h 257442"/>
                <a:gd name="connsiteX0" fmla="*/ 3975027 w 3975027"/>
                <a:gd name="connsiteY0" fmla="*/ 0 h 257442"/>
                <a:gd name="connsiteX1" fmla="*/ 3920306 w 3975027"/>
                <a:gd name="connsiteY1" fmla="*/ 257442 h 257442"/>
                <a:gd name="connsiteX2" fmla="*/ 0 w 3975027"/>
                <a:gd name="connsiteY2" fmla="*/ 257442 h 257442"/>
                <a:gd name="connsiteX3" fmla="*/ 1 w 3975027"/>
                <a:gd name="connsiteY3" fmla="*/ 0 h 257442"/>
                <a:gd name="connsiteX0" fmla="*/ 3975026 w 3975026"/>
                <a:gd name="connsiteY0" fmla="*/ 0 h 257442"/>
                <a:gd name="connsiteX1" fmla="*/ 3920305 w 3975026"/>
                <a:gd name="connsiteY1" fmla="*/ 257442 h 257442"/>
                <a:gd name="connsiteX2" fmla="*/ 0 w 3975026"/>
                <a:gd name="connsiteY2" fmla="*/ 257442 h 257442"/>
                <a:gd name="connsiteX3" fmla="*/ 0 w 3975026"/>
                <a:gd name="connsiteY3" fmla="*/ 0 h 257442"/>
                <a:gd name="connsiteX0" fmla="*/ 3975027 w 3975027"/>
                <a:gd name="connsiteY0" fmla="*/ 0 h 257442"/>
                <a:gd name="connsiteX1" fmla="*/ 3920306 w 3975027"/>
                <a:gd name="connsiteY1" fmla="*/ 257442 h 257442"/>
                <a:gd name="connsiteX2" fmla="*/ 1 w 3975027"/>
                <a:gd name="connsiteY2" fmla="*/ 257442 h 257442"/>
                <a:gd name="connsiteX3" fmla="*/ 0 w 3975027"/>
                <a:gd name="connsiteY3" fmla="*/ 0 h 257442"/>
                <a:gd name="connsiteX0" fmla="*/ 950802 w 3920306"/>
                <a:gd name="connsiteY0" fmla="*/ 0 h 257442"/>
                <a:gd name="connsiteX1" fmla="*/ 3920306 w 3920306"/>
                <a:gd name="connsiteY1" fmla="*/ 257442 h 257442"/>
                <a:gd name="connsiteX2" fmla="*/ 1 w 3920306"/>
                <a:gd name="connsiteY2" fmla="*/ 257442 h 257442"/>
                <a:gd name="connsiteX3" fmla="*/ 0 w 3920306"/>
                <a:gd name="connsiteY3" fmla="*/ 0 h 257442"/>
                <a:gd name="connsiteX0" fmla="*/ 950802 w 950802"/>
                <a:gd name="connsiteY0" fmla="*/ 0 h 257442"/>
                <a:gd name="connsiteX1" fmla="*/ 896081 w 950802"/>
                <a:gd name="connsiteY1" fmla="*/ 257442 h 257442"/>
                <a:gd name="connsiteX2" fmla="*/ 1 w 950802"/>
                <a:gd name="connsiteY2" fmla="*/ 257442 h 257442"/>
                <a:gd name="connsiteX3" fmla="*/ 0 w 950802"/>
                <a:gd name="connsiteY3" fmla="*/ 0 h 257442"/>
                <a:gd name="connsiteX0" fmla="*/ 950802 w 950802"/>
                <a:gd name="connsiteY0" fmla="*/ 0 h 257442"/>
                <a:gd name="connsiteX1" fmla="*/ 896081 w 950802"/>
                <a:gd name="connsiteY1" fmla="*/ 257442 h 257442"/>
                <a:gd name="connsiteX2" fmla="*/ 1 w 950802"/>
                <a:gd name="connsiteY2" fmla="*/ 257442 h 257442"/>
                <a:gd name="connsiteX3" fmla="*/ 0 w 950802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1128734 w 1128734"/>
                <a:gd name="connsiteY0" fmla="*/ 0 h 257442"/>
                <a:gd name="connsiteX1" fmla="*/ 896080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128734 w 1128734"/>
                <a:gd name="connsiteY0" fmla="*/ 0 h 257442"/>
                <a:gd name="connsiteX1" fmla="*/ 1074012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128735 w 1128735"/>
                <a:gd name="connsiteY0" fmla="*/ 0 h 257442"/>
                <a:gd name="connsiteX1" fmla="*/ 1074013 w 1128735"/>
                <a:gd name="connsiteY1" fmla="*/ 257442 h 257442"/>
                <a:gd name="connsiteX2" fmla="*/ 0 w 1128735"/>
                <a:gd name="connsiteY2" fmla="*/ 257442 h 257442"/>
                <a:gd name="connsiteX3" fmla="*/ 1 w 1128735"/>
                <a:gd name="connsiteY3" fmla="*/ 0 h 257442"/>
                <a:gd name="connsiteX0" fmla="*/ 1128735 w 1128735"/>
                <a:gd name="connsiteY0" fmla="*/ 0 h 257442"/>
                <a:gd name="connsiteX1" fmla="*/ 1074013 w 1128735"/>
                <a:gd name="connsiteY1" fmla="*/ 257442 h 257442"/>
                <a:gd name="connsiteX2" fmla="*/ 0 w 1128735"/>
                <a:gd name="connsiteY2" fmla="*/ 257442 h 257442"/>
                <a:gd name="connsiteX3" fmla="*/ 1 w 1128735"/>
                <a:gd name="connsiteY3" fmla="*/ 0 h 257442"/>
                <a:gd name="connsiteX0" fmla="*/ 1314683 w 1314683"/>
                <a:gd name="connsiteY0" fmla="*/ 0 h 257442"/>
                <a:gd name="connsiteX1" fmla="*/ 1074013 w 1314683"/>
                <a:gd name="connsiteY1" fmla="*/ 257442 h 257442"/>
                <a:gd name="connsiteX2" fmla="*/ 0 w 1314683"/>
                <a:gd name="connsiteY2" fmla="*/ 257442 h 257442"/>
                <a:gd name="connsiteX3" fmla="*/ 1 w 1314683"/>
                <a:gd name="connsiteY3" fmla="*/ 0 h 257442"/>
                <a:gd name="connsiteX0" fmla="*/ 1314683 w 1314683"/>
                <a:gd name="connsiteY0" fmla="*/ 0 h 257442"/>
                <a:gd name="connsiteX1" fmla="*/ 1259962 w 1314683"/>
                <a:gd name="connsiteY1" fmla="*/ 257442 h 257442"/>
                <a:gd name="connsiteX2" fmla="*/ 0 w 1314683"/>
                <a:gd name="connsiteY2" fmla="*/ 257442 h 257442"/>
                <a:gd name="connsiteX3" fmla="*/ 1 w 1314683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0 w 1314682"/>
                <a:gd name="connsiteY3" fmla="*/ 0 h 257442"/>
                <a:gd name="connsiteX0" fmla="*/ 1314683 w 1314683"/>
                <a:gd name="connsiteY0" fmla="*/ 0 h 257442"/>
                <a:gd name="connsiteX1" fmla="*/ 1259962 w 1314683"/>
                <a:gd name="connsiteY1" fmla="*/ 257442 h 257442"/>
                <a:gd name="connsiteX2" fmla="*/ 1 w 1314683"/>
                <a:gd name="connsiteY2" fmla="*/ 257442 h 257442"/>
                <a:gd name="connsiteX3" fmla="*/ 0 w 1314683"/>
                <a:gd name="connsiteY3" fmla="*/ 0 h 257442"/>
                <a:gd name="connsiteX0" fmla="*/ 1474984 w 1474984"/>
                <a:gd name="connsiteY0" fmla="*/ 0 h 257442"/>
                <a:gd name="connsiteX1" fmla="*/ 1259962 w 1474984"/>
                <a:gd name="connsiteY1" fmla="*/ 257442 h 257442"/>
                <a:gd name="connsiteX2" fmla="*/ 1 w 1474984"/>
                <a:gd name="connsiteY2" fmla="*/ 257442 h 257442"/>
                <a:gd name="connsiteX3" fmla="*/ 0 w 1474984"/>
                <a:gd name="connsiteY3" fmla="*/ 0 h 257442"/>
                <a:gd name="connsiteX0" fmla="*/ 1474984 w 1474984"/>
                <a:gd name="connsiteY0" fmla="*/ 0 h 257442"/>
                <a:gd name="connsiteX1" fmla="*/ 1420262 w 1474984"/>
                <a:gd name="connsiteY1" fmla="*/ 257442 h 257442"/>
                <a:gd name="connsiteX2" fmla="*/ 1 w 1474984"/>
                <a:gd name="connsiteY2" fmla="*/ 257442 h 257442"/>
                <a:gd name="connsiteX3" fmla="*/ 0 w 1474984"/>
                <a:gd name="connsiteY3" fmla="*/ 0 h 257442"/>
                <a:gd name="connsiteX0" fmla="*/ 1474984 w 1474984"/>
                <a:gd name="connsiteY0" fmla="*/ 0 h 257442"/>
                <a:gd name="connsiteX1" fmla="*/ 1420262 w 1474984"/>
                <a:gd name="connsiteY1" fmla="*/ 257442 h 257442"/>
                <a:gd name="connsiteX2" fmla="*/ 0 w 1474984"/>
                <a:gd name="connsiteY2" fmla="*/ 257442 h 257442"/>
                <a:gd name="connsiteX3" fmla="*/ 0 w 1474984"/>
                <a:gd name="connsiteY3" fmla="*/ 0 h 257442"/>
                <a:gd name="connsiteX0" fmla="*/ 1474984 w 1474984"/>
                <a:gd name="connsiteY0" fmla="*/ 0 h 257442"/>
                <a:gd name="connsiteX1" fmla="*/ 1420262 w 1474984"/>
                <a:gd name="connsiteY1" fmla="*/ 257442 h 257442"/>
                <a:gd name="connsiteX2" fmla="*/ 0 w 1474984"/>
                <a:gd name="connsiteY2" fmla="*/ 257442 h 257442"/>
                <a:gd name="connsiteX3" fmla="*/ 0 w 1474984"/>
                <a:gd name="connsiteY3" fmla="*/ 0 h 257442"/>
                <a:gd name="connsiteX0" fmla="*/ 1635283 w 1635283"/>
                <a:gd name="connsiteY0" fmla="*/ 0 h 257442"/>
                <a:gd name="connsiteX1" fmla="*/ 14202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635283 w 1635283"/>
                <a:gd name="connsiteY0" fmla="*/ 0 h 257442"/>
                <a:gd name="connsiteX1" fmla="*/ 15805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635283 w 1635283"/>
                <a:gd name="connsiteY0" fmla="*/ 0 h 257442"/>
                <a:gd name="connsiteX1" fmla="*/ 15805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635283 w 1635283"/>
                <a:gd name="connsiteY0" fmla="*/ 0 h 257442"/>
                <a:gd name="connsiteX1" fmla="*/ 15805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888557 w 1888557"/>
                <a:gd name="connsiteY0" fmla="*/ 0 h 257442"/>
                <a:gd name="connsiteX1" fmla="*/ 1580562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1888557 w 1888557"/>
                <a:gd name="connsiteY0" fmla="*/ 0 h 257442"/>
                <a:gd name="connsiteX1" fmla="*/ 1833836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1888557 w 1888557"/>
                <a:gd name="connsiteY0" fmla="*/ 0 h 257442"/>
                <a:gd name="connsiteX1" fmla="*/ 1833836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1888557 w 1888557"/>
                <a:gd name="connsiteY0" fmla="*/ 0 h 257442"/>
                <a:gd name="connsiteX1" fmla="*/ 1833836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2141832 w 2141832"/>
                <a:gd name="connsiteY0" fmla="*/ 0 h 257442"/>
                <a:gd name="connsiteX1" fmla="*/ 1833836 w 2141832"/>
                <a:gd name="connsiteY1" fmla="*/ 257442 h 257442"/>
                <a:gd name="connsiteX2" fmla="*/ 0 w 2141832"/>
                <a:gd name="connsiteY2" fmla="*/ 257442 h 257442"/>
                <a:gd name="connsiteX3" fmla="*/ 0 w 2141832"/>
                <a:gd name="connsiteY3" fmla="*/ 0 h 257442"/>
                <a:gd name="connsiteX0" fmla="*/ 2141832 w 2141832"/>
                <a:gd name="connsiteY0" fmla="*/ 0 h 257442"/>
                <a:gd name="connsiteX1" fmla="*/ 2087110 w 2141832"/>
                <a:gd name="connsiteY1" fmla="*/ 257442 h 257442"/>
                <a:gd name="connsiteX2" fmla="*/ 0 w 2141832"/>
                <a:gd name="connsiteY2" fmla="*/ 257442 h 257442"/>
                <a:gd name="connsiteX3" fmla="*/ 0 w 2141832"/>
                <a:gd name="connsiteY3" fmla="*/ 0 h 257442"/>
                <a:gd name="connsiteX0" fmla="*/ 2141833 w 2141833"/>
                <a:gd name="connsiteY0" fmla="*/ 0 h 257442"/>
                <a:gd name="connsiteX1" fmla="*/ 2087111 w 2141833"/>
                <a:gd name="connsiteY1" fmla="*/ 257442 h 257442"/>
                <a:gd name="connsiteX2" fmla="*/ 0 w 2141833"/>
                <a:gd name="connsiteY2" fmla="*/ 257442 h 257442"/>
                <a:gd name="connsiteX3" fmla="*/ 1 w 2141833"/>
                <a:gd name="connsiteY3" fmla="*/ 0 h 257442"/>
                <a:gd name="connsiteX0" fmla="*/ 2141833 w 2141833"/>
                <a:gd name="connsiteY0" fmla="*/ 0 h 257442"/>
                <a:gd name="connsiteX1" fmla="*/ 2087111 w 2141833"/>
                <a:gd name="connsiteY1" fmla="*/ 257442 h 257442"/>
                <a:gd name="connsiteX2" fmla="*/ 0 w 2141833"/>
                <a:gd name="connsiteY2" fmla="*/ 257442 h 257442"/>
                <a:gd name="connsiteX3" fmla="*/ 1 w 2141833"/>
                <a:gd name="connsiteY3" fmla="*/ 0 h 257442"/>
                <a:gd name="connsiteX0" fmla="*/ 2302133 w 2302133"/>
                <a:gd name="connsiteY0" fmla="*/ 0 h 257442"/>
                <a:gd name="connsiteX1" fmla="*/ 2087111 w 2302133"/>
                <a:gd name="connsiteY1" fmla="*/ 257442 h 257442"/>
                <a:gd name="connsiteX2" fmla="*/ 0 w 2302133"/>
                <a:gd name="connsiteY2" fmla="*/ 257442 h 257442"/>
                <a:gd name="connsiteX3" fmla="*/ 1 w 2302133"/>
                <a:gd name="connsiteY3" fmla="*/ 0 h 257442"/>
                <a:gd name="connsiteX0" fmla="*/ 2302133 w 2302133"/>
                <a:gd name="connsiteY0" fmla="*/ 0 h 257442"/>
                <a:gd name="connsiteX1" fmla="*/ 2247412 w 2302133"/>
                <a:gd name="connsiteY1" fmla="*/ 257442 h 257442"/>
                <a:gd name="connsiteX2" fmla="*/ 0 w 2302133"/>
                <a:gd name="connsiteY2" fmla="*/ 257442 h 257442"/>
                <a:gd name="connsiteX3" fmla="*/ 1 w 2302133"/>
                <a:gd name="connsiteY3" fmla="*/ 0 h 257442"/>
                <a:gd name="connsiteX0" fmla="*/ 2302132 w 2302132"/>
                <a:gd name="connsiteY0" fmla="*/ 0 h 257442"/>
                <a:gd name="connsiteX1" fmla="*/ 2247411 w 2302132"/>
                <a:gd name="connsiteY1" fmla="*/ 257442 h 257442"/>
                <a:gd name="connsiteX2" fmla="*/ 0 w 2302132"/>
                <a:gd name="connsiteY2" fmla="*/ 257442 h 257442"/>
                <a:gd name="connsiteX3" fmla="*/ 0 w 2302132"/>
                <a:gd name="connsiteY3" fmla="*/ 0 h 257442"/>
                <a:gd name="connsiteX0" fmla="*/ 2302133 w 2302133"/>
                <a:gd name="connsiteY0" fmla="*/ 0 h 257442"/>
                <a:gd name="connsiteX1" fmla="*/ 2247412 w 2302133"/>
                <a:gd name="connsiteY1" fmla="*/ 257442 h 257442"/>
                <a:gd name="connsiteX2" fmla="*/ 1 w 2302133"/>
                <a:gd name="connsiteY2" fmla="*/ 257442 h 257442"/>
                <a:gd name="connsiteX3" fmla="*/ 0 w 2302133"/>
                <a:gd name="connsiteY3" fmla="*/ 0 h 257442"/>
                <a:gd name="connsiteX0" fmla="*/ 2462433 w 2462433"/>
                <a:gd name="connsiteY0" fmla="*/ 0 h 257442"/>
                <a:gd name="connsiteX1" fmla="*/ 2247412 w 2462433"/>
                <a:gd name="connsiteY1" fmla="*/ 257442 h 257442"/>
                <a:gd name="connsiteX2" fmla="*/ 1 w 2462433"/>
                <a:gd name="connsiteY2" fmla="*/ 257442 h 257442"/>
                <a:gd name="connsiteX3" fmla="*/ 0 w 2462433"/>
                <a:gd name="connsiteY3" fmla="*/ 0 h 257442"/>
                <a:gd name="connsiteX0" fmla="*/ 2462433 w 2462433"/>
                <a:gd name="connsiteY0" fmla="*/ 0 h 257442"/>
                <a:gd name="connsiteX1" fmla="*/ 2407712 w 2462433"/>
                <a:gd name="connsiteY1" fmla="*/ 257442 h 257442"/>
                <a:gd name="connsiteX2" fmla="*/ 1 w 2462433"/>
                <a:gd name="connsiteY2" fmla="*/ 257442 h 257442"/>
                <a:gd name="connsiteX3" fmla="*/ 0 w 2462433"/>
                <a:gd name="connsiteY3" fmla="*/ 0 h 257442"/>
                <a:gd name="connsiteX0" fmla="*/ 2462433 w 2462433"/>
                <a:gd name="connsiteY0" fmla="*/ 0 h 257442"/>
                <a:gd name="connsiteX1" fmla="*/ 2407712 w 2462433"/>
                <a:gd name="connsiteY1" fmla="*/ 257442 h 257442"/>
                <a:gd name="connsiteX2" fmla="*/ 1 w 2462433"/>
                <a:gd name="connsiteY2" fmla="*/ 257442 h 257442"/>
                <a:gd name="connsiteX3" fmla="*/ 0 w 2462433"/>
                <a:gd name="connsiteY3" fmla="*/ 0 h 257442"/>
                <a:gd name="connsiteX0" fmla="*/ 2462432 w 2462432"/>
                <a:gd name="connsiteY0" fmla="*/ 0 h 257442"/>
                <a:gd name="connsiteX1" fmla="*/ 2407711 w 2462432"/>
                <a:gd name="connsiteY1" fmla="*/ 257442 h 257442"/>
                <a:gd name="connsiteX2" fmla="*/ 0 w 2462432"/>
                <a:gd name="connsiteY2" fmla="*/ 257442 h 257442"/>
                <a:gd name="connsiteX3" fmla="*/ 0 w 2462432"/>
                <a:gd name="connsiteY3" fmla="*/ 0 h 257442"/>
                <a:gd name="connsiteX0" fmla="*/ 2715706 w 2715706"/>
                <a:gd name="connsiteY0" fmla="*/ 0 h 257442"/>
                <a:gd name="connsiteX1" fmla="*/ 2407711 w 2715706"/>
                <a:gd name="connsiteY1" fmla="*/ 257442 h 257442"/>
                <a:gd name="connsiteX2" fmla="*/ 0 w 2715706"/>
                <a:gd name="connsiteY2" fmla="*/ 257442 h 257442"/>
                <a:gd name="connsiteX3" fmla="*/ 0 w 2715706"/>
                <a:gd name="connsiteY3" fmla="*/ 0 h 257442"/>
                <a:gd name="connsiteX0" fmla="*/ 2715706 w 2715706"/>
                <a:gd name="connsiteY0" fmla="*/ 0 h 257442"/>
                <a:gd name="connsiteX1" fmla="*/ 2660985 w 2715706"/>
                <a:gd name="connsiteY1" fmla="*/ 257442 h 257442"/>
                <a:gd name="connsiteX2" fmla="*/ 0 w 2715706"/>
                <a:gd name="connsiteY2" fmla="*/ 257442 h 257442"/>
                <a:gd name="connsiteX3" fmla="*/ 0 w 2715706"/>
                <a:gd name="connsiteY3" fmla="*/ 0 h 257442"/>
                <a:gd name="connsiteX0" fmla="*/ 2715707 w 2715707"/>
                <a:gd name="connsiteY0" fmla="*/ 0 h 257442"/>
                <a:gd name="connsiteX1" fmla="*/ 2660986 w 2715707"/>
                <a:gd name="connsiteY1" fmla="*/ 257442 h 257442"/>
                <a:gd name="connsiteX2" fmla="*/ 0 w 2715707"/>
                <a:gd name="connsiteY2" fmla="*/ 257442 h 257442"/>
                <a:gd name="connsiteX3" fmla="*/ 1 w 2715707"/>
                <a:gd name="connsiteY3" fmla="*/ 0 h 257442"/>
                <a:gd name="connsiteX0" fmla="*/ 2715707 w 2715707"/>
                <a:gd name="connsiteY0" fmla="*/ 0 h 257442"/>
                <a:gd name="connsiteX1" fmla="*/ 2660986 w 2715707"/>
                <a:gd name="connsiteY1" fmla="*/ 257442 h 257442"/>
                <a:gd name="connsiteX2" fmla="*/ 0 w 2715707"/>
                <a:gd name="connsiteY2" fmla="*/ 257442 h 257442"/>
                <a:gd name="connsiteX3" fmla="*/ 1 w 2715707"/>
                <a:gd name="connsiteY3" fmla="*/ 0 h 257442"/>
                <a:gd name="connsiteX0" fmla="*/ 2884024 w 2884024"/>
                <a:gd name="connsiteY0" fmla="*/ 0 h 257442"/>
                <a:gd name="connsiteX1" fmla="*/ 2660986 w 2884024"/>
                <a:gd name="connsiteY1" fmla="*/ 257442 h 257442"/>
                <a:gd name="connsiteX2" fmla="*/ 0 w 2884024"/>
                <a:gd name="connsiteY2" fmla="*/ 257442 h 257442"/>
                <a:gd name="connsiteX3" fmla="*/ 1 w 2884024"/>
                <a:gd name="connsiteY3" fmla="*/ 0 h 257442"/>
                <a:gd name="connsiteX0" fmla="*/ 2884024 w 2884024"/>
                <a:gd name="connsiteY0" fmla="*/ 0 h 257442"/>
                <a:gd name="connsiteX1" fmla="*/ 2829302 w 2884024"/>
                <a:gd name="connsiteY1" fmla="*/ 257442 h 257442"/>
                <a:gd name="connsiteX2" fmla="*/ 0 w 2884024"/>
                <a:gd name="connsiteY2" fmla="*/ 257442 h 257442"/>
                <a:gd name="connsiteX3" fmla="*/ 1 w 2884024"/>
                <a:gd name="connsiteY3" fmla="*/ 0 h 257442"/>
                <a:gd name="connsiteX0" fmla="*/ 2884024 w 2884024"/>
                <a:gd name="connsiteY0" fmla="*/ 0 h 257442"/>
                <a:gd name="connsiteX1" fmla="*/ 2829302 w 2884024"/>
                <a:gd name="connsiteY1" fmla="*/ 257442 h 257442"/>
                <a:gd name="connsiteX2" fmla="*/ 0 w 2884024"/>
                <a:gd name="connsiteY2" fmla="*/ 257442 h 257442"/>
                <a:gd name="connsiteX3" fmla="*/ 1 w 2884024"/>
                <a:gd name="connsiteY3" fmla="*/ 0 h 257442"/>
                <a:gd name="connsiteX0" fmla="*/ 2884024 w 2884024"/>
                <a:gd name="connsiteY0" fmla="*/ 0 h 257442"/>
                <a:gd name="connsiteX1" fmla="*/ 2829302 w 2884024"/>
                <a:gd name="connsiteY1" fmla="*/ 257442 h 257442"/>
                <a:gd name="connsiteX2" fmla="*/ 0 w 2884024"/>
                <a:gd name="connsiteY2" fmla="*/ 257442 h 257442"/>
                <a:gd name="connsiteX3" fmla="*/ 0 w 2884024"/>
                <a:gd name="connsiteY3" fmla="*/ 0 h 257442"/>
                <a:gd name="connsiteX0" fmla="*/ 3052337 w 3052337"/>
                <a:gd name="connsiteY0" fmla="*/ 0 h 257442"/>
                <a:gd name="connsiteX1" fmla="*/ 2829302 w 3052337"/>
                <a:gd name="connsiteY1" fmla="*/ 257442 h 257442"/>
                <a:gd name="connsiteX2" fmla="*/ 0 w 3052337"/>
                <a:gd name="connsiteY2" fmla="*/ 257442 h 257442"/>
                <a:gd name="connsiteX3" fmla="*/ 0 w 3052337"/>
                <a:gd name="connsiteY3" fmla="*/ 0 h 257442"/>
                <a:gd name="connsiteX0" fmla="*/ 3052337 w 3052337"/>
                <a:gd name="connsiteY0" fmla="*/ 0 h 257442"/>
                <a:gd name="connsiteX1" fmla="*/ 2997616 w 3052337"/>
                <a:gd name="connsiteY1" fmla="*/ 257442 h 257442"/>
                <a:gd name="connsiteX2" fmla="*/ 0 w 3052337"/>
                <a:gd name="connsiteY2" fmla="*/ 257442 h 257442"/>
                <a:gd name="connsiteX3" fmla="*/ 0 w 3052337"/>
                <a:gd name="connsiteY3" fmla="*/ 0 h 257442"/>
                <a:gd name="connsiteX0" fmla="*/ 3052337 w 3052337"/>
                <a:gd name="connsiteY0" fmla="*/ 0 h 257442"/>
                <a:gd name="connsiteX1" fmla="*/ 2997616 w 3052337"/>
                <a:gd name="connsiteY1" fmla="*/ 257442 h 257442"/>
                <a:gd name="connsiteX2" fmla="*/ 0 w 3052337"/>
                <a:gd name="connsiteY2" fmla="*/ 257442 h 257442"/>
                <a:gd name="connsiteX3" fmla="*/ 0 w 3052337"/>
                <a:gd name="connsiteY3" fmla="*/ 0 h 257442"/>
                <a:gd name="connsiteX0" fmla="*/ 3052337 w 3052337"/>
                <a:gd name="connsiteY0" fmla="*/ 0 h 257442"/>
                <a:gd name="connsiteX1" fmla="*/ 2997616 w 3052337"/>
                <a:gd name="connsiteY1" fmla="*/ 257442 h 257442"/>
                <a:gd name="connsiteX2" fmla="*/ 0 w 3052337"/>
                <a:gd name="connsiteY2" fmla="*/ 257442 h 257442"/>
                <a:gd name="connsiteX3" fmla="*/ 0 w 3052337"/>
                <a:gd name="connsiteY3" fmla="*/ 0 h 257442"/>
                <a:gd name="connsiteX0" fmla="*/ 3220653 w 3220653"/>
                <a:gd name="connsiteY0" fmla="*/ 0 h 257442"/>
                <a:gd name="connsiteX1" fmla="*/ 2997616 w 3220653"/>
                <a:gd name="connsiteY1" fmla="*/ 257442 h 257442"/>
                <a:gd name="connsiteX2" fmla="*/ 0 w 3220653"/>
                <a:gd name="connsiteY2" fmla="*/ 257442 h 257442"/>
                <a:gd name="connsiteX3" fmla="*/ 0 w 3220653"/>
                <a:gd name="connsiteY3" fmla="*/ 0 h 257442"/>
                <a:gd name="connsiteX0" fmla="*/ 3220653 w 3220653"/>
                <a:gd name="connsiteY0" fmla="*/ 0 h 257442"/>
                <a:gd name="connsiteX1" fmla="*/ 3165932 w 3220653"/>
                <a:gd name="connsiteY1" fmla="*/ 257442 h 257442"/>
                <a:gd name="connsiteX2" fmla="*/ 0 w 3220653"/>
                <a:gd name="connsiteY2" fmla="*/ 257442 h 257442"/>
                <a:gd name="connsiteX3" fmla="*/ 0 w 3220653"/>
                <a:gd name="connsiteY3" fmla="*/ 0 h 257442"/>
                <a:gd name="connsiteX0" fmla="*/ 3220653 w 3220653"/>
                <a:gd name="connsiteY0" fmla="*/ 0 h 257442"/>
                <a:gd name="connsiteX1" fmla="*/ 3165932 w 3220653"/>
                <a:gd name="connsiteY1" fmla="*/ 257442 h 257442"/>
                <a:gd name="connsiteX2" fmla="*/ 0 w 3220653"/>
                <a:gd name="connsiteY2" fmla="*/ 257442 h 257442"/>
                <a:gd name="connsiteX3" fmla="*/ 0 w 3220653"/>
                <a:gd name="connsiteY3" fmla="*/ 0 h 257442"/>
                <a:gd name="connsiteX0" fmla="*/ 3220653 w 3220653"/>
                <a:gd name="connsiteY0" fmla="*/ 0 h 257442"/>
                <a:gd name="connsiteX1" fmla="*/ 3165932 w 3220653"/>
                <a:gd name="connsiteY1" fmla="*/ 257442 h 257442"/>
                <a:gd name="connsiteX2" fmla="*/ 0 w 3220653"/>
                <a:gd name="connsiteY2" fmla="*/ 257442 h 257442"/>
                <a:gd name="connsiteX3" fmla="*/ 0 w 3220653"/>
                <a:gd name="connsiteY3" fmla="*/ 0 h 257442"/>
                <a:gd name="connsiteX0" fmla="*/ 3380954 w 3380954"/>
                <a:gd name="connsiteY0" fmla="*/ 0 h 257442"/>
                <a:gd name="connsiteX1" fmla="*/ 3165932 w 3380954"/>
                <a:gd name="connsiteY1" fmla="*/ 257442 h 257442"/>
                <a:gd name="connsiteX2" fmla="*/ 0 w 3380954"/>
                <a:gd name="connsiteY2" fmla="*/ 257442 h 257442"/>
                <a:gd name="connsiteX3" fmla="*/ 0 w 3380954"/>
                <a:gd name="connsiteY3" fmla="*/ 0 h 257442"/>
                <a:gd name="connsiteX0" fmla="*/ 3380954 w 3380954"/>
                <a:gd name="connsiteY0" fmla="*/ 0 h 257442"/>
                <a:gd name="connsiteX1" fmla="*/ 3326232 w 3380954"/>
                <a:gd name="connsiteY1" fmla="*/ 257442 h 257442"/>
                <a:gd name="connsiteX2" fmla="*/ 0 w 3380954"/>
                <a:gd name="connsiteY2" fmla="*/ 257442 h 257442"/>
                <a:gd name="connsiteX3" fmla="*/ 0 w 3380954"/>
                <a:gd name="connsiteY3" fmla="*/ 0 h 257442"/>
                <a:gd name="connsiteX0" fmla="*/ 3380955 w 3380955"/>
                <a:gd name="connsiteY0" fmla="*/ 0 h 257442"/>
                <a:gd name="connsiteX1" fmla="*/ 3326233 w 3380955"/>
                <a:gd name="connsiteY1" fmla="*/ 257442 h 257442"/>
                <a:gd name="connsiteX2" fmla="*/ 0 w 3380955"/>
                <a:gd name="connsiteY2" fmla="*/ 257442 h 257442"/>
                <a:gd name="connsiteX3" fmla="*/ 1 w 3380955"/>
                <a:gd name="connsiteY3" fmla="*/ 0 h 257442"/>
                <a:gd name="connsiteX0" fmla="*/ 3380955 w 3380955"/>
                <a:gd name="connsiteY0" fmla="*/ 0 h 257442"/>
                <a:gd name="connsiteX1" fmla="*/ 3326233 w 3380955"/>
                <a:gd name="connsiteY1" fmla="*/ 257442 h 257442"/>
                <a:gd name="connsiteX2" fmla="*/ 0 w 3380955"/>
                <a:gd name="connsiteY2" fmla="*/ 257442 h 257442"/>
                <a:gd name="connsiteX3" fmla="*/ 1 w 3380955"/>
                <a:gd name="connsiteY3" fmla="*/ 0 h 257442"/>
                <a:gd name="connsiteX0" fmla="*/ 3549269 w 3549269"/>
                <a:gd name="connsiteY0" fmla="*/ 0 h 257442"/>
                <a:gd name="connsiteX1" fmla="*/ 3326233 w 3549269"/>
                <a:gd name="connsiteY1" fmla="*/ 257442 h 257442"/>
                <a:gd name="connsiteX2" fmla="*/ 0 w 3549269"/>
                <a:gd name="connsiteY2" fmla="*/ 257442 h 257442"/>
                <a:gd name="connsiteX3" fmla="*/ 1 w 3549269"/>
                <a:gd name="connsiteY3" fmla="*/ 0 h 257442"/>
                <a:gd name="connsiteX0" fmla="*/ 3549269 w 3549269"/>
                <a:gd name="connsiteY0" fmla="*/ 0 h 257442"/>
                <a:gd name="connsiteX1" fmla="*/ 3494548 w 3549269"/>
                <a:gd name="connsiteY1" fmla="*/ 257442 h 257442"/>
                <a:gd name="connsiteX2" fmla="*/ 0 w 3549269"/>
                <a:gd name="connsiteY2" fmla="*/ 257442 h 257442"/>
                <a:gd name="connsiteX3" fmla="*/ 1 w 3549269"/>
                <a:gd name="connsiteY3" fmla="*/ 0 h 257442"/>
                <a:gd name="connsiteX0" fmla="*/ 3549268 w 3549268"/>
                <a:gd name="connsiteY0" fmla="*/ 0 h 257442"/>
                <a:gd name="connsiteX1" fmla="*/ 3494547 w 3549268"/>
                <a:gd name="connsiteY1" fmla="*/ 257442 h 257442"/>
                <a:gd name="connsiteX2" fmla="*/ 0 w 3549268"/>
                <a:gd name="connsiteY2" fmla="*/ 257442 h 257442"/>
                <a:gd name="connsiteX3" fmla="*/ 0 w 3549268"/>
                <a:gd name="connsiteY3" fmla="*/ 0 h 257442"/>
                <a:gd name="connsiteX0" fmla="*/ 3549269 w 3549269"/>
                <a:gd name="connsiteY0" fmla="*/ 0 h 257442"/>
                <a:gd name="connsiteX1" fmla="*/ 3494548 w 3549269"/>
                <a:gd name="connsiteY1" fmla="*/ 257442 h 257442"/>
                <a:gd name="connsiteX2" fmla="*/ 1 w 3549269"/>
                <a:gd name="connsiteY2" fmla="*/ 257442 h 257442"/>
                <a:gd name="connsiteX3" fmla="*/ 0 w 3549269"/>
                <a:gd name="connsiteY3" fmla="*/ 0 h 257442"/>
                <a:gd name="connsiteX0" fmla="*/ 3717585 w 3717585"/>
                <a:gd name="connsiteY0" fmla="*/ 0 h 257442"/>
                <a:gd name="connsiteX1" fmla="*/ 3494548 w 3717585"/>
                <a:gd name="connsiteY1" fmla="*/ 257442 h 257442"/>
                <a:gd name="connsiteX2" fmla="*/ 1 w 3717585"/>
                <a:gd name="connsiteY2" fmla="*/ 257442 h 257442"/>
                <a:gd name="connsiteX3" fmla="*/ 0 w 3717585"/>
                <a:gd name="connsiteY3" fmla="*/ 0 h 257442"/>
                <a:gd name="connsiteX0" fmla="*/ 3717585 w 3717585"/>
                <a:gd name="connsiteY0" fmla="*/ 0 h 257442"/>
                <a:gd name="connsiteX1" fmla="*/ 3662864 w 3717585"/>
                <a:gd name="connsiteY1" fmla="*/ 257442 h 257442"/>
                <a:gd name="connsiteX2" fmla="*/ 1 w 3717585"/>
                <a:gd name="connsiteY2" fmla="*/ 257442 h 257442"/>
                <a:gd name="connsiteX3" fmla="*/ 0 w 3717585"/>
                <a:gd name="connsiteY3" fmla="*/ 0 h 257442"/>
                <a:gd name="connsiteX0" fmla="*/ 3717585 w 3717585"/>
                <a:gd name="connsiteY0" fmla="*/ 0 h 257442"/>
                <a:gd name="connsiteX1" fmla="*/ 3662864 w 3717585"/>
                <a:gd name="connsiteY1" fmla="*/ 257442 h 257442"/>
                <a:gd name="connsiteX2" fmla="*/ 1 w 3717585"/>
                <a:gd name="connsiteY2" fmla="*/ 257442 h 257442"/>
                <a:gd name="connsiteX3" fmla="*/ 0 w 3717585"/>
                <a:gd name="connsiteY3" fmla="*/ 0 h 257442"/>
                <a:gd name="connsiteX0" fmla="*/ 3717584 w 3717584"/>
                <a:gd name="connsiteY0" fmla="*/ 0 h 257442"/>
                <a:gd name="connsiteX1" fmla="*/ 3662863 w 3717584"/>
                <a:gd name="connsiteY1" fmla="*/ 257442 h 257442"/>
                <a:gd name="connsiteX2" fmla="*/ 0 w 3717584"/>
                <a:gd name="connsiteY2" fmla="*/ 257442 h 257442"/>
                <a:gd name="connsiteX3" fmla="*/ 0 w 3717584"/>
                <a:gd name="connsiteY3" fmla="*/ 0 h 257442"/>
                <a:gd name="connsiteX0" fmla="*/ 3877884 w 3877884"/>
                <a:gd name="connsiteY0" fmla="*/ 0 h 257442"/>
                <a:gd name="connsiteX1" fmla="*/ 3662863 w 3877884"/>
                <a:gd name="connsiteY1" fmla="*/ 257442 h 257442"/>
                <a:gd name="connsiteX2" fmla="*/ 0 w 3877884"/>
                <a:gd name="connsiteY2" fmla="*/ 257442 h 257442"/>
                <a:gd name="connsiteX3" fmla="*/ 0 w 3877884"/>
                <a:gd name="connsiteY3" fmla="*/ 0 h 257442"/>
                <a:gd name="connsiteX0" fmla="*/ 3877884 w 3877884"/>
                <a:gd name="connsiteY0" fmla="*/ 0 h 257442"/>
                <a:gd name="connsiteX1" fmla="*/ 3823163 w 3877884"/>
                <a:gd name="connsiteY1" fmla="*/ 257442 h 257442"/>
                <a:gd name="connsiteX2" fmla="*/ 0 w 3877884"/>
                <a:gd name="connsiteY2" fmla="*/ 257442 h 257442"/>
                <a:gd name="connsiteX3" fmla="*/ 0 w 3877884"/>
                <a:gd name="connsiteY3" fmla="*/ 0 h 257442"/>
                <a:gd name="connsiteX0" fmla="*/ 3877885 w 3877885"/>
                <a:gd name="connsiteY0" fmla="*/ 0 h 257442"/>
                <a:gd name="connsiteX1" fmla="*/ 3823164 w 3877885"/>
                <a:gd name="connsiteY1" fmla="*/ 257442 h 257442"/>
                <a:gd name="connsiteX2" fmla="*/ 0 w 3877885"/>
                <a:gd name="connsiteY2" fmla="*/ 257442 h 257442"/>
                <a:gd name="connsiteX3" fmla="*/ 1 w 3877885"/>
                <a:gd name="connsiteY3" fmla="*/ 0 h 257442"/>
                <a:gd name="connsiteX0" fmla="*/ 3877885 w 3877885"/>
                <a:gd name="connsiteY0" fmla="*/ 0 h 257442"/>
                <a:gd name="connsiteX1" fmla="*/ 3823164 w 3877885"/>
                <a:gd name="connsiteY1" fmla="*/ 257442 h 257442"/>
                <a:gd name="connsiteX2" fmla="*/ 0 w 3877885"/>
                <a:gd name="connsiteY2" fmla="*/ 257442 h 257442"/>
                <a:gd name="connsiteX3" fmla="*/ 1 w 3877885"/>
                <a:gd name="connsiteY3" fmla="*/ 0 h 257442"/>
                <a:gd name="connsiteX0" fmla="*/ 4038186 w 4038186"/>
                <a:gd name="connsiteY0" fmla="*/ 0 h 257442"/>
                <a:gd name="connsiteX1" fmla="*/ 3823164 w 4038186"/>
                <a:gd name="connsiteY1" fmla="*/ 257442 h 257442"/>
                <a:gd name="connsiteX2" fmla="*/ 0 w 4038186"/>
                <a:gd name="connsiteY2" fmla="*/ 257442 h 257442"/>
                <a:gd name="connsiteX3" fmla="*/ 1 w 4038186"/>
                <a:gd name="connsiteY3" fmla="*/ 0 h 257442"/>
                <a:gd name="connsiteX0" fmla="*/ 4038186 w 4038186"/>
                <a:gd name="connsiteY0" fmla="*/ 0 h 257442"/>
                <a:gd name="connsiteX1" fmla="*/ 3983464 w 4038186"/>
                <a:gd name="connsiteY1" fmla="*/ 257442 h 257442"/>
                <a:gd name="connsiteX2" fmla="*/ 0 w 4038186"/>
                <a:gd name="connsiteY2" fmla="*/ 257442 h 257442"/>
                <a:gd name="connsiteX3" fmla="*/ 1 w 4038186"/>
                <a:gd name="connsiteY3" fmla="*/ 0 h 257442"/>
                <a:gd name="connsiteX0" fmla="*/ 4038186 w 4038186"/>
                <a:gd name="connsiteY0" fmla="*/ 0 h 257442"/>
                <a:gd name="connsiteX1" fmla="*/ 3983464 w 4038186"/>
                <a:gd name="connsiteY1" fmla="*/ 257442 h 257442"/>
                <a:gd name="connsiteX2" fmla="*/ 0 w 4038186"/>
                <a:gd name="connsiteY2" fmla="*/ 257442 h 257442"/>
                <a:gd name="connsiteX3" fmla="*/ 1 w 4038186"/>
                <a:gd name="connsiteY3" fmla="*/ 0 h 257442"/>
                <a:gd name="connsiteX0" fmla="*/ 4038186 w 4038186"/>
                <a:gd name="connsiteY0" fmla="*/ 0 h 257442"/>
                <a:gd name="connsiteX1" fmla="*/ 3983464 w 4038186"/>
                <a:gd name="connsiteY1" fmla="*/ 257442 h 257442"/>
                <a:gd name="connsiteX2" fmla="*/ 0 w 4038186"/>
                <a:gd name="connsiteY2" fmla="*/ 257442 h 257442"/>
                <a:gd name="connsiteX3" fmla="*/ 0 w 4038186"/>
                <a:gd name="connsiteY3" fmla="*/ 0 h 257442"/>
                <a:gd name="connsiteX0" fmla="*/ 950801 w 3983464"/>
                <a:gd name="connsiteY0" fmla="*/ 0 h 257442"/>
                <a:gd name="connsiteX1" fmla="*/ 3983464 w 3983464"/>
                <a:gd name="connsiteY1" fmla="*/ 257442 h 257442"/>
                <a:gd name="connsiteX2" fmla="*/ 0 w 3983464"/>
                <a:gd name="connsiteY2" fmla="*/ 257442 h 257442"/>
                <a:gd name="connsiteX3" fmla="*/ 0 w 3983464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0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0 w 950800"/>
                <a:gd name="connsiteY3" fmla="*/ 0 h 257442"/>
                <a:gd name="connsiteX0" fmla="*/ 1261783 w 1261783"/>
                <a:gd name="connsiteY0" fmla="*/ 0 h 257442"/>
                <a:gd name="connsiteX1" fmla="*/ 896079 w 1261783"/>
                <a:gd name="connsiteY1" fmla="*/ 257442 h 257442"/>
                <a:gd name="connsiteX2" fmla="*/ 0 w 1261783"/>
                <a:gd name="connsiteY2" fmla="*/ 257442 h 257442"/>
                <a:gd name="connsiteX3" fmla="*/ 0 w 1261783"/>
                <a:gd name="connsiteY3" fmla="*/ 0 h 257442"/>
                <a:gd name="connsiteX0" fmla="*/ 1261783 w 1261783"/>
                <a:gd name="connsiteY0" fmla="*/ 0 h 257442"/>
                <a:gd name="connsiteX1" fmla="*/ 1207062 w 1261783"/>
                <a:gd name="connsiteY1" fmla="*/ 257442 h 257442"/>
                <a:gd name="connsiteX2" fmla="*/ 0 w 1261783"/>
                <a:gd name="connsiteY2" fmla="*/ 257442 h 257442"/>
                <a:gd name="connsiteX3" fmla="*/ 0 w 1261783"/>
                <a:gd name="connsiteY3" fmla="*/ 0 h 257442"/>
                <a:gd name="connsiteX0" fmla="*/ 1261784 w 1261784"/>
                <a:gd name="connsiteY0" fmla="*/ 0 h 257442"/>
                <a:gd name="connsiteX1" fmla="*/ 1207063 w 1261784"/>
                <a:gd name="connsiteY1" fmla="*/ 257442 h 257442"/>
                <a:gd name="connsiteX2" fmla="*/ 0 w 1261784"/>
                <a:gd name="connsiteY2" fmla="*/ 257442 h 257442"/>
                <a:gd name="connsiteX3" fmla="*/ 1 w 1261784"/>
                <a:gd name="connsiteY3" fmla="*/ 0 h 257442"/>
                <a:gd name="connsiteX0" fmla="*/ 1261784 w 1261784"/>
                <a:gd name="connsiteY0" fmla="*/ 0 h 257442"/>
                <a:gd name="connsiteX1" fmla="*/ 1207063 w 1261784"/>
                <a:gd name="connsiteY1" fmla="*/ 257442 h 257442"/>
                <a:gd name="connsiteX2" fmla="*/ 0 w 1261784"/>
                <a:gd name="connsiteY2" fmla="*/ 257442 h 257442"/>
                <a:gd name="connsiteX3" fmla="*/ 0 w 1261784"/>
                <a:gd name="connsiteY3" fmla="*/ 0 h 257442"/>
                <a:gd name="connsiteX0" fmla="*/ 1525381 w 1525381"/>
                <a:gd name="connsiteY0" fmla="*/ 0 h 257442"/>
                <a:gd name="connsiteX1" fmla="*/ 1207063 w 1525381"/>
                <a:gd name="connsiteY1" fmla="*/ 257442 h 257442"/>
                <a:gd name="connsiteX2" fmla="*/ 0 w 1525381"/>
                <a:gd name="connsiteY2" fmla="*/ 257442 h 257442"/>
                <a:gd name="connsiteX3" fmla="*/ 0 w 1525381"/>
                <a:gd name="connsiteY3" fmla="*/ 0 h 257442"/>
                <a:gd name="connsiteX0" fmla="*/ 1525381 w 1525381"/>
                <a:gd name="connsiteY0" fmla="*/ 0 h 257442"/>
                <a:gd name="connsiteX1" fmla="*/ 1470660 w 1525381"/>
                <a:gd name="connsiteY1" fmla="*/ 257442 h 257442"/>
                <a:gd name="connsiteX2" fmla="*/ 0 w 1525381"/>
                <a:gd name="connsiteY2" fmla="*/ 257442 h 257442"/>
                <a:gd name="connsiteX3" fmla="*/ 0 w 1525381"/>
                <a:gd name="connsiteY3" fmla="*/ 0 h 257442"/>
                <a:gd name="connsiteX0" fmla="*/ 1525381 w 1525381"/>
                <a:gd name="connsiteY0" fmla="*/ 0 h 257442"/>
                <a:gd name="connsiteX1" fmla="*/ 1470660 w 1525381"/>
                <a:gd name="connsiteY1" fmla="*/ 257442 h 257442"/>
                <a:gd name="connsiteX2" fmla="*/ 0 w 1525381"/>
                <a:gd name="connsiteY2" fmla="*/ 257442 h 257442"/>
                <a:gd name="connsiteX3" fmla="*/ 0 w 1525381"/>
                <a:gd name="connsiteY3" fmla="*/ 0 h 257442"/>
                <a:gd name="connsiteX0" fmla="*/ 1525381 w 1525381"/>
                <a:gd name="connsiteY0" fmla="*/ 0 h 257442"/>
                <a:gd name="connsiteX1" fmla="*/ 1470660 w 1525381"/>
                <a:gd name="connsiteY1" fmla="*/ 257442 h 257442"/>
                <a:gd name="connsiteX2" fmla="*/ 0 w 1525381"/>
                <a:gd name="connsiteY2" fmla="*/ 257442 h 257442"/>
                <a:gd name="connsiteX3" fmla="*/ 0 w 1525381"/>
                <a:gd name="connsiteY3" fmla="*/ 0 h 257442"/>
                <a:gd name="connsiteX0" fmla="*/ 1693697 w 1693697"/>
                <a:gd name="connsiteY0" fmla="*/ 0 h 257442"/>
                <a:gd name="connsiteX1" fmla="*/ 1470660 w 1693697"/>
                <a:gd name="connsiteY1" fmla="*/ 257442 h 257442"/>
                <a:gd name="connsiteX2" fmla="*/ 0 w 1693697"/>
                <a:gd name="connsiteY2" fmla="*/ 257442 h 257442"/>
                <a:gd name="connsiteX3" fmla="*/ 0 w 1693697"/>
                <a:gd name="connsiteY3" fmla="*/ 0 h 257442"/>
                <a:gd name="connsiteX0" fmla="*/ 1693697 w 1693697"/>
                <a:gd name="connsiteY0" fmla="*/ 0 h 257442"/>
                <a:gd name="connsiteX1" fmla="*/ 1638976 w 1693697"/>
                <a:gd name="connsiteY1" fmla="*/ 257442 h 257442"/>
                <a:gd name="connsiteX2" fmla="*/ 0 w 1693697"/>
                <a:gd name="connsiteY2" fmla="*/ 257442 h 257442"/>
                <a:gd name="connsiteX3" fmla="*/ 0 w 1693697"/>
                <a:gd name="connsiteY3" fmla="*/ 0 h 257442"/>
                <a:gd name="connsiteX0" fmla="*/ 1693697 w 1693697"/>
                <a:gd name="connsiteY0" fmla="*/ 0 h 257442"/>
                <a:gd name="connsiteX1" fmla="*/ 1638976 w 1693697"/>
                <a:gd name="connsiteY1" fmla="*/ 257442 h 257442"/>
                <a:gd name="connsiteX2" fmla="*/ 0 w 1693697"/>
                <a:gd name="connsiteY2" fmla="*/ 257442 h 257442"/>
                <a:gd name="connsiteX3" fmla="*/ 0 w 1693697"/>
                <a:gd name="connsiteY3" fmla="*/ 0 h 257442"/>
                <a:gd name="connsiteX0" fmla="*/ 1693697 w 1693697"/>
                <a:gd name="connsiteY0" fmla="*/ 0 h 257442"/>
                <a:gd name="connsiteX1" fmla="*/ 1638976 w 1693697"/>
                <a:gd name="connsiteY1" fmla="*/ 257442 h 257442"/>
                <a:gd name="connsiteX2" fmla="*/ 0 w 1693697"/>
                <a:gd name="connsiteY2" fmla="*/ 257442 h 257442"/>
                <a:gd name="connsiteX3" fmla="*/ 0 w 1693697"/>
                <a:gd name="connsiteY3" fmla="*/ 0 h 257442"/>
                <a:gd name="connsiteX0" fmla="*/ 1871630 w 1871630"/>
                <a:gd name="connsiteY0" fmla="*/ 0 h 257442"/>
                <a:gd name="connsiteX1" fmla="*/ 1638976 w 1871630"/>
                <a:gd name="connsiteY1" fmla="*/ 257442 h 257442"/>
                <a:gd name="connsiteX2" fmla="*/ 0 w 1871630"/>
                <a:gd name="connsiteY2" fmla="*/ 257442 h 257442"/>
                <a:gd name="connsiteX3" fmla="*/ 0 w 1871630"/>
                <a:gd name="connsiteY3" fmla="*/ 0 h 257442"/>
                <a:gd name="connsiteX0" fmla="*/ 1871630 w 1871630"/>
                <a:gd name="connsiteY0" fmla="*/ 0 h 257442"/>
                <a:gd name="connsiteX1" fmla="*/ 1816908 w 1871630"/>
                <a:gd name="connsiteY1" fmla="*/ 257442 h 257442"/>
                <a:gd name="connsiteX2" fmla="*/ 0 w 1871630"/>
                <a:gd name="connsiteY2" fmla="*/ 257442 h 257442"/>
                <a:gd name="connsiteX3" fmla="*/ 0 w 1871630"/>
                <a:gd name="connsiteY3" fmla="*/ 0 h 257442"/>
                <a:gd name="connsiteX0" fmla="*/ 1871631 w 1871631"/>
                <a:gd name="connsiteY0" fmla="*/ 0 h 257442"/>
                <a:gd name="connsiteX1" fmla="*/ 1816909 w 1871631"/>
                <a:gd name="connsiteY1" fmla="*/ 257442 h 257442"/>
                <a:gd name="connsiteX2" fmla="*/ 0 w 1871631"/>
                <a:gd name="connsiteY2" fmla="*/ 257442 h 257442"/>
                <a:gd name="connsiteX3" fmla="*/ 1 w 1871631"/>
                <a:gd name="connsiteY3" fmla="*/ 0 h 257442"/>
                <a:gd name="connsiteX0" fmla="*/ 1871631 w 1871631"/>
                <a:gd name="connsiteY0" fmla="*/ 0 h 257442"/>
                <a:gd name="connsiteX1" fmla="*/ 1816909 w 1871631"/>
                <a:gd name="connsiteY1" fmla="*/ 257442 h 257442"/>
                <a:gd name="connsiteX2" fmla="*/ 0 w 1871631"/>
                <a:gd name="connsiteY2" fmla="*/ 257442 h 257442"/>
                <a:gd name="connsiteX3" fmla="*/ 1 w 1871631"/>
                <a:gd name="connsiteY3" fmla="*/ 0 h 257442"/>
                <a:gd name="connsiteX0" fmla="*/ 2184217 w 2184217"/>
                <a:gd name="connsiteY0" fmla="*/ 0 h 257442"/>
                <a:gd name="connsiteX1" fmla="*/ 1816909 w 2184217"/>
                <a:gd name="connsiteY1" fmla="*/ 257442 h 257442"/>
                <a:gd name="connsiteX2" fmla="*/ 0 w 2184217"/>
                <a:gd name="connsiteY2" fmla="*/ 257442 h 257442"/>
                <a:gd name="connsiteX3" fmla="*/ 1 w 2184217"/>
                <a:gd name="connsiteY3" fmla="*/ 0 h 257442"/>
                <a:gd name="connsiteX0" fmla="*/ 2184217 w 2184217"/>
                <a:gd name="connsiteY0" fmla="*/ 0 h 257442"/>
                <a:gd name="connsiteX1" fmla="*/ 2129496 w 2184217"/>
                <a:gd name="connsiteY1" fmla="*/ 257442 h 257442"/>
                <a:gd name="connsiteX2" fmla="*/ 0 w 2184217"/>
                <a:gd name="connsiteY2" fmla="*/ 257442 h 257442"/>
                <a:gd name="connsiteX3" fmla="*/ 1 w 2184217"/>
                <a:gd name="connsiteY3" fmla="*/ 0 h 257442"/>
                <a:gd name="connsiteX0" fmla="*/ 2184216 w 2184216"/>
                <a:gd name="connsiteY0" fmla="*/ 0 h 257442"/>
                <a:gd name="connsiteX1" fmla="*/ 2129495 w 2184216"/>
                <a:gd name="connsiteY1" fmla="*/ 257442 h 257442"/>
                <a:gd name="connsiteX2" fmla="*/ 0 w 2184216"/>
                <a:gd name="connsiteY2" fmla="*/ 257442 h 257442"/>
                <a:gd name="connsiteX3" fmla="*/ 0 w 2184216"/>
                <a:gd name="connsiteY3" fmla="*/ 0 h 257442"/>
                <a:gd name="connsiteX0" fmla="*/ 2184217 w 2184217"/>
                <a:gd name="connsiteY0" fmla="*/ 0 h 257442"/>
                <a:gd name="connsiteX1" fmla="*/ 2129496 w 2184217"/>
                <a:gd name="connsiteY1" fmla="*/ 257442 h 257442"/>
                <a:gd name="connsiteX2" fmla="*/ 1 w 2184217"/>
                <a:gd name="connsiteY2" fmla="*/ 257442 h 257442"/>
                <a:gd name="connsiteX3" fmla="*/ 0 w 2184217"/>
                <a:gd name="connsiteY3" fmla="*/ 0 h 257442"/>
                <a:gd name="connsiteX0" fmla="*/ 2344517 w 2344517"/>
                <a:gd name="connsiteY0" fmla="*/ 0 h 257442"/>
                <a:gd name="connsiteX1" fmla="*/ 2129496 w 2344517"/>
                <a:gd name="connsiteY1" fmla="*/ 257442 h 257442"/>
                <a:gd name="connsiteX2" fmla="*/ 1 w 2344517"/>
                <a:gd name="connsiteY2" fmla="*/ 257442 h 257442"/>
                <a:gd name="connsiteX3" fmla="*/ 0 w 2344517"/>
                <a:gd name="connsiteY3" fmla="*/ 0 h 257442"/>
                <a:gd name="connsiteX0" fmla="*/ 2344517 w 2344517"/>
                <a:gd name="connsiteY0" fmla="*/ 0 h 257442"/>
                <a:gd name="connsiteX1" fmla="*/ 2289796 w 2344517"/>
                <a:gd name="connsiteY1" fmla="*/ 257442 h 257442"/>
                <a:gd name="connsiteX2" fmla="*/ 1 w 2344517"/>
                <a:gd name="connsiteY2" fmla="*/ 257442 h 257442"/>
                <a:gd name="connsiteX3" fmla="*/ 0 w 2344517"/>
                <a:gd name="connsiteY3" fmla="*/ 0 h 257442"/>
                <a:gd name="connsiteX0" fmla="*/ 2344517 w 2344517"/>
                <a:gd name="connsiteY0" fmla="*/ 0 h 257442"/>
                <a:gd name="connsiteX1" fmla="*/ 2289796 w 2344517"/>
                <a:gd name="connsiteY1" fmla="*/ 257442 h 257442"/>
                <a:gd name="connsiteX2" fmla="*/ 1 w 2344517"/>
                <a:gd name="connsiteY2" fmla="*/ 257442 h 257442"/>
                <a:gd name="connsiteX3" fmla="*/ 0 w 2344517"/>
                <a:gd name="connsiteY3" fmla="*/ 0 h 257442"/>
                <a:gd name="connsiteX0" fmla="*/ 2344516 w 2344516"/>
                <a:gd name="connsiteY0" fmla="*/ 0 h 257442"/>
                <a:gd name="connsiteX1" fmla="*/ 2289795 w 2344516"/>
                <a:gd name="connsiteY1" fmla="*/ 257442 h 257442"/>
                <a:gd name="connsiteX2" fmla="*/ 0 w 2344516"/>
                <a:gd name="connsiteY2" fmla="*/ 257442 h 257442"/>
                <a:gd name="connsiteX3" fmla="*/ 0 w 2344516"/>
                <a:gd name="connsiteY3" fmla="*/ 0 h 257442"/>
                <a:gd name="connsiteX0" fmla="*/ 2249233 w 2289795"/>
                <a:gd name="connsiteY0" fmla="*/ 0 h 257442"/>
                <a:gd name="connsiteX1" fmla="*/ 2289795 w 2289795"/>
                <a:gd name="connsiteY1" fmla="*/ 257442 h 257442"/>
                <a:gd name="connsiteX2" fmla="*/ 0 w 2289795"/>
                <a:gd name="connsiteY2" fmla="*/ 257442 h 257442"/>
                <a:gd name="connsiteX3" fmla="*/ 0 w 2289795"/>
                <a:gd name="connsiteY3" fmla="*/ 0 h 257442"/>
                <a:gd name="connsiteX0" fmla="*/ 2249233 w 2249233"/>
                <a:gd name="connsiteY0" fmla="*/ 0 h 257442"/>
                <a:gd name="connsiteX1" fmla="*/ 2194513 w 2249233"/>
                <a:gd name="connsiteY1" fmla="*/ 257442 h 257442"/>
                <a:gd name="connsiteX2" fmla="*/ 0 w 2249233"/>
                <a:gd name="connsiteY2" fmla="*/ 257442 h 257442"/>
                <a:gd name="connsiteX3" fmla="*/ 0 w 2249233"/>
                <a:gd name="connsiteY3" fmla="*/ 0 h 257442"/>
                <a:gd name="connsiteX0" fmla="*/ 2249233 w 2249233"/>
                <a:gd name="connsiteY0" fmla="*/ 0 h 257442"/>
                <a:gd name="connsiteX1" fmla="*/ 2194513 w 2249233"/>
                <a:gd name="connsiteY1" fmla="*/ 257442 h 257442"/>
                <a:gd name="connsiteX2" fmla="*/ 0 w 2249233"/>
                <a:gd name="connsiteY2" fmla="*/ 257442 h 257442"/>
                <a:gd name="connsiteX3" fmla="*/ 0 w 2249233"/>
                <a:gd name="connsiteY3" fmla="*/ 0 h 257442"/>
                <a:gd name="connsiteX0" fmla="*/ 2249233 w 2249233"/>
                <a:gd name="connsiteY0" fmla="*/ 0 h 257442"/>
                <a:gd name="connsiteX1" fmla="*/ 2194513 w 2249233"/>
                <a:gd name="connsiteY1" fmla="*/ 257442 h 257442"/>
                <a:gd name="connsiteX2" fmla="*/ 0 w 2249233"/>
                <a:gd name="connsiteY2" fmla="*/ 257442 h 257442"/>
                <a:gd name="connsiteX3" fmla="*/ 0 w 2249233"/>
                <a:gd name="connsiteY3" fmla="*/ 0 h 257442"/>
                <a:gd name="connsiteX0" fmla="*/ 2080918 w 2194513"/>
                <a:gd name="connsiteY0" fmla="*/ 0 h 257442"/>
                <a:gd name="connsiteX1" fmla="*/ 2194513 w 2194513"/>
                <a:gd name="connsiteY1" fmla="*/ 257442 h 257442"/>
                <a:gd name="connsiteX2" fmla="*/ 0 w 2194513"/>
                <a:gd name="connsiteY2" fmla="*/ 257442 h 257442"/>
                <a:gd name="connsiteX3" fmla="*/ 0 w 2194513"/>
                <a:gd name="connsiteY3" fmla="*/ 0 h 257442"/>
                <a:gd name="connsiteX0" fmla="*/ 2080918 w 2080918"/>
                <a:gd name="connsiteY0" fmla="*/ 0 h 257442"/>
                <a:gd name="connsiteX1" fmla="*/ 2026197 w 2080918"/>
                <a:gd name="connsiteY1" fmla="*/ 257442 h 257442"/>
                <a:gd name="connsiteX2" fmla="*/ 0 w 2080918"/>
                <a:gd name="connsiteY2" fmla="*/ 257442 h 257442"/>
                <a:gd name="connsiteX3" fmla="*/ 0 w 2080918"/>
                <a:gd name="connsiteY3" fmla="*/ 0 h 257442"/>
                <a:gd name="connsiteX0" fmla="*/ 2080918 w 2080918"/>
                <a:gd name="connsiteY0" fmla="*/ 0 h 257442"/>
                <a:gd name="connsiteX1" fmla="*/ 2026197 w 2080918"/>
                <a:gd name="connsiteY1" fmla="*/ 257442 h 257442"/>
                <a:gd name="connsiteX2" fmla="*/ 0 w 2080918"/>
                <a:gd name="connsiteY2" fmla="*/ 257442 h 257442"/>
                <a:gd name="connsiteX3" fmla="*/ 0 w 2080918"/>
                <a:gd name="connsiteY3" fmla="*/ 0 h 257442"/>
                <a:gd name="connsiteX0" fmla="*/ 2080918 w 2080918"/>
                <a:gd name="connsiteY0" fmla="*/ 0 h 257442"/>
                <a:gd name="connsiteX1" fmla="*/ 2026197 w 2080918"/>
                <a:gd name="connsiteY1" fmla="*/ 257442 h 257442"/>
                <a:gd name="connsiteX2" fmla="*/ 0 w 2080918"/>
                <a:gd name="connsiteY2" fmla="*/ 257442 h 257442"/>
                <a:gd name="connsiteX3" fmla="*/ 0 w 2080918"/>
                <a:gd name="connsiteY3" fmla="*/ 0 h 257442"/>
                <a:gd name="connsiteX0" fmla="*/ 1938251 w 2026197"/>
                <a:gd name="connsiteY0" fmla="*/ 0 h 257442"/>
                <a:gd name="connsiteX1" fmla="*/ 2026197 w 2026197"/>
                <a:gd name="connsiteY1" fmla="*/ 257442 h 257442"/>
                <a:gd name="connsiteX2" fmla="*/ 0 w 2026197"/>
                <a:gd name="connsiteY2" fmla="*/ 257442 h 257442"/>
                <a:gd name="connsiteX3" fmla="*/ 0 w 2026197"/>
                <a:gd name="connsiteY3" fmla="*/ 0 h 257442"/>
                <a:gd name="connsiteX0" fmla="*/ 1938251 w 1938251"/>
                <a:gd name="connsiteY0" fmla="*/ 0 h 257442"/>
                <a:gd name="connsiteX1" fmla="*/ 1883531 w 1938251"/>
                <a:gd name="connsiteY1" fmla="*/ 257442 h 257442"/>
                <a:gd name="connsiteX2" fmla="*/ 0 w 1938251"/>
                <a:gd name="connsiteY2" fmla="*/ 257442 h 257442"/>
                <a:gd name="connsiteX3" fmla="*/ 0 w 1938251"/>
                <a:gd name="connsiteY3" fmla="*/ 0 h 257442"/>
                <a:gd name="connsiteX0" fmla="*/ 1938251 w 1938251"/>
                <a:gd name="connsiteY0" fmla="*/ 0 h 257442"/>
                <a:gd name="connsiteX1" fmla="*/ 1883531 w 1938251"/>
                <a:gd name="connsiteY1" fmla="*/ 257442 h 257442"/>
                <a:gd name="connsiteX2" fmla="*/ 1 w 1938251"/>
                <a:gd name="connsiteY2" fmla="*/ 257442 h 257442"/>
                <a:gd name="connsiteX3" fmla="*/ 0 w 1938251"/>
                <a:gd name="connsiteY3" fmla="*/ 0 h 257442"/>
                <a:gd name="connsiteX0" fmla="*/ 1938250 w 1938250"/>
                <a:gd name="connsiteY0" fmla="*/ 0 h 257442"/>
                <a:gd name="connsiteX1" fmla="*/ 1883530 w 1938250"/>
                <a:gd name="connsiteY1" fmla="*/ 257442 h 257442"/>
                <a:gd name="connsiteX2" fmla="*/ 0 w 1938250"/>
                <a:gd name="connsiteY2" fmla="*/ 257442 h 257442"/>
                <a:gd name="connsiteX3" fmla="*/ 0 w 1938250"/>
                <a:gd name="connsiteY3" fmla="*/ 0 h 257442"/>
                <a:gd name="connsiteX0" fmla="*/ 782549 w 1883530"/>
                <a:gd name="connsiteY0" fmla="*/ 0 h 257442"/>
                <a:gd name="connsiteX1" fmla="*/ 1883530 w 1883530"/>
                <a:gd name="connsiteY1" fmla="*/ 257442 h 257442"/>
                <a:gd name="connsiteX2" fmla="*/ 0 w 1883530"/>
                <a:gd name="connsiteY2" fmla="*/ 257442 h 257442"/>
                <a:gd name="connsiteX3" fmla="*/ 0 w 1883530"/>
                <a:gd name="connsiteY3" fmla="*/ 0 h 257442"/>
                <a:gd name="connsiteX0" fmla="*/ 782549 w 782549"/>
                <a:gd name="connsiteY0" fmla="*/ 0 h 257442"/>
                <a:gd name="connsiteX1" fmla="*/ 727828 w 782549"/>
                <a:gd name="connsiteY1" fmla="*/ 257442 h 257442"/>
                <a:gd name="connsiteX2" fmla="*/ 0 w 782549"/>
                <a:gd name="connsiteY2" fmla="*/ 257442 h 257442"/>
                <a:gd name="connsiteX3" fmla="*/ 0 w 782549"/>
                <a:gd name="connsiteY3" fmla="*/ 0 h 257442"/>
                <a:gd name="connsiteX0" fmla="*/ 782549 w 782549"/>
                <a:gd name="connsiteY0" fmla="*/ 0 h 257442"/>
                <a:gd name="connsiteX1" fmla="*/ 727828 w 782549"/>
                <a:gd name="connsiteY1" fmla="*/ 257442 h 257442"/>
                <a:gd name="connsiteX2" fmla="*/ 0 w 782549"/>
                <a:gd name="connsiteY2" fmla="*/ 257442 h 257442"/>
                <a:gd name="connsiteX3" fmla="*/ 0 w 782549"/>
                <a:gd name="connsiteY3" fmla="*/ 0 h 257442"/>
                <a:gd name="connsiteX0" fmla="*/ 782549 w 782549"/>
                <a:gd name="connsiteY0" fmla="*/ 0 h 257442"/>
                <a:gd name="connsiteX1" fmla="*/ 727828 w 782549"/>
                <a:gd name="connsiteY1" fmla="*/ 257442 h 257442"/>
                <a:gd name="connsiteX2" fmla="*/ 0 w 782549"/>
                <a:gd name="connsiteY2" fmla="*/ 257442 h 257442"/>
                <a:gd name="connsiteX3" fmla="*/ 0 w 782549"/>
                <a:gd name="connsiteY3" fmla="*/ 0 h 257442"/>
                <a:gd name="connsiteX0" fmla="*/ 1095071 w 1095071"/>
                <a:gd name="connsiteY0" fmla="*/ 0 h 257442"/>
                <a:gd name="connsiteX1" fmla="*/ 727828 w 1095071"/>
                <a:gd name="connsiteY1" fmla="*/ 257442 h 257442"/>
                <a:gd name="connsiteX2" fmla="*/ 0 w 1095071"/>
                <a:gd name="connsiteY2" fmla="*/ 257442 h 257442"/>
                <a:gd name="connsiteX3" fmla="*/ 0 w 1095071"/>
                <a:gd name="connsiteY3" fmla="*/ 0 h 257442"/>
                <a:gd name="connsiteX0" fmla="*/ 1095071 w 1095071"/>
                <a:gd name="connsiteY0" fmla="*/ 0 h 257442"/>
                <a:gd name="connsiteX1" fmla="*/ 1040350 w 1095071"/>
                <a:gd name="connsiteY1" fmla="*/ 257442 h 257442"/>
                <a:gd name="connsiteX2" fmla="*/ 0 w 1095071"/>
                <a:gd name="connsiteY2" fmla="*/ 257442 h 257442"/>
                <a:gd name="connsiteX3" fmla="*/ 0 w 1095071"/>
                <a:gd name="connsiteY3" fmla="*/ 0 h 257442"/>
                <a:gd name="connsiteX0" fmla="*/ 1095071 w 1095071"/>
                <a:gd name="connsiteY0" fmla="*/ 0 h 257442"/>
                <a:gd name="connsiteX1" fmla="*/ 1040350 w 1095071"/>
                <a:gd name="connsiteY1" fmla="*/ 257442 h 257442"/>
                <a:gd name="connsiteX2" fmla="*/ 0 w 1095071"/>
                <a:gd name="connsiteY2" fmla="*/ 257442 h 257442"/>
                <a:gd name="connsiteX3" fmla="*/ 0 w 1095071"/>
                <a:gd name="connsiteY3" fmla="*/ 0 h 257442"/>
                <a:gd name="connsiteX0" fmla="*/ 1095071 w 1095071"/>
                <a:gd name="connsiteY0" fmla="*/ 0 h 257442"/>
                <a:gd name="connsiteX1" fmla="*/ 1040350 w 1095071"/>
                <a:gd name="connsiteY1" fmla="*/ 257442 h 257442"/>
                <a:gd name="connsiteX2" fmla="*/ 0 w 1095071"/>
                <a:gd name="connsiteY2" fmla="*/ 257442 h 257442"/>
                <a:gd name="connsiteX3" fmla="*/ 0 w 1095071"/>
                <a:gd name="connsiteY3" fmla="*/ 0 h 257442"/>
                <a:gd name="connsiteX0" fmla="*/ 1263386 w 1263386"/>
                <a:gd name="connsiteY0" fmla="*/ 0 h 257442"/>
                <a:gd name="connsiteX1" fmla="*/ 1040350 w 1263386"/>
                <a:gd name="connsiteY1" fmla="*/ 257442 h 257442"/>
                <a:gd name="connsiteX2" fmla="*/ 0 w 1263386"/>
                <a:gd name="connsiteY2" fmla="*/ 257442 h 257442"/>
                <a:gd name="connsiteX3" fmla="*/ 0 w 1263386"/>
                <a:gd name="connsiteY3" fmla="*/ 0 h 257442"/>
                <a:gd name="connsiteX0" fmla="*/ 1263386 w 1263386"/>
                <a:gd name="connsiteY0" fmla="*/ 0 h 257442"/>
                <a:gd name="connsiteX1" fmla="*/ 1208664 w 1263386"/>
                <a:gd name="connsiteY1" fmla="*/ 257442 h 257442"/>
                <a:gd name="connsiteX2" fmla="*/ 0 w 1263386"/>
                <a:gd name="connsiteY2" fmla="*/ 257442 h 257442"/>
                <a:gd name="connsiteX3" fmla="*/ 0 w 1263386"/>
                <a:gd name="connsiteY3" fmla="*/ 0 h 257442"/>
                <a:gd name="connsiteX0" fmla="*/ 1263387 w 1263387"/>
                <a:gd name="connsiteY0" fmla="*/ 0 h 257442"/>
                <a:gd name="connsiteX1" fmla="*/ 1208665 w 1263387"/>
                <a:gd name="connsiteY1" fmla="*/ 257442 h 257442"/>
                <a:gd name="connsiteX2" fmla="*/ 0 w 1263387"/>
                <a:gd name="connsiteY2" fmla="*/ 257442 h 257442"/>
                <a:gd name="connsiteX3" fmla="*/ 1 w 1263387"/>
                <a:gd name="connsiteY3" fmla="*/ 0 h 257442"/>
                <a:gd name="connsiteX0" fmla="*/ 1263387 w 1263387"/>
                <a:gd name="connsiteY0" fmla="*/ 0 h 257442"/>
                <a:gd name="connsiteX1" fmla="*/ 1208665 w 1263387"/>
                <a:gd name="connsiteY1" fmla="*/ 257442 h 257442"/>
                <a:gd name="connsiteX2" fmla="*/ 0 w 1263387"/>
                <a:gd name="connsiteY2" fmla="*/ 257442 h 257442"/>
                <a:gd name="connsiteX3" fmla="*/ 1 w 1263387"/>
                <a:gd name="connsiteY3" fmla="*/ 0 h 257442"/>
                <a:gd name="connsiteX0" fmla="*/ 1431703 w 1431703"/>
                <a:gd name="connsiteY0" fmla="*/ 0 h 257442"/>
                <a:gd name="connsiteX1" fmla="*/ 1208665 w 1431703"/>
                <a:gd name="connsiteY1" fmla="*/ 257442 h 257442"/>
                <a:gd name="connsiteX2" fmla="*/ 0 w 1431703"/>
                <a:gd name="connsiteY2" fmla="*/ 257442 h 257442"/>
                <a:gd name="connsiteX3" fmla="*/ 1 w 1431703"/>
                <a:gd name="connsiteY3" fmla="*/ 0 h 257442"/>
                <a:gd name="connsiteX0" fmla="*/ 1431703 w 1431703"/>
                <a:gd name="connsiteY0" fmla="*/ 0 h 257442"/>
                <a:gd name="connsiteX1" fmla="*/ 1376982 w 1431703"/>
                <a:gd name="connsiteY1" fmla="*/ 257442 h 257442"/>
                <a:gd name="connsiteX2" fmla="*/ 0 w 1431703"/>
                <a:gd name="connsiteY2" fmla="*/ 257442 h 257442"/>
                <a:gd name="connsiteX3" fmla="*/ 1 w 1431703"/>
                <a:gd name="connsiteY3" fmla="*/ 0 h 257442"/>
                <a:gd name="connsiteX0" fmla="*/ 1431702 w 1431702"/>
                <a:gd name="connsiteY0" fmla="*/ 0 h 257442"/>
                <a:gd name="connsiteX1" fmla="*/ 1376981 w 1431702"/>
                <a:gd name="connsiteY1" fmla="*/ 257442 h 257442"/>
                <a:gd name="connsiteX2" fmla="*/ 0 w 1431702"/>
                <a:gd name="connsiteY2" fmla="*/ 257442 h 257442"/>
                <a:gd name="connsiteX3" fmla="*/ 0 w 1431702"/>
                <a:gd name="connsiteY3" fmla="*/ 0 h 257442"/>
                <a:gd name="connsiteX0" fmla="*/ 1431703 w 1431703"/>
                <a:gd name="connsiteY0" fmla="*/ 0 h 257442"/>
                <a:gd name="connsiteX1" fmla="*/ 1376982 w 1431703"/>
                <a:gd name="connsiteY1" fmla="*/ 257442 h 257442"/>
                <a:gd name="connsiteX2" fmla="*/ 1 w 1431703"/>
                <a:gd name="connsiteY2" fmla="*/ 257442 h 257442"/>
                <a:gd name="connsiteX3" fmla="*/ 0 w 1431703"/>
                <a:gd name="connsiteY3" fmla="*/ 0 h 257442"/>
                <a:gd name="connsiteX0" fmla="*/ 1263387 w 1376982"/>
                <a:gd name="connsiteY0" fmla="*/ 0 h 257442"/>
                <a:gd name="connsiteX1" fmla="*/ 1376982 w 1376982"/>
                <a:gd name="connsiteY1" fmla="*/ 257442 h 257442"/>
                <a:gd name="connsiteX2" fmla="*/ 1 w 1376982"/>
                <a:gd name="connsiteY2" fmla="*/ 257442 h 257442"/>
                <a:gd name="connsiteX3" fmla="*/ 0 w 1376982"/>
                <a:gd name="connsiteY3" fmla="*/ 0 h 257442"/>
                <a:gd name="connsiteX0" fmla="*/ 1263387 w 1263387"/>
                <a:gd name="connsiteY0" fmla="*/ 0 h 257442"/>
                <a:gd name="connsiteX1" fmla="*/ 1208666 w 1263387"/>
                <a:gd name="connsiteY1" fmla="*/ 257442 h 257442"/>
                <a:gd name="connsiteX2" fmla="*/ 1 w 1263387"/>
                <a:gd name="connsiteY2" fmla="*/ 257442 h 257442"/>
                <a:gd name="connsiteX3" fmla="*/ 0 w 1263387"/>
                <a:gd name="connsiteY3" fmla="*/ 0 h 257442"/>
                <a:gd name="connsiteX0" fmla="*/ 1263387 w 1263387"/>
                <a:gd name="connsiteY0" fmla="*/ 0 h 257442"/>
                <a:gd name="connsiteX1" fmla="*/ 1208666 w 1263387"/>
                <a:gd name="connsiteY1" fmla="*/ 257442 h 257442"/>
                <a:gd name="connsiteX2" fmla="*/ 2 w 1263387"/>
                <a:gd name="connsiteY2" fmla="*/ 257442 h 257442"/>
                <a:gd name="connsiteX3" fmla="*/ 0 w 1263387"/>
                <a:gd name="connsiteY3" fmla="*/ 0 h 257442"/>
                <a:gd name="connsiteX0" fmla="*/ 1263385 w 1263385"/>
                <a:gd name="connsiteY0" fmla="*/ 0 h 257442"/>
                <a:gd name="connsiteX1" fmla="*/ 1208664 w 1263385"/>
                <a:gd name="connsiteY1" fmla="*/ 257442 h 257442"/>
                <a:gd name="connsiteX2" fmla="*/ 0 w 1263385"/>
                <a:gd name="connsiteY2" fmla="*/ 257442 h 257442"/>
                <a:gd name="connsiteX3" fmla="*/ 0 w 1263385"/>
                <a:gd name="connsiteY3" fmla="*/ 0 h 257442"/>
                <a:gd name="connsiteX0" fmla="*/ 1423687 w 1423687"/>
                <a:gd name="connsiteY0" fmla="*/ 0 h 257442"/>
                <a:gd name="connsiteX1" fmla="*/ 1208664 w 1423687"/>
                <a:gd name="connsiteY1" fmla="*/ 257442 h 257442"/>
                <a:gd name="connsiteX2" fmla="*/ 0 w 1423687"/>
                <a:gd name="connsiteY2" fmla="*/ 257442 h 257442"/>
                <a:gd name="connsiteX3" fmla="*/ 0 w 1423687"/>
                <a:gd name="connsiteY3" fmla="*/ 0 h 257442"/>
                <a:gd name="connsiteX0" fmla="*/ 1423687 w 1423687"/>
                <a:gd name="connsiteY0" fmla="*/ 0 h 257442"/>
                <a:gd name="connsiteX1" fmla="*/ 1368966 w 1423687"/>
                <a:gd name="connsiteY1" fmla="*/ 257442 h 257442"/>
                <a:gd name="connsiteX2" fmla="*/ 0 w 1423687"/>
                <a:gd name="connsiteY2" fmla="*/ 257442 h 257442"/>
                <a:gd name="connsiteX3" fmla="*/ 0 w 1423687"/>
                <a:gd name="connsiteY3" fmla="*/ 0 h 257442"/>
                <a:gd name="connsiteX0" fmla="*/ 1423687 w 1423687"/>
                <a:gd name="connsiteY0" fmla="*/ 0 h 257442"/>
                <a:gd name="connsiteX1" fmla="*/ 1368966 w 1423687"/>
                <a:gd name="connsiteY1" fmla="*/ 257442 h 257442"/>
                <a:gd name="connsiteX2" fmla="*/ 0 w 1423687"/>
                <a:gd name="connsiteY2" fmla="*/ 257442 h 257442"/>
                <a:gd name="connsiteX3" fmla="*/ 0 w 1423687"/>
                <a:gd name="connsiteY3" fmla="*/ 0 h 257442"/>
                <a:gd name="connsiteX0" fmla="*/ 1423687 w 1423687"/>
                <a:gd name="connsiteY0" fmla="*/ 0 h 257442"/>
                <a:gd name="connsiteX1" fmla="*/ 1368966 w 1423687"/>
                <a:gd name="connsiteY1" fmla="*/ 257442 h 257442"/>
                <a:gd name="connsiteX2" fmla="*/ 0 w 1423687"/>
                <a:gd name="connsiteY2" fmla="*/ 257442 h 257442"/>
                <a:gd name="connsiteX3" fmla="*/ 0 w 1423687"/>
                <a:gd name="connsiteY3" fmla="*/ 0 h 257442"/>
                <a:gd name="connsiteX0" fmla="*/ 1583987 w 1583987"/>
                <a:gd name="connsiteY0" fmla="*/ 0 h 257442"/>
                <a:gd name="connsiteX1" fmla="*/ 1368966 w 1583987"/>
                <a:gd name="connsiteY1" fmla="*/ 257442 h 257442"/>
                <a:gd name="connsiteX2" fmla="*/ 0 w 1583987"/>
                <a:gd name="connsiteY2" fmla="*/ 257442 h 257442"/>
                <a:gd name="connsiteX3" fmla="*/ 0 w 1583987"/>
                <a:gd name="connsiteY3" fmla="*/ 0 h 257442"/>
                <a:gd name="connsiteX0" fmla="*/ 1583987 w 1583987"/>
                <a:gd name="connsiteY0" fmla="*/ 0 h 257442"/>
                <a:gd name="connsiteX1" fmla="*/ 1529266 w 1583987"/>
                <a:gd name="connsiteY1" fmla="*/ 257442 h 257442"/>
                <a:gd name="connsiteX2" fmla="*/ 0 w 1583987"/>
                <a:gd name="connsiteY2" fmla="*/ 257442 h 257442"/>
                <a:gd name="connsiteX3" fmla="*/ 0 w 1583987"/>
                <a:gd name="connsiteY3" fmla="*/ 0 h 257442"/>
                <a:gd name="connsiteX0" fmla="*/ 1583987 w 1583987"/>
                <a:gd name="connsiteY0" fmla="*/ 0 h 257442"/>
                <a:gd name="connsiteX1" fmla="*/ 1529266 w 1583987"/>
                <a:gd name="connsiteY1" fmla="*/ 257442 h 257442"/>
                <a:gd name="connsiteX2" fmla="*/ 0 w 1583987"/>
                <a:gd name="connsiteY2" fmla="*/ 257442 h 257442"/>
                <a:gd name="connsiteX3" fmla="*/ 0 w 1583987"/>
                <a:gd name="connsiteY3" fmla="*/ 0 h 257442"/>
                <a:gd name="connsiteX0" fmla="*/ 1583987 w 1583987"/>
                <a:gd name="connsiteY0" fmla="*/ 0 h 257442"/>
                <a:gd name="connsiteX1" fmla="*/ 1529266 w 1583987"/>
                <a:gd name="connsiteY1" fmla="*/ 257442 h 257442"/>
                <a:gd name="connsiteX2" fmla="*/ 0 w 1583987"/>
                <a:gd name="connsiteY2" fmla="*/ 257442 h 257442"/>
                <a:gd name="connsiteX3" fmla="*/ 0 w 1583987"/>
                <a:gd name="connsiteY3" fmla="*/ 0 h 257442"/>
                <a:gd name="connsiteX0" fmla="*/ 1744287 w 1744287"/>
                <a:gd name="connsiteY0" fmla="*/ 0 h 257442"/>
                <a:gd name="connsiteX1" fmla="*/ 1529266 w 1744287"/>
                <a:gd name="connsiteY1" fmla="*/ 257442 h 257442"/>
                <a:gd name="connsiteX2" fmla="*/ 0 w 1744287"/>
                <a:gd name="connsiteY2" fmla="*/ 257442 h 257442"/>
                <a:gd name="connsiteX3" fmla="*/ 0 w 1744287"/>
                <a:gd name="connsiteY3" fmla="*/ 0 h 257442"/>
                <a:gd name="connsiteX0" fmla="*/ 1744287 w 1744287"/>
                <a:gd name="connsiteY0" fmla="*/ 0 h 257442"/>
                <a:gd name="connsiteX1" fmla="*/ 1689566 w 1744287"/>
                <a:gd name="connsiteY1" fmla="*/ 257442 h 257442"/>
                <a:gd name="connsiteX2" fmla="*/ 0 w 1744287"/>
                <a:gd name="connsiteY2" fmla="*/ 257442 h 257442"/>
                <a:gd name="connsiteX3" fmla="*/ 0 w 1744287"/>
                <a:gd name="connsiteY3" fmla="*/ 0 h 257442"/>
                <a:gd name="connsiteX0" fmla="*/ 1744287 w 1744287"/>
                <a:gd name="connsiteY0" fmla="*/ 0 h 257442"/>
                <a:gd name="connsiteX1" fmla="*/ 1689566 w 1744287"/>
                <a:gd name="connsiteY1" fmla="*/ 257442 h 257442"/>
                <a:gd name="connsiteX2" fmla="*/ 0 w 1744287"/>
                <a:gd name="connsiteY2" fmla="*/ 257442 h 257442"/>
                <a:gd name="connsiteX3" fmla="*/ 0 w 1744287"/>
                <a:gd name="connsiteY3" fmla="*/ 0 h 257442"/>
                <a:gd name="connsiteX0" fmla="*/ 1744287 w 1744287"/>
                <a:gd name="connsiteY0" fmla="*/ 0 h 257442"/>
                <a:gd name="connsiteX1" fmla="*/ 1689566 w 1744287"/>
                <a:gd name="connsiteY1" fmla="*/ 257442 h 257442"/>
                <a:gd name="connsiteX2" fmla="*/ 0 w 1744287"/>
                <a:gd name="connsiteY2" fmla="*/ 257442 h 257442"/>
                <a:gd name="connsiteX3" fmla="*/ 0 w 1744287"/>
                <a:gd name="connsiteY3" fmla="*/ 0 h 257442"/>
                <a:gd name="connsiteX0" fmla="*/ 1912603 w 1912603"/>
                <a:gd name="connsiteY0" fmla="*/ 0 h 257442"/>
                <a:gd name="connsiteX1" fmla="*/ 1689566 w 1912603"/>
                <a:gd name="connsiteY1" fmla="*/ 257442 h 257442"/>
                <a:gd name="connsiteX2" fmla="*/ 0 w 1912603"/>
                <a:gd name="connsiteY2" fmla="*/ 257442 h 257442"/>
                <a:gd name="connsiteX3" fmla="*/ 0 w 1912603"/>
                <a:gd name="connsiteY3" fmla="*/ 0 h 257442"/>
                <a:gd name="connsiteX0" fmla="*/ 1912603 w 1912603"/>
                <a:gd name="connsiteY0" fmla="*/ 0 h 257442"/>
                <a:gd name="connsiteX1" fmla="*/ 1857882 w 1912603"/>
                <a:gd name="connsiteY1" fmla="*/ 257442 h 257442"/>
                <a:gd name="connsiteX2" fmla="*/ 0 w 1912603"/>
                <a:gd name="connsiteY2" fmla="*/ 257442 h 257442"/>
                <a:gd name="connsiteX3" fmla="*/ 0 w 1912603"/>
                <a:gd name="connsiteY3" fmla="*/ 0 h 257442"/>
                <a:gd name="connsiteX0" fmla="*/ 1912603 w 1912603"/>
                <a:gd name="connsiteY0" fmla="*/ 0 h 257442"/>
                <a:gd name="connsiteX1" fmla="*/ 1857882 w 1912603"/>
                <a:gd name="connsiteY1" fmla="*/ 257442 h 257442"/>
                <a:gd name="connsiteX2" fmla="*/ 0 w 1912603"/>
                <a:gd name="connsiteY2" fmla="*/ 257442 h 257442"/>
                <a:gd name="connsiteX3" fmla="*/ 0 w 1912603"/>
                <a:gd name="connsiteY3" fmla="*/ 0 h 257442"/>
                <a:gd name="connsiteX0" fmla="*/ 1912603 w 1912603"/>
                <a:gd name="connsiteY0" fmla="*/ 0 h 257442"/>
                <a:gd name="connsiteX1" fmla="*/ 1857882 w 1912603"/>
                <a:gd name="connsiteY1" fmla="*/ 257442 h 257442"/>
                <a:gd name="connsiteX2" fmla="*/ 0 w 1912603"/>
                <a:gd name="connsiteY2" fmla="*/ 257442 h 257442"/>
                <a:gd name="connsiteX3" fmla="*/ 0 w 1912603"/>
                <a:gd name="connsiteY3" fmla="*/ 0 h 257442"/>
                <a:gd name="connsiteX0" fmla="*/ 2165877 w 2165877"/>
                <a:gd name="connsiteY0" fmla="*/ 0 h 257442"/>
                <a:gd name="connsiteX1" fmla="*/ 1857882 w 2165877"/>
                <a:gd name="connsiteY1" fmla="*/ 257442 h 257442"/>
                <a:gd name="connsiteX2" fmla="*/ 0 w 2165877"/>
                <a:gd name="connsiteY2" fmla="*/ 257442 h 257442"/>
                <a:gd name="connsiteX3" fmla="*/ 0 w 2165877"/>
                <a:gd name="connsiteY3" fmla="*/ 0 h 257442"/>
                <a:gd name="connsiteX0" fmla="*/ 2165877 w 2165877"/>
                <a:gd name="connsiteY0" fmla="*/ 0 h 257442"/>
                <a:gd name="connsiteX1" fmla="*/ 2111156 w 2165877"/>
                <a:gd name="connsiteY1" fmla="*/ 257442 h 257442"/>
                <a:gd name="connsiteX2" fmla="*/ 0 w 2165877"/>
                <a:gd name="connsiteY2" fmla="*/ 257442 h 257442"/>
                <a:gd name="connsiteX3" fmla="*/ 0 w 2165877"/>
                <a:gd name="connsiteY3" fmla="*/ 0 h 257442"/>
                <a:gd name="connsiteX0" fmla="*/ 2165877 w 2165877"/>
                <a:gd name="connsiteY0" fmla="*/ 0 h 257442"/>
                <a:gd name="connsiteX1" fmla="*/ 2111156 w 2165877"/>
                <a:gd name="connsiteY1" fmla="*/ 257442 h 257442"/>
                <a:gd name="connsiteX2" fmla="*/ 0 w 2165877"/>
                <a:gd name="connsiteY2" fmla="*/ 257442 h 257442"/>
                <a:gd name="connsiteX3" fmla="*/ 0 w 2165877"/>
                <a:gd name="connsiteY3" fmla="*/ 0 h 257442"/>
                <a:gd name="connsiteX0" fmla="*/ 2165877 w 2165877"/>
                <a:gd name="connsiteY0" fmla="*/ 0 h 257442"/>
                <a:gd name="connsiteX1" fmla="*/ 2111156 w 2165877"/>
                <a:gd name="connsiteY1" fmla="*/ 257442 h 257442"/>
                <a:gd name="connsiteX2" fmla="*/ 0 w 2165877"/>
                <a:gd name="connsiteY2" fmla="*/ 257442 h 257442"/>
                <a:gd name="connsiteX3" fmla="*/ 0 w 2165877"/>
                <a:gd name="connsiteY3" fmla="*/ 0 h 257442"/>
                <a:gd name="connsiteX0" fmla="*/ 2444800 w 2444800"/>
                <a:gd name="connsiteY0" fmla="*/ 0 h 257442"/>
                <a:gd name="connsiteX1" fmla="*/ 2111156 w 2444800"/>
                <a:gd name="connsiteY1" fmla="*/ 257442 h 257442"/>
                <a:gd name="connsiteX2" fmla="*/ 0 w 2444800"/>
                <a:gd name="connsiteY2" fmla="*/ 257442 h 257442"/>
                <a:gd name="connsiteX3" fmla="*/ 0 w 2444800"/>
                <a:gd name="connsiteY3" fmla="*/ 0 h 257442"/>
                <a:gd name="connsiteX0" fmla="*/ 2444800 w 2444800"/>
                <a:gd name="connsiteY0" fmla="*/ 0 h 257442"/>
                <a:gd name="connsiteX1" fmla="*/ 2390078 w 2444800"/>
                <a:gd name="connsiteY1" fmla="*/ 257442 h 257442"/>
                <a:gd name="connsiteX2" fmla="*/ 0 w 2444800"/>
                <a:gd name="connsiteY2" fmla="*/ 257442 h 257442"/>
                <a:gd name="connsiteX3" fmla="*/ 0 w 2444800"/>
                <a:gd name="connsiteY3" fmla="*/ 0 h 257442"/>
                <a:gd name="connsiteX0" fmla="*/ 2444801 w 2444801"/>
                <a:gd name="connsiteY0" fmla="*/ 0 h 257442"/>
                <a:gd name="connsiteX1" fmla="*/ 2390079 w 2444801"/>
                <a:gd name="connsiteY1" fmla="*/ 257442 h 257442"/>
                <a:gd name="connsiteX2" fmla="*/ 0 w 2444801"/>
                <a:gd name="connsiteY2" fmla="*/ 257442 h 257442"/>
                <a:gd name="connsiteX3" fmla="*/ 1 w 2444801"/>
                <a:gd name="connsiteY3" fmla="*/ 0 h 257442"/>
                <a:gd name="connsiteX0" fmla="*/ 2444801 w 2444801"/>
                <a:gd name="connsiteY0" fmla="*/ 0 h 257442"/>
                <a:gd name="connsiteX1" fmla="*/ 2390079 w 2444801"/>
                <a:gd name="connsiteY1" fmla="*/ 257442 h 257442"/>
                <a:gd name="connsiteX2" fmla="*/ 0 w 2444801"/>
                <a:gd name="connsiteY2" fmla="*/ 257442 h 257442"/>
                <a:gd name="connsiteX3" fmla="*/ 1 w 2444801"/>
                <a:gd name="connsiteY3" fmla="*/ 0 h 257442"/>
                <a:gd name="connsiteX0" fmla="*/ 2605101 w 2605101"/>
                <a:gd name="connsiteY0" fmla="*/ 0 h 257442"/>
                <a:gd name="connsiteX1" fmla="*/ 2390079 w 2605101"/>
                <a:gd name="connsiteY1" fmla="*/ 257442 h 257442"/>
                <a:gd name="connsiteX2" fmla="*/ 0 w 2605101"/>
                <a:gd name="connsiteY2" fmla="*/ 257442 h 257442"/>
                <a:gd name="connsiteX3" fmla="*/ 1 w 2605101"/>
                <a:gd name="connsiteY3" fmla="*/ 0 h 257442"/>
                <a:gd name="connsiteX0" fmla="*/ 2605101 w 2605101"/>
                <a:gd name="connsiteY0" fmla="*/ 0 h 257442"/>
                <a:gd name="connsiteX1" fmla="*/ 2550380 w 2605101"/>
                <a:gd name="connsiteY1" fmla="*/ 257442 h 257442"/>
                <a:gd name="connsiteX2" fmla="*/ 0 w 2605101"/>
                <a:gd name="connsiteY2" fmla="*/ 257442 h 257442"/>
                <a:gd name="connsiteX3" fmla="*/ 1 w 2605101"/>
                <a:gd name="connsiteY3" fmla="*/ 0 h 257442"/>
                <a:gd name="connsiteX0" fmla="*/ 2605100 w 2605100"/>
                <a:gd name="connsiteY0" fmla="*/ 0 h 257442"/>
                <a:gd name="connsiteX1" fmla="*/ 2550379 w 2605100"/>
                <a:gd name="connsiteY1" fmla="*/ 257442 h 257442"/>
                <a:gd name="connsiteX2" fmla="*/ 0 w 2605100"/>
                <a:gd name="connsiteY2" fmla="*/ 257442 h 257442"/>
                <a:gd name="connsiteX3" fmla="*/ 0 w 2605100"/>
                <a:gd name="connsiteY3" fmla="*/ 0 h 257442"/>
                <a:gd name="connsiteX0" fmla="*/ 2605101 w 2605101"/>
                <a:gd name="connsiteY0" fmla="*/ 0 h 257442"/>
                <a:gd name="connsiteX1" fmla="*/ 2550380 w 2605101"/>
                <a:gd name="connsiteY1" fmla="*/ 257442 h 257442"/>
                <a:gd name="connsiteX2" fmla="*/ 1 w 2605101"/>
                <a:gd name="connsiteY2" fmla="*/ 257442 h 257442"/>
                <a:gd name="connsiteX3" fmla="*/ 0 w 2605101"/>
                <a:gd name="connsiteY3" fmla="*/ 0 h 257442"/>
                <a:gd name="connsiteX0" fmla="*/ 2773416 w 2773416"/>
                <a:gd name="connsiteY0" fmla="*/ 0 h 257442"/>
                <a:gd name="connsiteX1" fmla="*/ 2550380 w 2773416"/>
                <a:gd name="connsiteY1" fmla="*/ 257442 h 257442"/>
                <a:gd name="connsiteX2" fmla="*/ 1 w 2773416"/>
                <a:gd name="connsiteY2" fmla="*/ 257442 h 257442"/>
                <a:gd name="connsiteX3" fmla="*/ 0 w 2773416"/>
                <a:gd name="connsiteY3" fmla="*/ 0 h 257442"/>
                <a:gd name="connsiteX0" fmla="*/ 2773416 w 2773416"/>
                <a:gd name="connsiteY0" fmla="*/ 0 h 257442"/>
                <a:gd name="connsiteX1" fmla="*/ 2718694 w 2773416"/>
                <a:gd name="connsiteY1" fmla="*/ 257442 h 257442"/>
                <a:gd name="connsiteX2" fmla="*/ 1 w 2773416"/>
                <a:gd name="connsiteY2" fmla="*/ 257442 h 257442"/>
                <a:gd name="connsiteX3" fmla="*/ 0 w 2773416"/>
                <a:gd name="connsiteY3" fmla="*/ 0 h 257442"/>
                <a:gd name="connsiteX0" fmla="*/ 2773416 w 2773416"/>
                <a:gd name="connsiteY0" fmla="*/ 0 h 257442"/>
                <a:gd name="connsiteX1" fmla="*/ 2718694 w 2773416"/>
                <a:gd name="connsiteY1" fmla="*/ 257442 h 257442"/>
                <a:gd name="connsiteX2" fmla="*/ 0 w 2773416"/>
                <a:gd name="connsiteY2" fmla="*/ 257442 h 257442"/>
                <a:gd name="connsiteX3" fmla="*/ 0 w 2773416"/>
                <a:gd name="connsiteY3" fmla="*/ 0 h 257442"/>
                <a:gd name="connsiteX0" fmla="*/ 2773416 w 2773416"/>
                <a:gd name="connsiteY0" fmla="*/ 0 h 257442"/>
                <a:gd name="connsiteX1" fmla="*/ 2718694 w 2773416"/>
                <a:gd name="connsiteY1" fmla="*/ 257442 h 257442"/>
                <a:gd name="connsiteX2" fmla="*/ 0 w 2773416"/>
                <a:gd name="connsiteY2" fmla="*/ 257442 h 257442"/>
                <a:gd name="connsiteX3" fmla="*/ 0 w 2773416"/>
                <a:gd name="connsiteY3" fmla="*/ 0 h 257442"/>
                <a:gd name="connsiteX0" fmla="*/ 2941731 w 2941731"/>
                <a:gd name="connsiteY0" fmla="*/ 0 h 257442"/>
                <a:gd name="connsiteX1" fmla="*/ 2718694 w 2941731"/>
                <a:gd name="connsiteY1" fmla="*/ 257442 h 257442"/>
                <a:gd name="connsiteX2" fmla="*/ 0 w 2941731"/>
                <a:gd name="connsiteY2" fmla="*/ 257442 h 257442"/>
                <a:gd name="connsiteX3" fmla="*/ 0 w 2941731"/>
                <a:gd name="connsiteY3" fmla="*/ 0 h 257442"/>
                <a:gd name="connsiteX0" fmla="*/ 2941731 w 2941731"/>
                <a:gd name="connsiteY0" fmla="*/ 0 h 257442"/>
                <a:gd name="connsiteX1" fmla="*/ 2887010 w 2941731"/>
                <a:gd name="connsiteY1" fmla="*/ 257442 h 257442"/>
                <a:gd name="connsiteX2" fmla="*/ 0 w 2941731"/>
                <a:gd name="connsiteY2" fmla="*/ 257442 h 257442"/>
                <a:gd name="connsiteX3" fmla="*/ 0 w 2941731"/>
                <a:gd name="connsiteY3" fmla="*/ 0 h 257442"/>
                <a:gd name="connsiteX0" fmla="*/ 2941731 w 2941731"/>
                <a:gd name="connsiteY0" fmla="*/ 0 h 257442"/>
                <a:gd name="connsiteX1" fmla="*/ 2887010 w 2941731"/>
                <a:gd name="connsiteY1" fmla="*/ 257442 h 257442"/>
                <a:gd name="connsiteX2" fmla="*/ 0 w 2941731"/>
                <a:gd name="connsiteY2" fmla="*/ 257442 h 257442"/>
                <a:gd name="connsiteX3" fmla="*/ 0 w 2941731"/>
                <a:gd name="connsiteY3" fmla="*/ 0 h 257442"/>
                <a:gd name="connsiteX0" fmla="*/ 2941731 w 2941731"/>
                <a:gd name="connsiteY0" fmla="*/ 0 h 257442"/>
                <a:gd name="connsiteX1" fmla="*/ 2887010 w 2941731"/>
                <a:gd name="connsiteY1" fmla="*/ 257442 h 257442"/>
                <a:gd name="connsiteX2" fmla="*/ 0 w 2941731"/>
                <a:gd name="connsiteY2" fmla="*/ 257442 h 257442"/>
                <a:gd name="connsiteX3" fmla="*/ 0 w 2941731"/>
                <a:gd name="connsiteY3" fmla="*/ 0 h 257442"/>
                <a:gd name="connsiteX0" fmla="*/ 3102031 w 3102031"/>
                <a:gd name="connsiteY0" fmla="*/ 0 h 257442"/>
                <a:gd name="connsiteX1" fmla="*/ 2887010 w 3102031"/>
                <a:gd name="connsiteY1" fmla="*/ 257442 h 257442"/>
                <a:gd name="connsiteX2" fmla="*/ 0 w 3102031"/>
                <a:gd name="connsiteY2" fmla="*/ 257442 h 257442"/>
                <a:gd name="connsiteX3" fmla="*/ 0 w 3102031"/>
                <a:gd name="connsiteY3" fmla="*/ 0 h 257442"/>
                <a:gd name="connsiteX0" fmla="*/ 3102031 w 3102031"/>
                <a:gd name="connsiteY0" fmla="*/ 0 h 257442"/>
                <a:gd name="connsiteX1" fmla="*/ 3047310 w 3102031"/>
                <a:gd name="connsiteY1" fmla="*/ 257442 h 257442"/>
                <a:gd name="connsiteX2" fmla="*/ 0 w 3102031"/>
                <a:gd name="connsiteY2" fmla="*/ 257442 h 257442"/>
                <a:gd name="connsiteX3" fmla="*/ 0 w 3102031"/>
                <a:gd name="connsiteY3" fmla="*/ 0 h 257442"/>
                <a:gd name="connsiteX0" fmla="*/ 3102031 w 3102031"/>
                <a:gd name="connsiteY0" fmla="*/ 0 h 257442"/>
                <a:gd name="connsiteX1" fmla="*/ 3047310 w 3102031"/>
                <a:gd name="connsiteY1" fmla="*/ 257442 h 257442"/>
                <a:gd name="connsiteX2" fmla="*/ 0 w 3102031"/>
                <a:gd name="connsiteY2" fmla="*/ 257442 h 257442"/>
                <a:gd name="connsiteX3" fmla="*/ 0 w 3102031"/>
                <a:gd name="connsiteY3" fmla="*/ 0 h 257442"/>
                <a:gd name="connsiteX0" fmla="*/ 3102031 w 3102031"/>
                <a:gd name="connsiteY0" fmla="*/ 0 h 257442"/>
                <a:gd name="connsiteX1" fmla="*/ 3047310 w 3102031"/>
                <a:gd name="connsiteY1" fmla="*/ 257442 h 257442"/>
                <a:gd name="connsiteX2" fmla="*/ 0 w 3102031"/>
                <a:gd name="connsiteY2" fmla="*/ 257442 h 257442"/>
                <a:gd name="connsiteX3" fmla="*/ 0 w 3102031"/>
                <a:gd name="connsiteY3" fmla="*/ 0 h 257442"/>
                <a:gd name="connsiteX0" fmla="*/ 3042719 w 3047310"/>
                <a:gd name="connsiteY0" fmla="*/ 0 h 257442"/>
                <a:gd name="connsiteX1" fmla="*/ 3047310 w 3047310"/>
                <a:gd name="connsiteY1" fmla="*/ 257442 h 257442"/>
                <a:gd name="connsiteX2" fmla="*/ 0 w 3047310"/>
                <a:gd name="connsiteY2" fmla="*/ 257442 h 257442"/>
                <a:gd name="connsiteX3" fmla="*/ 0 w 3047310"/>
                <a:gd name="connsiteY3" fmla="*/ 0 h 257442"/>
                <a:gd name="connsiteX0" fmla="*/ 3042719 w 3042719"/>
                <a:gd name="connsiteY0" fmla="*/ 0 h 257442"/>
                <a:gd name="connsiteX1" fmla="*/ 2987998 w 3042719"/>
                <a:gd name="connsiteY1" fmla="*/ 257442 h 257442"/>
                <a:gd name="connsiteX2" fmla="*/ 0 w 3042719"/>
                <a:gd name="connsiteY2" fmla="*/ 257442 h 257442"/>
                <a:gd name="connsiteX3" fmla="*/ 0 w 3042719"/>
                <a:gd name="connsiteY3" fmla="*/ 0 h 257442"/>
                <a:gd name="connsiteX0" fmla="*/ 3042719 w 3042719"/>
                <a:gd name="connsiteY0" fmla="*/ 0 h 257442"/>
                <a:gd name="connsiteX1" fmla="*/ 2987998 w 3042719"/>
                <a:gd name="connsiteY1" fmla="*/ 257442 h 257442"/>
                <a:gd name="connsiteX2" fmla="*/ 1 w 3042719"/>
                <a:gd name="connsiteY2" fmla="*/ 257442 h 257442"/>
                <a:gd name="connsiteX3" fmla="*/ 0 w 3042719"/>
                <a:gd name="connsiteY3" fmla="*/ 0 h 257442"/>
                <a:gd name="connsiteX0" fmla="*/ 3042718 w 3042718"/>
                <a:gd name="connsiteY0" fmla="*/ 0 h 257442"/>
                <a:gd name="connsiteX1" fmla="*/ 2987997 w 3042718"/>
                <a:gd name="connsiteY1" fmla="*/ 257442 h 257442"/>
                <a:gd name="connsiteX2" fmla="*/ 0 w 3042718"/>
                <a:gd name="connsiteY2" fmla="*/ 257442 h 257442"/>
                <a:gd name="connsiteX3" fmla="*/ 0 w 3042718"/>
                <a:gd name="connsiteY3" fmla="*/ 0 h 257442"/>
                <a:gd name="connsiteX0" fmla="*/ 3203019 w 3203019"/>
                <a:gd name="connsiteY0" fmla="*/ 0 h 257442"/>
                <a:gd name="connsiteX1" fmla="*/ 2987997 w 3203019"/>
                <a:gd name="connsiteY1" fmla="*/ 257442 h 257442"/>
                <a:gd name="connsiteX2" fmla="*/ 0 w 3203019"/>
                <a:gd name="connsiteY2" fmla="*/ 257442 h 257442"/>
                <a:gd name="connsiteX3" fmla="*/ 0 w 3203019"/>
                <a:gd name="connsiteY3" fmla="*/ 0 h 257442"/>
                <a:gd name="connsiteX0" fmla="*/ 3203019 w 3203019"/>
                <a:gd name="connsiteY0" fmla="*/ 0 h 257442"/>
                <a:gd name="connsiteX1" fmla="*/ 3148298 w 3203019"/>
                <a:gd name="connsiteY1" fmla="*/ 257442 h 257442"/>
                <a:gd name="connsiteX2" fmla="*/ 0 w 3203019"/>
                <a:gd name="connsiteY2" fmla="*/ 257442 h 257442"/>
                <a:gd name="connsiteX3" fmla="*/ 0 w 3203019"/>
                <a:gd name="connsiteY3" fmla="*/ 0 h 257442"/>
                <a:gd name="connsiteX0" fmla="*/ 3203020 w 3203020"/>
                <a:gd name="connsiteY0" fmla="*/ 0 h 257442"/>
                <a:gd name="connsiteX1" fmla="*/ 3148299 w 3203020"/>
                <a:gd name="connsiteY1" fmla="*/ 257442 h 257442"/>
                <a:gd name="connsiteX2" fmla="*/ 0 w 3203020"/>
                <a:gd name="connsiteY2" fmla="*/ 257442 h 257442"/>
                <a:gd name="connsiteX3" fmla="*/ 1 w 3203020"/>
                <a:gd name="connsiteY3" fmla="*/ 0 h 257442"/>
                <a:gd name="connsiteX0" fmla="*/ 3203020 w 3203020"/>
                <a:gd name="connsiteY0" fmla="*/ 0 h 257442"/>
                <a:gd name="connsiteX1" fmla="*/ 3148299 w 3203020"/>
                <a:gd name="connsiteY1" fmla="*/ 257442 h 257442"/>
                <a:gd name="connsiteX2" fmla="*/ 0 w 3203020"/>
                <a:gd name="connsiteY2" fmla="*/ 257442 h 257442"/>
                <a:gd name="connsiteX3" fmla="*/ 0 w 3203020"/>
                <a:gd name="connsiteY3" fmla="*/ 0 h 257442"/>
                <a:gd name="connsiteX0" fmla="*/ 2002819 w 3148299"/>
                <a:gd name="connsiteY0" fmla="*/ 0 h 257442"/>
                <a:gd name="connsiteX1" fmla="*/ 3148299 w 3148299"/>
                <a:gd name="connsiteY1" fmla="*/ 257442 h 257442"/>
                <a:gd name="connsiteX2" fmla="*/ 0 w 3148299"/>
                <a:gd name="connsiteY2" fmla="*/ 257442 h 257442"/>
                <a:gd name="connsiteX3" fmla="*/ 0 w 3148299"/>
                <a:gd name="connsiteY3" fmla="*/ 0 h 257442"/>
                <a:gd name="connsiteX0" fmla="*/ 2002819 w 2002819"/>
                <a:gd name="connsiteY0" fmla="*/ 0 h 257442"/>
                <a:gd name="connsiteX1" fmla="*/ 1948099 w 2002819"/>
                <a:gd name="connsiteY1" fmla="*/ 257442 h 257442"/>
                <a:gd name="connsiteX2" fmla="*/ 0 w 2002819"/>
                <a:gd name="connsiteY2" fmla="*/ 257442 h 257442"/>
                <a:gd name="connsiteX3" fmla="*/ 0 w 2002819"/>
                <a:gd name="connsiteY3" fmla="*/ 0 h 257442"/>
                <a:gd name="connsiteX0" fmla="*/ 2002819 w 2002819"/>
                <a:gd name="connsiteY0" fmla="*/ 0 h 257442"/>
                <a:gd name="connsiteX1" fmla="*/ 1948099 w 2002819"/>
                <a:gd name="connsiteY1" fmla="*/ 257442 h 257442"/>
                <a:gd name="connsiteX2" fmla="*/ 1 w 2002819"/>
                <a:gd name="connsiteY2" fmla="*/ 257442 h 257442"/>
                <a:gd name="connsiteX3" fmla="*/ 0 w 2002819"/>
                <a:gd name="connsiteY3" fmla="*/ 0 h 257442"/>
                <a:gd name="connsiteX0" fmla="*/ 2002818 w 2002818"/>
                <a:gd name="connsiteY0" fmla="*/ 0 h 257442"/>
                <a:gd name="connsiteX1" fmla="*/ 1948098 w 2002818"/>
                <a:gd name="connsiteY1" fmla="*/ 257442 h 257442"/>
                <a:gd name="connsiteX2" fmla="*/ 0 w 2002818"/>
                <a:gd name="connsiteY2" fmla="*/ 257442 h 257442"/>
                <a:gd name="connsiteX3" fmla="*/ 0 w 2002818"/>
                <a:gd name="connsiteY3" fmla="*/ 0 h 257442"/>
                <a:gd name="connsiteX0" fmla="*/ 2173891 w 2173891"/>
                <a:gd name="connsiteY0" fmla="*/ 0 h 257442"/>
                <a:gd name="connsiteX1" fmla="*/ 1948098 w 2173891"/>
                <a:gd name="connsiteY1" fmla="*/ 257442 h 257442"/>
                <a:gd name="connsiteX2" fmla="*/ 0 w 2173891"/>
                <a:gd name="connsiteY2" fmla="*/ 257442 h 257442"/>
                <a:gd name="connsiteX3" fmla="*/ 0 w 2173891"/>
                <a:gd name="connsiteY3" fmla="*/ 0 h 257442"/>
                <a:gd name="connsiteX0" fmla="*/ 2173891 w 2173891"/>
                <a:gd name="connsiteY0" fmla="*/ 0 h 257442"/>
                <a:gd name="connsiteX1" fmla="*/ 2119170 w 2173891"/>
                <a:gd name="connsiteY1" fmla="*/ 257442 h 257442"/>
                <a:gd name="connsiteX2" fmla="*/ 0 w 2173891"/>
                <a:gd name="connsiteY2" fmla="*/ 257442 h 257442"/>
                <a:gd name="connsiteX3" fmla="*/ 0 w 2173891"/>
                <a:gd name="connsiteY3" fmla="*/ 0 h 257442"/>
                <a:gd name="connsiteX0" fmla="*/ 2173892 w 2173892"/>
                <a:gd name="connsiteY0" fmla="*/ 0 h 257442"/>
                <a:gd name="connsiteX1" fmla="*/ 2119171 w 2173892"/>
                <a:gd name="connsiteY1" fmla="*/ 257442 h 257442"/>
                <a:gd name="connsiteX2" fmla="*/ 0 w 2173892"/>
                <a:gd name="connsiteY2" fmla="*/ 257442 h 257442"/>
                <a:gd name="connsiteX3" fmla="*/ 1 w 2173892"/>
                <a:gd name="connsiteY3" fmla="*/ 0 h 257442"/>
                <a:gd name="connsiteX0" fmla="*/ 2173892 w 2173892"/>
                <a:gd name="connsiteY0" fmla="*/ 0 h 257442"/>
                <a:gd name="connsiteX1" fmla="*/ 2119171 w 2173892"/>
                <a:gd name="connsiteY1" fmla="*/ 257442 h 257442"/>
                <a:gd name="connsiteX2" fmla="*/ 0 w 2173892"/>
                <a:gd name="connsiteY2" fmla="*/ 257442 h 257442"/>
                <a:gd name="connsiteX3" fmla="*/ 0 w 2173892"/>
                <a:gd name="connsiteY3" fmla="*/ 0 h 257442"/>
                <a:gd name="connsiteX0" fmla="*/ 2351826 w 2351826"/>
                <a:gd name="connsiteY0" fmla="*/ 0 h 257442"/>
                <a:gd name="connsiteX1" fmla="*/ 2119171 w 2351826"/>
                <a:gd name="connsiteY1" fmla="*/ 257442 h 257442"/>
                <a:gd name="connsiteX2" fmla="*/ 0 w 2351826"/>
                <a:gd name="connsiteY2" fmla="*/ 257442 h 257442"/>
                <a:gd name="connsiteX3" fmla="*/ 0 w 2351826"/>
                <a:gd name="connsiteY3" fmla="*/ 0 h 257442"/>
                <a:gd name="connsiteX0" fmla="*/ 2351826 w 2351826"/>
                <a:gd name="connsiteY0" fmla="*/ 0 h 257442"/>
                <a:gd name="connsiteX1" fmla="*/ 2297105 w 2351826"/>
                <a:gd name="connsiteY1" fmla="*/ 257442 h 257442"/>
                <a:gd name="connsiteX2" fmla="*/ 0 w 2351826"/>
                <a:gd name="connsiteY2" fmla="*/ 257442 h 257442"/>
                <a:gd name="connsiteX3" fmla="*/ 0 w 2351826"/>
                <a:gd name="connsiteY3" fmla="*/ 0 h 257442"/>
                <a:gd name="connsiteX0" fmla="*/ 2351826 w 2351826"/>
                <a:gd name="connsiteY0" fmla="*/ 0 h 257442"/>
                <a:gd name="connsiteX1" fmla="*/ 2297105 w 2351826"/>
                <a:gd name="connsiteY1" fmla="*/ 257442 h 257442"/>
                <a:gd name="connsiteX2" fmla="*/ 0 w 2351826"/>
                <a:gd name="connsiteY2" fmla="*/ 257442 h 257442"/>
                <a:gd name="connsiteX3" fmla="*/ 0 w 2351826"/>
                <a:gd name="connsiteY3" fmla="*/ 0 h 257442"/>
                <a:gd name="connsiteX0" fmla="*/ 2351826 w 2351826"/>
                <a:gd name="connsiteY0" fmla="*/ 0 h 257442"/>
                <a:gd name="connsiteX1" fmla="*/ 2297105 w 2351826"/>
                <a:gd name="connsiteY1" fmla="*/ 257442 h 257442"/>
                <a:gd name="connsiteX2" fmla="*/ 0 w 2351826"/>
                <a:gd name="connsiteY2" fmla="*/ 257442 h 257442"/>
                <a:gd name="connsiteX3" fmla="*/ 0 w 2351826"/>
                <a:gd name="connsiteY3" fmla="*/ 0 h 257442"/>
                <a:gd name="connsiteX0" fmla="*/ 2520141 w 2520141"/>
                <a:gd name="connsiteY0" fmla="*/ 0 h 257442"/>
                <a:gd name="connsiteX1" fmla="*/ 2297105 w 2520141"/>
                <a:gd name="connsiteY1" fmla="*/ 257442 h 257442"/>
                <a:gd name="connsiteX2" fmla="*/ 0 w 2520141"/>
                <a:gd name="connsiteY2" fmla="*/ 257442 h 257442"/>
                <a:gd name="connsiteX3" fmla="*/ 0 w 2520141"/>
                <a:gd name="connsiteY3" fmla="*/ 0 h 257442"/>
                <a:gd name="connsiteX0" fmla="*/ 2520141 w 2520141"/>
                <a:gd name="connsiteY0" fmla="*/ 0 h 257442"/>
                <a:gd name="connsiteX1" fmla="*/ 2465420 w 2520141"/>
                <a:gd name="connsiteY1" fmla="*/ 257442 h 257442"/>
                <a:gd name="connsiteX2" fmla="*/ 0 w 2520141"/>
                <a:gd name="connsiteY2" fmla="*/ 257442 h 257442"/>
                <a:gd name="connsiteX3" fmla="*/ 0 w 2520141"/>
                <a:gd name="connsiteY3" fmla="*/ 0 h 257442"/>
                <a:gd name="connsiteX0" fmla="*/ 2520141 w 2520141"/>
                <a:gd name="connsiteY0" fmla="*/ 0 h 257442"/>
                <a:gd name="connsiteX1" fmla="*/ 2465420 w 2520141"/>
                <a:gd name="connsiteY1" fmla="*/ 257442 h 257442"/>
                <a:gd name="connsiteX2" fmla="*/ 0 w 2520141"/>
                <a:gd name="connsiteY2" fmla="*/ 257442 h 257442"/>
                <a:gd name="connsiteX3" fmla="*/ 0 w 2520141"/>
                <a:gd name="connsiteY3" fmla="*/ 0 h 257442"/>
                <a:gd name="connsiteX0" fmla="*/ 2520141 w 2520141"/>
                <a:gd name="connsiteY0" fmla="*/ 0 h 257442"/>
                <a:gd name="connsiteX1" fmla="*/ 2465420 w 2520141"/>
                <a:gd name="connsiteY1" fmla="*/ 257442 h 257442"/>
                <a:gd name="connsiteX2" fmla="*/ 0 w 2520141"/>
                <a:gd name="connsiteY2" fmla="*/ 257442 h 257442"/>
                <a:gd name="connsiteX3" fmla="*/ 0 w 2520141"/>
                <a:gd name="connsiteY3" fmla="*/ 0 h 257442"/>
                <a:gd name="connsiteX0" fmla="*/ 2688456 w 2688456"/>
                <a:gd name="connsiteY0" fmla="*/ 0 h 257442"/>
                <a:gd name="connsiteX1" fmla="*/ 2465420 w 2688456"/>
                <a:gd name="connsiteY1" fmla="*/ 257442 h 257442"/>
                <a:gd name="connsiteX2" fmla="*/ 0 w 2688456"/>
                <a:gd name="connsiteY2" fmla="*/ 257442 h 257442"/>
                <a:gd name="connsiteX3" fmla="*/ 0 w 2688456"/>
                <a:gd name="connsiteY3" fmla="*/ 0 h 257442"/>
                <a:gd name="connsiteX0" fmla="*/ 2688456 w 2688456"/>
                <a:gd name="connsiteY0" fmla="*/ 0 h 257442"/>
                <a:gd name="connsiteX1" fmla="*/ 2633734 w 2688456"/>
                <a:gd name="connsiteY1" fmla="*/ 257442 h 257442"/>
                <a:gd name="connsiteX2" fmla="*/ 0 w 2688456"/>
                <a:gd name="connsiteY2" fmla="*/ 257442 h 257442"/>
                <a:gd name="connsiteX3" fmla="*/ 0 w 2688456"/>
                <a:gd name="connsiteY3" fmla="*/ 0 h 257442"/>
                <a:gd name="connsiteX0" fmla="*/ 2688457 w 2688457"/>
                <a:gd name="connsiteY0" fmla="*/ 0 h 257442"/>
                <a:gd name="connsiteX1" fmla="*/ 2633735 w 2688457"/>
                <a:gd name="connsiteY1" fmla="*/ 257442 h 257442"/>
                <a:gd name="connsiteX2" fmla="*/ 0 w 2688457"/>
                <a:gd name="connsiteY2" fmla="*/ 257442 h 257442"/>
                <a:gd name="connsiteX3" fmla="*/ 1 w 2688457"/>
                <a:gd name="connsiteY3" fmla="*/ 0 h 257442"/>
                <a:gd name="connsiteX0" fmla="*/ 2688457 w 2688457"/>
                <a:gd name="connsiteY0" fmla="*/ 0 h 257442"/>
                <a:gd name="connsiteX1" fmla="*/ 2633735 w 2688457"/>
                <a:gd name="connsiteY1" fmla="*/ 257442 h 257442"/>
                <a:gd name="connsiteX2" fmla="*/ 0 w 2688457"/>
                <a:gd name="connsiteY2" fmla="*/ 257442 h 257442"/>
                <a:gd name="connsiteX3" fmla="*/ 1 w 2688457"/>
                <a:gd name="connsiteY3" fmla="*/ 0 h 257442"/>
                <a:gd name="connsiteX0" fmla="*/ 2856772 w 2856772"/>
                <a:gd name="connsiteY0" fmla="*/ 0 h 257442"/>
                <a:gd name="connsiteX1" fmla="*/ 2633735 w 2856772"/>
                <a:gd name="connsiteY1" fmla="*/ 257442 h 257442"/>
                <a:gd name="connsiteX2" fmla="*/ 0 w 2856772"/>
                <a:gd name="connsiteY2" fmla="*/ 257442 h 257442"/>
                <a:gd name="connsiteX3" fmla="*/ 1 w 2856772"/>
                <a:gd name="connsiteY3" fmla="*/ 0 h 257442"/>
                <a:gd name="connsiteX0" fmla="*/ 2856772 w 2856772"/>
                <a:gd name="connsiteY0" fmla="*/ 0 h 257442"/>
                <a:gd name="connsiteX1" fmla="*/ 2802050 w 2856772"/>
                <a:gd name="connsiteY1" fmla="*/ 257442 h 257442"/>
                <a:gd name="connsiteX2" fmla="*/ 0 w 2856772"/>
                <a:gd name="connsiteY2" fmla="*/ 257442 h 257442"/>
                <a:gd name="connsiteX3" fmla="*/ 1 w 2856772"/>
                <a:gd name="connsiteY3" fmla="*/ 0 h 257442"/>
                <a:gd name="connsiteX0" fmla="*/ 2856772 w 2856772"/>
                <a:gd name="connsiteY0" fmla="*/ 0 h 257442"/>
                <a:gd name="connsiteX1" fmla="*/ 2802050 w 2856772"/>
                <a:gd name="connsiteY1" fmla="*/ 257442 h 257442"/>
                <a:gd name="connsiteX2" fmla="*/ 0 w 2856772"/>
                <a:gd name="connsiteY2" fmla="*/ 257442 h 257442"/>
                <a:gd name="connsiteX3" fmla="*/ 1 w 2856772"/>
                <a:gd name="connsiteY3" fmla="*/ 0 h 257442"/>
                <a:gd name="connsiteX0" fmla="*/ 2856772 w 2856772"/>
                <a:gd name="connsiteY0" fmla="*/ 0 h 257442"/>
                <a:gd name="connsiteX1" fmla="*/ 2802050 w 2856772"/>
                <a:gd name="connsiteY1" fmla="*/ 257442 h 257442"/>
                <a:gd name="connsiteX2" fmla="*/ 0 w 2856772"/>
                <a:gd name="connsiteY2" fmla="*/ 257442 h 257442"/>
                <a:gd name="connsiteX3" fmla="*/ 0 w 2856772"/>
                <a:gd name="connsiteY3" fmla="*/ 0 h 257442"/>
                <a:gd name="connsiteX0" fmla="*/ 2688456 w 2802050"/>
                <a:gd name="connsiteY0" fmla="*/ 0 h 257442"/>
                <a:gd name="connsiteX1" fmla="*/ 2802050 w 2802050"/>
                <a:gd name="connsiteY1" fmla="*/ 257442 h 257442"/>
                <a:gd name="connsiteX2" fmla="*/ 0 w 2802050"/>
                <a:gd name="connsiteY2" fmla="*/ 257442 h 257442"/>
                <a:gd name="connsiteX3" fmla="*/ 0 w 2802050"/>
                <a:gd name="connsiteY3" fmla="*/ 0 h 257442"/>
                <a:gd name="connsiteX0" fmla="*/ 2688456 w 2688456"/>
                <a:gd name="connsiteY0" fmla="*/ 0 h 257442"/>
                <a:gd name="connsiteX1" fmla="*/ 2633735 w 2688456"/>
                <a:gd name="connsiteY1" fmla="*/ 257442 h 257442"/>
                <a:gd name="connsiteX2" fmla="*/ 0 w 2688456"/>
                <a:gd name="connsiteY2" fmla="*/ 257442 h 257442"/>
                <a:gd name="connsiteX3" fmla="*/ 0 w 2688456"/>
                <a:gd name="connsiteY3" fmla="*/ 0 h 257442"/>
                <a:gd name="connsiteX0" fmla="*/ 2688456 w 2688456"/>
                <a:gd name="connsiteY0" fmla="*/ 0 h 257442"/>
                <a:gd name="connsiteX1" fmla="*/ 2633735 w 2688456"/>
                <a:gd name="connsiteY1" fmla="*/ 257442 h 257442"/>
                <a:gd name="connsiteX2" fmla="*/ 0 w 2688456"/>
                <a:gd name="connsiteY2" fmla="*/ 257442 h 257442"/>
                <a:gd name="connsiteX3" fmla="*/ 0 w 2688456"/>
                <a:gd name="connsiteY3" fmla="*/ 0 h 257442"/>
                <a:gd name="connsiteX0" fmla="*/ 2688456 w 2688456"/>
                <a:gd name="connsiteY0" fmla="*/ 0 h 257442"/>
                <a:gd name="connsiteX1" fmla="*/ 2633735 w 2688456"/>
                <a:gd name="connsiteY1" fmla="*/ 257442 h 257442"/>
                <a:gd name="connsiteX2" fmla="*/ 0 w 2688456"/>
                <a:gd name="connsiteY2" fmla="*/ 257442 h 257442"/>
                <a:gd name="connsiteX3" fmla="*/ 0 w 2688456"/>
                <a:gd name="connsiteY3" fmla="*/ 0 h 257442"/>
                <a:gd name="connsiteX0" fmla="*/ 2520141 w 2633735"/>
                <a:gd name="connsiteY0" fmla="*/ 0 h 257442"/>
                <a:gd name="connsiteX1" fmla="*/ 2633735 w 2633735"/>
                <a:gd name="connsiteY1" fmla="*/ 257442 h 257442"/>
                <a:gd name="connsiteX2" fmla="*/ 0 w 2633735"/>
                <a:gd name="connsiteY2" fmla="*/ 257442 h 257442"/>
                <a:gd name="connsiteX3" fmla="*/ 0 w 2633735"/>
                <a:gd name="connsiteY3" fmla="*/ 0 h 257442"/>
                <a:gd name="connsiteX0" fmla="*/ 2520141 w 2520141"/>
                <a:gd name="connsiteY0" fmla="*/ 0 h 257442"/>
                <a:gd name="connsiteX1" fmla="*/ 2465421 w 2520141"/>
                <a:gd name="connsiteY1" fmla="*/ 257442 h 257442"/>
                <a:gd name="connsiteX2" fmla="*/ 0 w 2520141"/>
                <a:gd name="connsiteY2" fmla="*/ 257442 h 257442"/>
                <a:gd name="connsiteX3" fmla="*/ 0 w 2520141"/>
                <a:gd name="connsiteY3" fmla="*/ 0 h 257442"/>
                <a:gd name="connsiteX0" fmla="*/ 2520141 w 2520141"/>
                <a:gd name="connsiteY0" fmla="*/ 0 h 257442"/>
                <a:gd name="connsiteX1" fmla="*/ 2465421 w 2520141"/>
                <a:gd name="connsiteY1" fmla="*/ 257442 h 257442"/>
                <a:gd name="connsiteX2" fmla="*/ 1 w 2520141"/>
                <a:gd name="connsiteY2" fmla="*/ 257442 h 257442"/>
                <a:gd name="connsiteX3" fmla="*/ 0 w 2520141"/>
                <a:gd name="connsiteY3" fmla="*/ 0 h 257442"/>
                <a:gd name="connsiteX0" fmla="*/ 2520140 w 2520140"/>
                <a:gd name="connsiteY0" fmla="*/ 0 h 257442"/>
                <a:gd name="connsiteX1" fmla="*/ 2465420 w 2520140"/>
                <a:gd name="connsiteY1" fmla="*/ 257442 h 257442"/>
                <a:gd name="connsiteX2" fmla="*/ 0 w 2520140"/>
                <a:gd name="connsiteY2" fmla="*/ 257442 h 257442"/>
                <a:gd name="connsiteX3" fmla="*/ 0 w 2520140"/>
                <a:gd name="connsiteY3" fmla="*/ 0 h 257442"/>
                <a:gd name="connsiteX0" fmla="*/ 2359839 w 2465420"/>
                <a:gd name="connsiteY0" fmla="*/ 0 h 257442"/>
                <a:gd name="connsiteX1" fmla="*/ 2465420 w 2465420"/>
                <a:gd name="connsiteY1" fmla="*/ 257442 h 257442"/>
                <a:gd name="connsiteX2" fmla="*/ 0 w 2465420"/>
                <a:gd name="connsiteY2" fmla="*/ 257442 h 257442"/>
                <a:gd name="connsiteX3" fmla="*/ 0 w 2465420"/>
                <a:gd name="connsiteY3" fmla="*/ 0 h 257442"/>
                <a:gd name="connsiteX0" fmla="*/ 2359839 w 2359839"/>
                <a:gd name="connsiteY0" fmla="*/ 0 h 257442"/>
                <a:gd name="connsiteX1" fmla="*/ 2305118 w 2359839"/>
                <a:gd name="connsiteY1" fmla="*/ 257442 h 257442"/>
                <a:gd name="connsiteX2" fmla="*/ 0 w 2359839"/>
                <a:gd name="connsiteY2" fmla="*/ 257442 h 257442"/>
                <a:gd name="connsiteX3" fmla="*/ 0 w 2359839"/>
                <a:gd name="connsiteY3" fmla="*/ 0 h 257442"/>
                <a:gd name="connsiteX0" fmla="*/ 2359839 w 2359839"/>
                <a:gd name="connsiteY0" fmla="*/ 0 h 257442"/>
                <a:gd name="connsiteX1" fmla="*/ 2305118 w 2359839"/>
                <a:gd name="connsiteY1" fmla="*/ 257442 h 257442"/>
                <a:gd name="connsiteX2" fmla="*/ 0 w 2359839"/>
                <a:gd name="connsiteY2" fmla="*/ 257442 h 257442"/>
                <a:gd name="connsiteX3" fmla="*/ 0 w 2359839"/>
                <a:gd name="connsiteY3" fmla="*/ 0 h 257442"/>
                <a:gd name="connsiteX0" fmla="*/ 2359839 w 2359839"/>
                <a:gd name="connsiteY0" fmla="*/ 0 h 257442"/>
                <a:gd name="connsiteX1" fmla="*/ 2305118 w 2359839"/>
                <a:gd name="connsiteY1" fmla="*/ 257442 h 257442"/>
                <a:gd name="connsiteX2" fmla="*/ 0 w 2359839"/>
                <a:gd name="connsiteY2" fmla="*/ 257442 h 257442"/>
                <a:gd name="connsiteX3" fmla="*/ 0 w 2359839"/>
                <a:gd name="connsiteY3" fmla="*/ 0 h 257442"/>
                <a:gd name="connsiteX0" fmla="*/ 2207555 w 2305118"/>
                <a:gd name="connsiteY0" fmla="*/ 0 h 257442"/>
                <a:gd name="connsiteX1" fmla="*/ 2305118 w 2305118"/>
                <a:gd name="connsiteY1" fmla="*/ 257442 h 257442"/>
                <a:gd name="connsiteX2" fmla="*/ 0 w 2305118"/>
                <a:gd name="connsiteY2" fmla="*/ 257442 h 257442"/>
                <a:gd name="connsiteX3" fmla="*/ 0 w 2305118"/>
                <a:gd name="connsiteY3" fmla="*/ 0 h 257442"/>
                <a:gd name="connsiteX0" fmla="*/ 2207555 w 2207555"/>
                <a:gd name="connsiteY0" fmla="*/ 0 h 257442"/>
                <a:gd name="connsiteX1" fmla="*/ 2152834 w 2207555"/>
                <a:gd name="connsiteY1" fmla="*/ 257442 h 257442"/>
                <a:gd name="connsiteX2" fmla="*/ 0 w 2207555"/>
                <a:gd name="connsiteY2" fmla="*/ 257442 h 257442"/>
                <a:gd name="connsiteX3" fmla="*/ 0 w 2207555"/>
                <a:gd name="connsiteY3" fmla="*/ 0 h 257442"/>
                <a:gd name="connsiteX0" fmla="*/ 2207555 w 2207555"/>
                <a:gd name="connsiteY0" fmla="*/ 0 h 257442"/>
                <a:gd name="connsiteX1" fmla="*/ 2152834 w 2207555"/>
                <a:gd name="connsiteY1" fmla="*/ 257442 h 257442"/>
                <a:gd name="connsiteX2" fmla="*/ 1 w 2207555"/>
                <a:gd name="connsiteY2" fmla="*/ 257442 h 257442"/>
                <a:gd name="connsiteX3" fmla="*/ 0 w 2207555"/>
                <a:gd name="connsiteY3" fmla="*/ 0 h 257442"/>
                <a:gd name="connsiteX0" fmla="*/ 2207554 w 2207554"/>
                <a:gd name="connsiteY0" fmla="*/ 0 h 257442"/>
                <a:gd name="connsiteX1" fmla="*/ 2152833 w 2207554"/>
                <a:gd name="connsiteY1" fmla="*/ 257442 h 257442"/>
                <a:gd name="connsiteX2" fmla="*/ 0 w 2207554"/>
                <a:gd name="connsiteY2" fmla="*/ 257442 h 257442"/>
                <a:gd name="connsiteX3" fmla="*/ 0 w 2207554"/>
                <a:gd name="connsiteY3" fmla="*/ 0 h 257442"/>
                <a:gd name="connsiteX0" fmla="*/ 2106565 w 2152833"/>
                <a:gd name="connsiteY0" fmla="*/ 0 h 257442"/>
                <a:gd name="connsiteX1" fmla="*/ 2152833 w 2152833"/>
                <a:gd name="connsiteY1" fmla="*/ 257442 h 257442"/>
                <a:gd name="connsiteX2" fmla="*/ 0 w 2152833"/>
                <a:gd name="connsiteY2" fmla="*/ 257442 h 257442"/>
                <a:gd name="connsiteX3" fmla="*/ 0 w 2152833"/>
                <a:gd name="connsiteY3" fmla="*/ 0 h 257442"/>
                <a:gd name="connsiteX0" fmla="*/ 2106565 w 2106565"/>
                <a:gd name="connsiteY0" fmla="*/ 0 h 257442"/>
                <a:gd name="connsiteX1" fmla="*/ 2051845 w 2106565"/>
                <a:gd name="connsiteY1" fmla="*/ 257442 h 257442"/>
                <a:gd name="connsiteX2" fmla="*/ 0 w 2106565"/>
                <a:gd name="connsiteY2" fmla="*/ 257442 h 257442"/>
                <a:gd name="connsiteX3" fmla="*/ 0 w 2106565"/>
                <a:gd name="connsiteY3" fmla="*/ 0 h 257442"/>
                <a:gd name="connsiteX0" fmla="*/ 2106565 w 2106565"/>
                <a:gd name="connsiteY0" fmla="*/ 0 h 257442"/>
                <a:gd name="connsiteX1" fmla="*/ 2051845 w 2106565"/>
                <a:gd name="connsiteY1" fmla="*/ 257442 h 257442"/>
                <a:gd name="connsiteX2" fmla="*/ 0 w 2106565"/>
                <a:gd name="connsiteY2" fmla="*/ 257442 h 257442"/>
                <a:gd name="connsiteX3" fmla="*/ 0 w 2106565"/>
                <a:gd name="connsiteY3" fmla="*/ 0 h 257442"/>
                <a:gd name="connsiteX0" fmla="*/ 2106565 w 2106565"/>
                <a:gd name="connsiteY0" fmla="*/ 0 h 257442"/>
                <a:gd name="connsiteX1" fmla="*/ 2051845 w 2106565"/>
                <a:gd name="connsiteY1" fmla="*/ 257442 h 257442"/>
                <a:gd name="connsiteX2" fmla="*/ 0 w 2106565"/>
                <a:gd name="connsiteY2" fmla="*/ 257442 h 257442"/>
                <a:gd name="connsiteX3" fmla="*/ 0 w 2106565"/>
                <a:gd name="connsiteY3" fmla="*/ 0 h 257442"/>
                <a:gd name="connsiteX0" fmla="*/ 1954281 w 2051845"/>
                <a:gd name="connsiteY0" fmla="*/ 0 h 257442"/>
                <a:gd name="connsiteX1" fmla="*/ 2051845 w 2051845"/>
                <a:gd name="connsiteY1" fmla="*/ 257442 h 257442"/>
                <a:gd name="connsiteX2" fmla="*/ 0 w 2051845"/>
                <a:gd name="connsiteY2" fmla="*/ 257442 h 257442"/>
                <a:gd name="connsiteX3" fmla="*/ 0 w 2051845"/>
                <a:gd name="connsiteY3" fmla="*/ 0 h 257442"/>
                <a:gd name="connsiteX0" fmla="*/ 1954281 w 1954281"/>
                <a:gd name="connsiteY0" fmla="*/ 0 h 257442"/>
                <a:gd name="connsiteX1" fmla="*/ 1899560 w 1954281"/>
                <a:gd name="connsiteY1" fmla="*/ 257442 h 257442"/>
                <a:gd name="connsiteX2" fmla="*/ 0 w 1954281"/>
                <a:gd name="connsiteY2" fmla="*/ 257442 h 257442"/>
                <a:gd name="connsiteX3" fmla="*/ 0 w 1954281"/>
                <a:gd name="connsiteY3" fmla="*/ 0 h 257442"/>
                <a:gd name="connsiteX0" fmla="*/ 1954281 w 1954281"/>
                <a:gd name="connsiteY0" fmla="*/ 0 h 257442"/>
                <a:gd name="connsiteX1" fmla="*/ 1899560 w 1954281"/>
                <a:gd name="connsiteY1" fmla="*/ 257442 h 257442"/>
                <a:gd name="connsiteX2" fmla="*/ 0 w 1954281"/>
                <a:gd name="connsiteY2" fmla="*/ 257442 h 257442"/>
                <a:gd name="connsiteX3" fmla="*/ 0 w 1954281"/>
                <a:gd name="connsiteY3" fmla="*/ 0 h 257442"/>
                <a:gd name="connsiteX0" fmla="*/ 1954281 w 1954281"/>
                <a:gd name="connsiteY0" fmla="*/ 0 h 257442"/>
                <a:gd name="connsiteX1" fmla="*/ 1899560 w 1954281"/>
                <a:gd name="connsiteY1" fmla="*/ 257442 h 257442"/>
                <a:gd name="connsiteX2" fmla="*/ 0 w 1954281"/>
                <a:gd name="connsiteY2" fmla="*/ 257442 h 257442"/>
                <a:gd name="connsiteX3" fmla="*/ 0 w 1954281"/>
                <a:gd name="connsiteY3" fmla="*/ 0 h 257442"/>
                <a:gd name="connsiteX0" fmla="*/ 1785965 w 1899560"/>
                <a:gd name="connsiteY0" fmla="*/ 0 h 257442"/>
                <a:gd name="connsiteX1" fmla="*/ 1899560 w 1899560"/>
                <a:gd name="connsiteY1" fmla="*/ 257442 h 257442"/>
                <a:gd name="connsiteX2" fmla="*/ 0 w 1899560"/>
                <a:gd name="connsiteY2" fmla="*/ 257442 h 257442"/>
                <a:gd name="connsiteX3" fmla="*/ 0 w 1899560"/>
                <a:gd name="connsiteY3" fmla="*/ 0 h 257442"/>
                <a:gd name="connsiteX0" fmla="*/ 1785965 w 1785965"/>
                <a:gd name="connsiteY0" fmla="*/ 0 h 257442"/>
                <a:gd name="connsiteX1" fmla="*/ 1731244 w 1785965"/>
                <a:gd name="connsiteY1" fmla="*/ 257442 h 257442"/>
                <a:gd name="connsiteX2" fmla="*/ 0 w 1785965"/>
                <a:gd name="connsiteY2" fmla="*/ 257442 h 257442"/>
                <a:gd name="connsiteX3" fmla="*/ 0 w 1785965"/>
                <a:gd name="connsiteY3" fmla="*/ 0 h 257442"/>
                <a:gd name="connsiteX0" fmla="*/ 1785965 w 1785965"/>
                <a:gd name="connsiteY0" fmla="*/ 0 h 257442"/>
                <a:gd name="connsiteX1" fmla="*/ 1731244 w 1785965"/>
                <a:gd name="connsiteY1" fmla="*/ 257442 h 257442"/>
                <a:gd name="connsiteX2" fmla="*/ 1 w 1785965"/>
                <a:gd name="connsiteY2" fmla="*/ 257442 h 257442"/>
                <a:gd name="connsiteX3" fmla="*/ 0 w 1785965"/>
                <a:gd name="connsiteY3" fmla="*/ 0 h 257442"/>
                <a:gd name="connsiteX0" fmla="*/ 1785964 w 1785964"/>
                <a:gd name="connsiteY0" fmla="*/ 0 h 257442"/>
                <a:gd name="connsiteX1" fmla="*/ 1731243 w 1785964"/>
                <a:gd name="connsiteY1" fmla="*/ 257442 h 257442"/>
                <a:gd name="connsiteX2" fmla="*/ 0 w 1785964"/>
                <a:gd name="connsiteY2" fmla="*/ 257442 h 257442"/>
                <a:gd name="connsiteX3" fmla="*/ 0 w 1785964"/>
                <a:gd name="connsiteY3" fmla="*/ 0 h 257442"/>
                <a:gd name="connsiteX0" fmla="*/ 1617649 w 1731243"/>
                <a:gd name="connsiteY0" fmla="*/ 0 h 257442"/>
                <a:gd name="connsiteX1" fmla="*/ 1731243 w 1731243"/>
                <a:gd name="connsiteY1" fmla="*/ 257442 h 257442"/>
                <a:gd name="connsiteX2" fmla="*/ 0 w 1731243"/>
                <a:gd name="connsiteY2" fmla="*/ 257442 h 257442"/>
                <a:gd name="connsiteX3" fmla="*/ 0 w 1731243"/>
                <a:gd name="connsiteY3" fmla="*/ 0 h 257442"/>
                <a:gd name="connsiteX0" fmla="*/ 1617649 w 1617649"/>
                <a:gd name="connsiteY0" fmla="*/ 0 h 257442"/>
                <a:gd name="connsiteX1" fmla="*/ 1562929 w 1617649"/>
                <a:gd name="connsiteY1" fmla="*/ 257442 h 257442"/>
                <a:gd name="connsiteX2" fmla="*/ 0 w 1617649"/>
                <a:gd name="connsiteY2" fmla="*/ 257442 h 257442"/>
                <a:gd name="connsiteX3" fmla="*/ 0 w 1617649"/>
                <a:gd name="connsiteY3" fmla="*/ 0 h 257442"/>
                <a:gd name="connsiteX0" fmla="*/ 1617649 w 1617649"/>
                <a:gd name="connsiteY0" fmla="*/ 0 h 257442"/>
                <a:gd name="connsiteX1" fmla="*/ 1562929 w 1617649"/>
                <a:gd name="connsiteY1" fmla="*/ 257442 h 257442"/>
                <a:gd name="connsiteX2" fmla="*/ 0 w 1617649"/>
                <a:gd name="connsiteY2" fmla="*/ 257442 h 257442"/>
                <a:gd name="connsiteX3" fmla="*/ 0 w 1617649"/>
                <a:gd name="connsiteY3" fmla="*/ 0 h 257442"/>
                <a:gd name="connsiteX0" fmla="*/ 1617649 w 1617649"/>
                <a:gd name="connsiteY0" fmla="*/ 0 h 257442"/>
                <a:gd name="connsiteX1" fmla="*/ 1562929 w 1617649"/>
                <a:gd name="connsiteY1" fmla="*/ 257442 h 257442"/>
                <a:gd name="connsiteX2" fmla="*/ 0 w 1617649"/>
                <a:gd name="connsiteY2" fmla="*/ 257442 h 257442"/>
                <a:gd name="connsiteX3" fmla="*/ 0 w 1617649"/>
                <a:gd name="connsiteY3" fmla="*/ 0 h 257442"/>
                <a:gd name="connsiteX0" fmla="*/ 1449335 w 1562929"/>
                <a:gd name="connsiteY0" fmla="*/ 0 h 257442"/>
                <a:gd name="connsiteX1" fmla="*/ 1562929 w 1562929"/>
                <a:gd name="connsiteY1" fmla="*/ 257442 h 257442"/>
                <a:gd name="connsiteX2" fmla="*/ 0 w 1562929"/>
                <a:gd name="connsiteY2" fmla="*/ 257442 h 257442"/>
                <a:gd name="connsiteX3" fmla="*/ 0 w 1562929"/>
                <a:gd name="connsiteY3" fmla="*/ 0 h 257442"/>
                <a:gd name="connsiteX0" fmla="*/ 1449335 w 1449335"/>
                <a:gd name="connsiteY0" fmla="*/ 0 h 257442"/>
                <a:gd name="connsiteX1" fmla="*/ 1394614 w 1449335"/>
                <a:gd name="connsiteY1" fmla="*/ 257442 h 257442"/>
                <a:gd name="connsiteX2" fmla="*/ 0 w 1449335"/>
                <a:gd name="connsiteY2" fmla="*/ 257442 h 257442"/>
                <a:gd name="connsiteX3" fmla="*/ 0 w 1449335"/>
                <a:gd name="connsiteY3" fmla="*/ 0 h 257442"/>
                <a:gd name="connsiteX0" fmla="*/ 1449335 w 1449335"/>
                <a:gd name="connsiteY0" fmla="*/ 0 h 257442"/>
                <a:gd name="connsiteX1" fmla="*/ 1394614 w 1449335"/>
                <a:gd name="connsiteY1" fmla="*/ 257442 h 257442"/>
                <a:gd name="connsiteX2" fmla="*/ 0 w 1449335"/>
                <a:gd name="connsiteY2" fmla="*/ 257442 h 257442"/>
                <a:gd name="connsiteX3" fmla="*/ 0 w 1449335"/>
                <a:gd name="connsiteY3" fmla="*/ 0 h 257442"/>
                <a:gd name="connsiteX0" fmla="*/ 1449335 w 1449335"/>
                <a:gd name="connsiteY0" fmla="*/ 0 h 257442"/>
                <a:gd name="connsiteX1" fmla="*/ 1394614 w 1449335"/>
                <a:gd name="connsiteY1" fmla="*/ 257442 h 257442"/>
                <a:gd name="connsiteX2" fmla="*/ 0 w 1449335"/>
                <a:gd name="connsiteY2" fmla="*/ 257442 h 257442"/>
                <a:gd name="connsiteX3" fmla="*/ 0 w 1449335"/>
                <a:gd name="connsiteY3" fmla="*/ 0 h 257442"/>
                <a:gd name="connsiteX0" fmla="*/ 1271402 w 1394614"/>
                <a:gd name="connsiteY0" fmla="*/ 0 h 257442"/>
                <a:gd name="connsiteX1" fmla="*/ 1394614 w 1394614"/>
                <a:gd name="connsiteY1" fmla="*/ 257442 h 257442"/>
                <a:gd name="connsiteX2" fmla="*/ 0 w 1394614"/>
                <a:gd name="connsiteY2" fmla="*/ 257442 h 257442"/>
                <a:gd name="connsiteX3" fmla="*/ 0 w 1394614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0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0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0 w 1271402"/>
                <a:gd name="connsiteY3" fmla="*/ 0 h 257442"/>
                <a:gd name="connsiteX0" fmla="*/ 1103086 w 1216681"/>
                <a:gd name="connsiteY0" fmla="*/ 0 h 257442"/>
                <a:gd name="connsiteX1" fmla="*/ 1216681 w 1216681"/>
                <a:gd name="connsiteY1" fmla="*/ 257442 h 257442"/>
                <a:gd name="connsiteX2" fmla="*/ 0 w 1216681"/>
                <a:gd name="connsiteY2" fmla="*/ 257442 h 257442"/>
                <a:gd name="connsiteX3" fmla="*/ 0 w 1216681"/>
                <a:gd name="connsiteY3" fmla="*/ 0 h 257442"/>
                <a:gd name="connsiteX0" fmla="*/ 1103086 w 1103086"/>
                <a:gd name="connsiteY0" fmla="*/ 0 h 257442"/>
                <a:gd name="connsiteX1" fmla="*/ 1048366 w 1103086"/>
                <a:gd name="connsiteY1" fmla="*/ 257442 h 257442"/>
                <a:gd name="connsiteX2" fmla="*/ 0 w 1103086"/>
                <a:gd name="connsiteY2" fmla="*/ 257442 h 257442"/>
                <a:gd name="connsiteX3" fmla="*/ 0 w 1103086"/>
                <a:gd name="connsiteY3" fmla="*/ 0 h 257442"/>
                <a:gd name="connsiteX0" fmla="*/ 1103086 w 1103086"/>
                <a:gd name="connsiteY0" fmla="*/ 0 h 257442"/>
                <a:gd name="connsiteX1" fmla="*/ 1048366 w 1103086"/>
                <a:gd name="connsiteY1" fmla="*/ 257442 h 257442"/>
                <a:gd name="connsiteX2" fmla="*/ 1 w 1103086"/>
                <a:gd name="connsiteY2" fmla="*/ 257442 h 257442"/>
                <a:gd name="connsiteX3" fmla="*/ 0 w 1103086"/>
                <a:gd name="connsiteY3" fmla="*/ 0 h 257442"/>
                <a:gd name="connsiteX0" fmla="*/ 1103085 w 1103085"/>
                <a:gd name="connsiteY0" fmla="*/ 0 h 257442"/>
                <a:gd name="connsiteX1" fmla="*/ 1048365 w 1103085"/>
                <a:gd name="connsiteY1" fmla="*/ 257442 h 257442"/>
                <a:gd name="connsiteX2" fmla="*/ 0 w 1103085"/>
                <a:gd name="connsiteY2" fmla="*/ 257442 h 257442"/>
                <a:gd name="connsiteX3" fmla="*/ 0 w 1103085"/>
                <a:gd name="connsiteY3" fmla="*/ 0 h 257442"/>
                <a:gd name="connsiteX0" fmla="*/ 942786 w 1048365"/>
                <a:gd name="connsiteY0" fmla="*/ 0 h 257442"/>
                <a:gd name="connsiteX1" fmla="*/ 1048365 w 1048365"/>
                <a:gd name="connsiteY1" fmla="*/ 257442 h 257442"/>
                <a:gd name="connsiteX2" fmla="*/ 0 w 1048365"/>
                <a:gd name="connsiteY2" fmla="*/ 257442 h 257442"/>
                <a:gd name="connsiteX3" fmla="*/ 0 w 1048365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0 w 942786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0 w 942786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0 w 942786"/>
                <a:gd name="connsiteY3" fmla="*/ 0 h 257442"/>
                <a:gd name="connsiteX0" fmla="*/ 1103086 w 1103086"/>
                <a:gd name="connsiteY0" fmla="*/ 0 h 257442"/>
                <a:gd name="connsiteX1" fmla="*/ 888065 w 1103086"/>
                <a:gd name="connsiteY1" fmla="*/ 257442 h 257442"/>
                <a:gd name="connsiteX2" fmla="*/ 0 w 1103086"/>
                <a:gd name="connsiteY2" fmla="*/ 257442 h 257442"/>
                <a:gd name="connsiteX3" fmla="*/ 0 w 1103086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0 w 1103086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0 w 1103086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0 w 1103086"/>
                <a:gd name="connsiteY3" fmla="*/ 0 h 257442"/>
                <a:gd name="connsiteX0" fmla="*/ 1271402 w 1271402"/>
                <a:gd name="connsiteY0" fmla="*/ 0 h 257442"/>
                <a:gd name="connsiteX1" fmla="*/ 1048365 w 1271402"/>
                <a:gd name="connsiteY1" fmla="*/ 257442 h 257442"/>
                <a:gd name="connsiteX2" fmla="*/ 0 w 1271402"/>
                <a:gd name="connsiteY2" fmla="*/ 257442 h 257442"/>
                <a:gd name="connsiteX3" fmla="*/ 0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0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0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0 w 1271402"/>
                <a:gd name="connsiteY3" fmla="*/ 0 h 257442"/>
                <a:gd name="connsiteX0" fmla="*/ 1439717 w 1439717"/>
                <a:gd name="connsiteY0" fmla="*/ 0 h 257442"/>
                <a:gd name="connsiteX1" fmla="*/ 1216681 w 1439717"/>
                <a:gd name="connsiteY1" fmla="*/ 257442 h 257442"/>
                <a:gd name="connsiteX2" fmla="*/ 0 w 1439717"/>
                <a:gd name="connsiteY2" fmla="*/ 257442 h 257442"/>
                <a:gd name="connsiteX3" fmla="*/ 0 w 1439717"/>
                <a:gd name="connsiteY3" fmla="*/ 0 h 257442"/>
                <a:gd name="connsiteX0" fmla="*/ 1439717 w 1439717"/>
                <a:gd name="connsiteY0" fmla="*/ 0 h 257442"/>
                <a:gd name="connsiteX1" fmla="*/ 1384996 w 1439717"/>
                <a:gd name="connsiteY1" fmla="*/ 257442 h 257442"/>
                <a:gd name="connsiteX2" fmla="*/ 0 w 1439717"/>
                <a:gd name="connsiteY2" fmla="*/ 257442 h 257442"/>
                <a:gd name="connsiteX3" fmla="*/ 0 w 1439717"/>
                <a:gd name="connsiteY3" fmla="*/ 0 h 257442"/>
                <a:gd name="connsiteX0" fmla="*/ 1439717 w 1439717"/>
                <a:gd name="connsiteY0" fmla="*/ 0 h 257442"/>
                <a:gd name="connsiteX1" fmla="*/ 1384996 w 1439717"/>
                <a:gd name="connsiteY1" fmla="*/ 257442 h 257442"/>
                <a:gd name="connsiteX2" fmla="*/ 0 w 1439717"/>
                <a:gd name="connsiteY2" fmla="*/ 257442 h 257442"/>
                <a:gd name="connsiteX3" fmla="*/ 0 w 1439717"/>
                <a:gd name="connsiteY3" fmla="*/ 0 h 257442"/>
                <a:gd name="connsiteX0" fmla="*/ 1439717 w 1439717"/>
                <a:gd name="connsiteY0" fmla="*/ 0 h 257442"/>
                <a:gd name="connsiteX1" fmla="*/ 1384996 w 1439717"/>
                <a:gd name="connsiteY1" fmla="*/ 257442 h 257442"/>
                <a:gd name="connsiteX2" fmla="*/ 0 w 1439717"/>
                <a:gd name="connsiteY2" fmla="*/ 257442 h 257442"/>
                <a:gd name="connsiteX3" fmla="*/ 0 w 1439717"/>
                <a:gd name="connsiteY3" fmla="*/ 0 h 257442"/>
                <a:gd name="connsiteX0" fmla="*/ 1692991 w 1692991"/>
                <a:gd name="connsiteY0" fmla="*/ 0 h 257442"/>
                <a:gd name="connsiteX1" fmla="*/ 1384996 w 1692991"/>
                <a:gd name="connsiteY1" fmla="*/ 257442 h 257442"/>
                <a:gd name="connsiteX2" fmla="*/ 0 w 1692991"/>
                <a:gd name="connsiteY2" fmla="*/ 257442 h 257442"/>
                <a:gd name="connsiteX3" fmla="*/ 0 w 1692991"/>
                <a:gd name="connsiteY3" fmla="*/ 0 h 257442"/>
                <a:gd name="connsiteX0" fmla="*/ 1692991 w 1692991"/>
                <a:gd name="connsiteY0" fmla="*/ 0 h 257442"/>
                <a:gd name="connsiteX1" fmla="*/ 1638270 w 1692991"/>
                <a:gd name="connsiteY1" fmla="*/ 257442 h 257442"/>
                <a:gd name="connsiteX2" fmla="*/ 0 w 1692991"/>
                <a:gd name="connsiteY2" fmla="*/ 257442 h 257442"/>
                <a:gd name="connsiteX3" fmla="*/ 0 w 1692991"/>
                <a:gd name="connsiteY3" fmla="*/ 0 h 257442"/>
                <a:gd name="connsiteX0" fmla="*/ 1692991 w 1692991"/>
                <a:gd name="connsiteY0" fmla="*/ 0 h 257442"/>
                <a:gd name="connsiteX1" fmla="*/ 1638270 w 1692991"/>
                <a:gd name="connsiteY1" fmla="*/ 257442 h 257442"/>
                <a:gd name="connsiteX2" fmla="*/ 0 w 1692991"/>
                <a:gd name="connsiteY2" fmla="*/ 257442 h 257442"/>
                <a:gd name="connsiteX3" fmla="*/ 0 w 1692991"/>
                <a:gd name="connsiteY3" fmla="*/ 0 h 257442"/>
                <a:gd name="connsiteX0" fmla="*/ 1692991 w 1692991"/>
                <a:gd name="connsiteY0" fmla="*/ 0 h 257442"/>
                <a:gd name="connsiteX1" fmla="*/ 1638270 w 1692991"/>
                <a:gd name="connsiteY1" fmla="*/ 257442 h 257442"/>
                <a:gd name="connsiteX2" fmla="*/ 0 w 1692991"/>
                <a:gd name="connsiteY2" fmla="*/ 257442 h 257442"/>
                <a:gd name="connsiteX3" fmla="*/ 0 w 1692991"/>
                <a:gd name="connsiteY3" fmla="*/ 0 h 257442"/>
                <a:gd name="connsiteX0" fmla="*/ 1870925 w 1870925"/>
                <a:gd name="connsiteY0" fmla="*/ 0 h 257442"/>
                <a:gd name="connsiteX1" fmla="*/ 1638270 w 1870925"/>
                <a:gd name="connsiteY1" fmla="*/ 257442 h 257442"/>
                <a:gd name="connsiteX2" fmla="*/ 0 w 1870925"/>
                <a:gd name="connsiteY2" fmla="*/ 257442 h 257442"/>
                <a:gd name="connsiteX3" fmla="*/ 0 w 1870925"/>
                <a:gd name="connsiteY3" fmla="*/ 0 h 257442"/>
                <a:gd name="connsiteX0" fmla="*/ 1870925 w 1870925"/>
                <a:gd name="connsiteY0" fmla="*/ 0 h 257442"/>
                <a:gd name="connsiteX1" fmla="*/ 1816204 w 1870925"/>
                <a:gd name="connsiteY1" fmla="*/ 257442 h 257442"/>
                <a:gd name="connsiteX2" fmla="*/ 0 w 1870925"/>
                <a:gd name="connsiteY2" fmla="*/ 257442 h 257442"/>
                <a:gd name="connsiteX3" fmla="*/ 0 w 1870925"/>
                <a:gd name="connsiteY3" fmla="*/ 0 h 257442"/>
                <a:gd name="connsiteX0" fmla="*/ 1870925 w 1870925"/>
                <a:gd name="connsiteY0" fmla="*/ 0 h 257442"/>
                <a:gd name="connsiteX1" fmla="*/ 1816204 w 1870925"/>
                <a:gd name="connsiteY1" fmla="*/ 257442 h 257442"/>
                <a:gd name="connsiteX2" fmla="*/ 0 w 1870925"/>
                <a:gd name="connsiteY2" fmla="*/ 257442 h 257442"/>
                <a:gd name="connsiteX3" fmla="*/ 0 w 1870925"/>
                <a:gd name="connsiteY3" fmla="*/ 0 h 257442"/>
                <a:gd name="connsiteX0" fmla="*/ 1870925 w 1870925"/>
                <a:gd name="connsiteY0" fmla="*/ 0 h 257442"/>
                <a:gd name="connsiteX1" fmla="*/ 1816204 w 1870925"/>
                <a:gd name="connsiteY1" fmla="*/ 257442 h 257442"/>
                <a:gd name="connsiteX2" fmla="*/ 0 w 1870925"/>
                <a:gd name="connsiteY2" fmla="*/ 257442 h 257442"/>
                <a:gd name="connsiteX3" fmla="*/ 0 w 1870925"/>
                <a:gd name="connsiteY3" fmla="*/ 0 h 257442"/>
                <a:gd name="connsiteX0" fmla="*/ 2039240 w 2039240"/>
                <a:gd name="connsiteY0" fmla="*/ 0 h 257442"/>
                <a:gd name="connsiteX1" fmla="*/ 1816204 w 2039240"/>
                <a:gd name="connsiteY1" fmla="*/ 257442 h 257442"/>
                <a:gd name="connsiteX2" fmla="*/ 0 w 2039240"/>
                <a:gd name="connsiteY2" fmla="*/ 257442 h 257442"/>
                <a:gd name="connsiteX3" fmla="*/ 0 w 2039240"/>
                <a:gd name="connsiteY3" fmla="*/ 0 h 257442"/>
                <a:gd name="connsiteX0" fmla="*/ 2039240 w 2039240"/>
                <a:gd name="connsiteY0" fmla="*/ 0 h 257442"/>
                <a:gd name="connsiteX1" fmla="*/ 1984518 w 2039240"/>
                <a:gd name="connsiteY1" fmla="*/ 257442 h 257442"/>
                <a:gd name="connsiteX2" fmla="*/ 0 w 2039240"/>
                <a:gd name="connsiteY2" fmla="*/ 257442 h 257442"/>
                <a:gd name="connsiteX3" fmla="*/ 0 w 2039240"/>
                <a:gd name="connsiteY3" fmla="*/ 0 h 257442"/>
                <a:gd name="connsiteX0" fmla="*/ 2039241 w 2039241"/>
                <a:gd name="connsiteY0" fmla="*/ 0 h 257442"/>
                <a:gd name="connsiteX1" fmla="*/ 1984519 w 2039241"/>
                <a:gd name="connsiteY1" fmla="*/ 257442 h 257442"/>
                <a:gd name="connsiteX2" fmla="*/ 0 w 2039241"/>
                <a:gd name="connsiteY2" fmla="*/ 257442 h 257442"/>
                <a:gd name="connsiteX3" fmla="*/ 1 w 2039241"/>
                <a:gd name="connsiteY3" fmla="*/ 0 h 257442"/>
                <a:gd name="connsiteX0" fmla="*/ 2039241 w 2039241"/>
                <a:gd name="connsiteY0" fmla="*/ 0 h 257442"/>
                <a:gd name="connsiteX1" fmla="*/ 1984519 w 2039241"/>
                <a:gd name="connsiteY1" fmla="*/ 257442 h 257442"/>
                <a:gd name="connsiteX2" fmla="*/ 0 w 2039241"/>
                <a:gd name="connsiteY2" fmla="*/ 257442 h 257442"/>
                <a:gd name="connsiteX3" fmla="*/ 1 w 2039241"/>
                <a:gd name="connsiteY3" fmla="*/ 0 h 257442"/>
                <a:gd name="connsiteX0" fmla="*/ 2207556 w 2207556"/>
                <a:gd name="connsiteY0" fmla="*/ 0 h 257442"/>
                <a:gd name="connsiteX1" fmla="*/ 1984519 w 2207556"/>
                <a:gd name="connsiteY1" fmla="*/ 257442 h 257442"/>
                <a:gd name="connsiteX2" fmla="*/ 0 w 2207556"/>
                <a:gd name="connsiteY2" fmla="*/ 257442 h 257442"/>
                <a:gd name="connsiteX3" fmla="*/ 1 w 2207556"/>
                <a:gd name="connsiteY3" fmla="*/ 0 h 257442"/>
                <a:gd name="connsiteX0" fmla="*/ 2207556 w 2207556"/>
                <a:gd name="connsiteY0" fmla="*/ 0 h 257442"/>
                <a:gd name="connsiteX1" fmla="*/ 2152834 w 2207556"/>
                <a:gd name="connsiteY1" fmla="*/ 257442 h 257442"/>
                <a:gd name="connsiteX2" fmla="*/ 0 w 2207556"/>
                <a:gd name="connsiteY2" fmla="*/ 257442 h 257442"/>
                <a:gd name="connsiteX3" fmla="*/ 1 w 2207556"/>
                <a:gd name="connsiteY3" fmla="*/ 0 h 257442"/>
                <a:gd name="connsiteX0" fmla="*/ 2207556 w 2207556"/>
                <a:gd name="connsiteY0" fmla="*/ 0 h 257442"/>
                <a:gd name="connsiteX1" fmla="*/ 2152834 w 2207556"/>
                <a:gd name="connsiteY1" fmla="*/ 257442 h 257442"/>
                <a:gd name="connsiteX2" fmla="*/ 0 w 2207556"/>
                <a:gd name="connsiteY2" fmla="*/ 257442 h 257442"/>
                <a:gd name="connsiteX3" fmla="*/ 1 w 2207556"/>
                <a:gd name="connsiteY3" fmla="*/ 0 h 257442"/>
                <a:gd name="connsiteX0" fmla="*/ 2207556 w 2207556"/>
                <a:gd name="connsiteY0" fmla="*/ 0 h 257442"/>
                <a:gd name="connsiteX1" fmla="*/ 2152834 w 2207556"/>
                <a:gd name="connsiteY1" fmla="*/ 257442 h 257442"/>
                <a:gd name="connsiteX2" fmla="*/ 0 w 2207556"/>
                <a:gd name="connsiteY2" fmla="*/ 257442 h 257442"/>
                <a:gd name="connsiteX3" fmla="*/ 0 w 2207556"/>
                <a:gd name="connsiteY3" fmla="*/ 0 h 257442"/>
                <a:gd name="connsiteX0" fmla="*/ 2460830 w 2460830"/>
                <a:gd name="connsiteY0" fmla="*/ 0 h 257442"/>
                <a:gd name="connsiteX1" fmla="*/ 2152834 w 2460830"/>
                <a:gd name="connsiteY1" fmla="*/ 257442 h 257442"/>
                <a:gd name="connsiteX2" fmla="*/ 0 w 2460830"/>
                <a:gd name="connsiteY2" fmla="*/ 257442 h 257442"/>
                <a:gd name="connsiteX3" fmla="*/ 0 w 2460830"/>
                <a:gd name="connsiteY3" fmla="*/ 0 h 257442"/>
                <a:gd name="connsiteX0" fmla="*/ 2460830 w 2460830"/>
                <a:gd name="connsiteY0" fmla="*/ 0 h 257442"/>
                <a:gd name="connsiteX1" fmla="*/ 2406109 w 2460830"/>
                <a:gd name="connsiteY1" fmla="*/ 257442 h 257442"/>
                <a:gd name="connsiteX2" fmla="*/ 0 w 2460830"/>
                <a:gd name="connsiteY2" fmla="*/ 257442 h 257442"/>
                <a:gd name="connsiteX3" fmla="*/ 0 w 2460830"/>
                <a:gd name="connsiteY3" fmla="*/ 0 h 257442"/>
                <a:gd name="connsiteX0" fmla="*/ 2460830 w 2460830"/>
                <a:gd name="connsiteY0" fmla="*/ 0 h 257442"/>
                <a:gd name="connsiteX1" fmla="*/ 2406109 w 2460830"/>
                <a:gd name="connsiteY1" fmla="*/ 257442 h 257442"/>
                <a:gd name="connsiteX2" fmla="*/ 0 w 2460830"/>
                <a:gd name="connsiteY2" fmla="*/ 257442 h 257442"/>
                <a:gd name="connsiteX3" fmla="*/ 0 w 2460830"/>
                <a:gd name="connsiteY3" fmla="*/ 0 h 257442"/>
                <a:gd name="connsiteX0" fmla="*/ 2460830 w 2460830"/>
                <a:gd name="connsiteY0" fmla="*/ 0 h 257442"/>
                <a:gd name="connsiteX1" fmla="*/ 2406109 w 2460830"/>
                <a:gd name="connsiteY1" fmla="*/ 257442 h 257442"/>
                <a:gd name="connsiteX2" fmla="*/ 0 w 2460830"/>
                <a:gd name="connsiteY2" fmla="*/ 257442 h 257442"/>
                <a:gd name="connsiteX3" fmla="*/ 0 w 2460830"/>
                <a:gd name="connsiteY3" fmla="*/ 0 h 257442"/>
                <a:gd name="connsiteX0" fmla="*/ 2773415 w 2773415"/>
                <a:gd name="connsiteY0" fmla="*/ 0 h 257442"/>
                <a:gd name="connsiteX1" fmla="*/ 2406109 w 2773415"/>
                <a:gd name="connsiteY1" fmla="*/ 257442 h 257442"/>
                <a:gd name="connsiteX2" fmla="*/ 0 w 2773415"/>
                <a:gd name="connsiteY2" fmla="*/ 257442 h 257442"/>
                <a:gd name="connsiteX3" fmla="*/ 0 w 2773415"/>
                <a:gd name="connsiteY3" fmla="*/ 0 h 257442"/>
                <a:gd name="connsiteX0" fmla="*/ 2773415 w 2773415"/>
                <a:gd name="connsiteY0" fmla="*/ 0 h 257442"/>
                <a:gd name="connsiteX1" fmla="*/ 2718694 w 2773415"/>
                <a:gd name="connsiteY1" fmla="*/ 257442 h 257442"/>
                <a:gd name="connsiteX2" fmla="*/ 0 w 2773415"/>
                <a:gd name="connsiteY2" fmla="*/ 257442 h 257442"/>
                <a:gd name="connsiteX3" fmla="*/ 0 w 2773415"/>
                <a:gd name="connsiteY3" fmla="*/ 0 h 257442"/>
                <a:gd name="connsiteX0" fmla="*/ 2773415 w 2773415"/>
                <a:gd name="connsiteY0" fmla="*/ 0 h 257442"/>
                <a:gd name="connsiteX1" fmla="*/ 2718694 w 2773415"/>
                <a:gd name="connsiteY1" fmla="*/ 257442 h 257442"/>
                <a:gd name="connsiteX2" fmla="*/ 0 w 2773415"/>
                <a:gd name="connsiteY2" fmla="*/ 257442 h 257442"/>
                <a:gd name="connsiteX3" fmla="*/ 0 w 2773415"/>
                <a:gd name="connsiteY3" fmla="*/ 0 h 257442"/>
                <a:gd name="connsiteX0" fmla="*/ 2773415 w 2773415"/>
                <a:gd name="connsiteY0" fmla="*/ 0 h 257442"/>
                <a:gd name="connsiteX1" fmla="*/ 2718694 w 2773415"/>
                <a:gd name="connsiteY1" fmla="*/ 257442 h 257442"/>
                <a:gd name="connsiteX2" fmla="*/ 0 w 2773415"/>
                <a:gd name="connsiteY2" fmla="*/ 257442 h 257442"/>
                <a:gd name="connsiteX3" fmla="*/ 0 w 2773415"/>
                <a:gd name="connsiteY3" fmla="*/ 0 h 257442"/>
                <a:gd name="connsiteX0" fmla="*/ 3031947 w 3031947"/>
                <a:gd name="connsiteY0" fmla="*/ 0 h 257442"/>
                <a:gd name="connsiteX1" fmla="*/ 2718694 w 3031947"/>
                <a:gd name="connsiteY1" fmla="*/ 257442 h 257442"/>
                <a:gd name="connsiteX2" fmla="*/ 0 w 3031947"/>
                <a:gd name="connsiteY2" fmla="*/ 257442 h 257442"/>
                <a:gd name="connsiteX3" fmla="*/ 0 w 3031947"/>
                <a:gd name="connsiteY3" fmla="*/ 0 h 257442"/>
                <a:gd name="connsiteX0" fmla="*/ 3031947 w 3031947"/>
                <a:gd name="connsiteY0" fmla="*/ 0 h 257442"/>
                <a:gd name="connsiteX1" fmla="*/ 2977226 w 3031947"/>
                <a:gd name="connsiteY1" fmla="*/ 257442 h 257442"/>
                <a:gd name="connsiteX2" fmla="*/ 0 w 3031947"/>
                <a:gd name="connsiteY2" fmla="*/ 257442 h 257442"/>
                <a:gd name="connsiteX3" fmla="*/ 0 w 3031947"/>
                <a:gd name="connsiteY3" fmla="*/ 0 h 257442"/>
                <a:gd name="connsiteX0" fmla="*/ 3031947 w 3031947"/>
                <a:gd name="connsiteY0" fmla="*/ 0 h 257442"/>
                <a:gd name="connsiteX1" fmla="*/ 2977226 w 3031947"/>
                <a:gd name="connsiteY1" fmla="*/ 257442 h 257442"/>
                <a:gd name="connsiteX2" fmla="*/ 0 w 3031947"/>
                <a:gd name="connsiteY2" fmla="*/ 257442 h 257442"/>
                <a:gd name="connsiteX3" fmla="*/ 0 w 3031947"/>
                <a:gd name="connsiteY3" fmla="*/ 0 h 257442"/>
                <a:gd name="connsiteX0" fmla="*/ 3031947 w 3031947"/>
                <a:gd name="connsiteY0" fmla="*/ 0 h 257442"/>
                <a:gd name="connsiteX1" fmla="*/ 2977226 w 3031947"/>
                <a:gd name="connsiteY1" fmla="*/ 257442 h 257442"/>
                <a:gd name="connsiteX2" fmla="*/ 0 w 3031947"/>
                <a:gd name="connsiteY2" fmla="*/ 257442 h 257442"/>
                <a:gd name="connsiteX3" fmla="*/ 0 w 3031947"/>
                <a:gd name="connsiteY3" fmla="*/ 0 h 257442"/>
                <a:gd name="connsiteX0" fmla="*/ 3192248 w 3192248"/>
                <a:gd name="connsiteY0" fmla="*/ 0 h 257442"/>
                <a:gd name="connsiteX1" fmla="*/ 2977226 w 3192248"/>
                <a:gd name="connsiteY1" fmla="*/ 257442 h 257442"/>
                <a:gd name="connsiteX2" fmla="*/ 0 w 3192248"/>
                <a:gd name="connsiteY2" fmla="*/ 257442 h 257442"/>
                <a:gd name="connsiteX3" fmla="*/ 0 w 3192248"/>
                <a:gd name="connsiteY3" fmla="*/ 0 h 257442"/>
                <a:gd name="connsiteX0" fmla="*/ 3192248 w 3192248"/>
                <a:gd name="connsiteY0" fmla="*/ 0 h 257442"/>
                <a:gd name="connsiteX1" fmla="*/ 3137526 w 3192248"/>
                <a:gd name="connsiteY1" fmla="*/ 257442 h 257442"/>
                <a:gd name="connsiteX2" fmla="*/ 0 w 3192248"/>
                <a:gd name="connsiteY2" fmla="*/ 257442 h 257442"/>
                <a:gd name="connsiteX3" fmla="*/ 0 w 3192248"/>
                <a:gd name="connsiteY3" fmla="*/ 0 h 257442"/>
                <a:gd name="connsiteX0" fmla="*/ 3192249 w 3192249"/>
                <a:gd name="connsiteY0" fmla="*/ 0 h 257442"/>
                <a:gd name="connsiteX1" fmla="*/ 3137527 w 3192249"/>
                <a:gd name="connsiteY1" fmla="*/ 257442 h 257442"/>
                <a:gd name="connsiteX2" fmla="*/ 0 w 3192249"/>
                <a:gd name="connsiteY2" fmla="*/ 257442 h 257442"/>
                <a:gd name="connsiteX3" fmla="*/ 1 w 3192249"/>
                <a:gd name="connsiteY3" fmla="*/ 0 h 257442"/>
                <a:gd name="connsiteX0" fmla="*/ 3192249 w 3192249"/>
                <a:gd name="connsiteY0" fmla="*/ 0 h 257442"/>
                <a:gd name="connsiteX1" fmla="*/ 3137527 w 3192249"/>
                <a:gd name="connsiteY1" fmla="*/ 257442 h 257442"/>
                <a:gd name="connsiteX2" fmla="*/ 0 w 3192249"/>
                <a:gd name="connsiteY2" fmla="*/ 257442 h 257442"/>
                <a:gd name="connsiteX3" fmla="*/ 1 w 3192249"/>
                <a:gd name="connsiteY3" fmla="*/ 0 h 257442"/>
                <a:gd name="connsiteX0" fmla="*/ 3501436 w 3501436"/>
                <a:gd name="connsiteY0" fmla="*/ 0 h 257442"/>
                <a:gd name="connsiteX1" fmla="*/ 3137527 w 3501436"/>
                <a:gd name="connsiteY1" fmla="*/ 257442 h 257442"/>
                <a:gd name="connsiteX2" fmla="*/ 0 w 3501436"/>
                <a:gd name="connsiteY2" fmla="*/ 257442 h 257442"/>
                <a:gd name="connsiteX3" fmla="*/ 1 w 3501436"/>
                <a:gd name="connsiteY3" fmla="*/ 0 h 257442"/>
                <a:gd name="connsiteX0" fmla="*/ 3501436 w 3501436"/>
                <a:gd name="connsiteY0" fmla="*/ 0 h 257442"/>
                <a:gd name="connsiteX1" fmla="*/ 3446714 w 3501436"/>
                <a:gd name="connsiteY1" fmla="*/ 257442 h 257442"/>
                <a:gd name="connsiteX2" fmla="*/ 0 w 3501436"/>
                <a:gd name="connsiteY2" fmla="*/ 257442 h 257442"/>
                <a:gd name="connsiteX3" fmla="*/ 1 w 3501436"/>
                <a:gd name="connsiteY3" fmla="*/ 0 h 257442"/>
                <a:gd name="connsiteX0" fmla="*/ 3501436 w 3501436"/>
                <a:gd name="connsiteY0" fmla="*/ 0 h 257442"/>
                <a:gd name="connsiteX1" fmla="*/ 3446714 w 3501436"/>
                <a:gd name="connsiteY1" fmla="*/ 257442 h 257442"/>
                <a:gd name="connsiteX2" fmla="*/ 0 w 3501436"/>
                <a:gd name="connsiteY2" fmla="*/ 257442 h 257442"/>
                <a:gd name="connsiteX3" fmla="*/ 1 w 3501436"/>
                <a:gd name="connsiteY3" fmla="*/ 0 h 257442"/>
                <a:gd name="connsiteX0" fmla="*/ 3501436 w 3501436"/>
                <a:gd name="connsiteY0" fmla="*/ 0 h 257442"/>
                <a:gd name="connsiteX1" fmla="*/ 3446714 w 3501436"/>
                <a:gd name="connsiteY1" fmla="*/ 257442 h 257442"/>
                <a:gd name="connsiteX2" fmla="*/ 0 w 3501436"/>
                <a:gd name="connsiteY2" fmla="*/ 257442 h 257442"/>
                <a:gd name="connsiteX3" fmla="*/ 0 w 3501436"/>
                <a:gd name="connsiteY3" fmla="*/ 0 h 257442"/>
                <a:gd name="connsiteX0" fmla="*/ 3669751 w 3669751"/>
                <a:gd name="connsiteY0" fmla="*/ 0 h 257442"/>
                <a:gd name="connsiteX1" fmla="*/ 3446714 w 3669751"/>
                <a:gd name="connsiteY1" fmla="*/ 257442 h 257442"/>
                <a:gd name="connsiteX2" fmla="*/ 0 w 3669751"/>
                <a:gd name="connsiteY2" fmla="*/ 257442 h 257442"/>
                <a:gd name="connsiteX3" fmla="*/ 0 w 3669751"/>
                <a:gd name="connsiteY3" fmla="*/ 0 h 257442"/>
                <a:gd name="connsiteX0" fmla="*/ 3669751 w 3669751"/>
                <a:gd name="connsiteY0" fmla="*/ 0 h 257442"/>
                <a:gd name="connsiteX1" fmla="*/ 3615030 w 3669751"/>
                <a:gd name="connsiteY1" fmla="*/ 257442 h 257442"/>
                <a:gd name="connsiteX2" fmla="*/ 0 w 3669751"/>
                <a:gd name="connsiteY2" fmla="*/ 257442 h 257442"/>
                <a:gd name="connsiteX3" fmla="*/ 0 w 3669751"/>
                <a:gd name="connsiteY3" fmla="*/ 0 h 257442"/>
                <a:gd name="connsiteX0" fmla="*/ 3669751 w 3669751"/>
                <a:gd name="connsiteY0" fmla="*/ 0 h 257442"/>
                <a:gd name="connsiteX1" fmla="*/ 3615030 w 3669751"/>
                <a:gd name="connsiteY1" fmla="*/ 257442 h 257442"/>
                <a:gd name="connsiteX2" fmla="*/ 0 w 3669751"/>
                <a:gd name="connsiteY2" fmla="*/ 257442 h 257442"/>
                <a:gd name="connsiteX3" fmla="*/ 0 w 3669751"/>
                <a:gd name="connsiteY3" fmla="*/ 0 h 257442"/>
                <a:gd name="connsiteX0" fmla="*/ 3669751 w 3669751"/>
                <a:gd name="connsiteY0" fmla="*/ 0 h 257442"/>
                <a:gd name="connsiteX1" fmla="*/ 3615030 w 3669751"/>
                <a:gd name="connsiteY1" fmla="*/ 257442 h 257442"/>
                <a:gd name="connsiteX2" fmla="*/ 0 w 3669751"/>
                <a:gd name="connsiteY2" fmla="*/ 257442 h 257442"/>
                <a:gd name="connsiteX3" fmla="*/ 0 w 3669751"/>
                <a:gd name="connsiteY3" fmla="*/ 0 h 257442"/>
                <a:gd name="connsiteX0" fmla="*/ 3838065 w 3838065"/>
                <a:gd name="connsiteY0" fmla="*/ 0 h 257442"/>
                <a:gd name="connsiteX1" fmla="*/ 3615030 w 3838065"/>
                <a:gd name="connsiteY1" fmla="*/ 257442 h 257442"/>
                <a:gd name="connsiteX2" fmla="*/ 0 w 3838065"/>
                <a:gd name="connsiteY2" fmla="*/ 257442 h 257442"/>
                <a:gd name="connsiteX3" fmla="*/ 0 w 3838065"/>
                <a:gd name="connsiteY3" fmla="*/ 0 h 257442"/>
                <a:gd name="connsiteX0" fmla="*/ 3838065 w 3838065"/>
                <a:gd name="connsiteY0" fmla="*/ 0 h 257442"/>
                <a:gd name="connsiteX1" fmla="*/ 3783344 w 3838065"/>
                <a:gd name="connsiteY1" fmla="*/ 257442 h 257442"/>
                <a:gd name="connsiteX2" fmla="*/ 0 w 3838065"/>
                <a:gd name="connsiteY2" fmla="*/ 257442 h 257442"/>
                <a:gd name="connsiteX3" fmla="*/ 0 w 3838065"/>
                <a:gd name="connsiteY3" fmla="*/ 0 h 257442"/>
                <a:gd name="connsiteX0" fmla="*/ 3838065 w 3838065"/>
                <a:gd name="connsiteY0" fmla="*/ 0 h 257442"/>
                <a:gd name="connsiteX1" fmla="*/ 3783344 w 3838065"/>
                <a:gd name="connsiteY1" fmla="*/ 257442 h 257442"/>
                <a:gd name="connsiteX2" fmla="*/ 0 w 3838065"/>
                <a:gd name="connsiteY2" fmla="*/ 257442 h 257442"/>
                <a:gd name="connsiteX3" fmla="*/ 0 w 3838065"/>
                <a:gd name="connsiteY3" fmla="*/ 0 h 257442"/>
                <a:gd name="connsiteX0" fmla="*/ 3838065 w 3838065"/>
                <a:gd name="connsiteY0" fmla="*/ 0 h 257442"/>
                <a:gd name="connsiteX1" fmla="*/ 3783344 w 3838065"/>
                <a:gd name="connsiteY1" fmla="*/ 257442 h 257442"/>
                <a:gd name="connsiteX2" fmla="*/ 0 w 3838065"/>
                <a:gd name="connsiteY2" fmla="*/ 257442 h 257442"/>
                <a:gd name="connsiteX3" fmla="*/ 0 w 3838065"/>
                <a:gd name="connsiteY3" fmla="*/ 0 h 257442"/>
                <a:gd name="connsiteX0" fmla="*/ 4079926 w 4079926"/>
                <a:gd name="connsiteY0" fmla="*/ 0 h 257442"/>
                <a:gd name="connsiteX1" fmla="*/ 3783344 w 4079926"/>
                <a:gd name="connsiteY1" fmla="*/ 257442 h 257442"/>
                <a:gd name="connsiteX2" fmla="*/ 0 w 4079926"/>
                <a:gd name="connsiteY2" fmla="*/ 257442 h 257442"/>
                <a:gd name="connsiteX3" fmla="*/ 0 w 4079926"/>
                <a:gd name="connsiteY3" fmla="*/ 0 h 257442"/>
                <a:gd name="connsiteX0" fmla="*/ 4079926 w 4079926"/>
                <a:gd name="connsiteY0" fmla="*/ 0 h 257442"/>
                <a:gd name="connsiteX1" fmla="*/ 4025204 w 4079926"/>
                <a:gd name="connsiteY1" fmla="*/ 257442 h 257442"/>
                <a:gd name="connsiteX2" fmla="*/ 0 w 4079926"/>
                <a:gd name="connsiteY2" fmla="*/ 257442 h 257442"/>
                <a:gd name="connsiteX3" fmla="*/ 0 w 4079926"/>
                <a:gd name="connsiteY3" fmla="*/ 0 h 257442"/>
                <a:gd name="connsiteX0" fmla="*/ 4079927 w 4079927"/>
                <a:gd name="connsiteY0" fmla="*/ 0 h 257442"/>
                <a:gd name="connsiteX1" fmla="*/ 4025205 w 4079927"/>
                <a:gd name="connsiteY1" fmla="*/ 257442 h 257442"/>
                <a:gd name="connsiteX2" fmla="*/ 0 w 4079927"/>
                <a:gd name="connsiteY2" fmla="*/ 257442 h 257442"/>
                <a:gd name="connsiteX3" fmla="*/ 1 w 4079927"/>
                <a:gd name="connsiteY3" fmla="*/ 0 h 257442"/>
                <a:gd name="connsiteX0" fmla="*/ 4079927 w 4079927"/>
                <a:gd name="connsiteY0" fmla="*/ 0 h 257442"/>
                <a:gd name="connsiteX1" fmla="*/ 4025205 w 4079927"/>
                <a:gd name="connsiteY1" fmla="*/ 257442 h 257442"/>
                <a:gd name="connsiteX2" fmla="*/ 0 w 4079927"/>
                <a:gd name="connsiteY2" fmla="*/ 257442 h 257442"/>
                <a:gd name="connsiteX3" fmla="*/ 1 w 4079927"/>
                <a:gd name="connsiteY3" fmla="*/ 0 h 257442"/>
                <a:gd name="connsiteX0" fmla="*/ 4257861 w 4257861"/>
                <a:gd name="connsiteY0" fmla="*/ 0 h 257442"/>
                <a:gd name="connsiteX1" fmla="*/ 4025205 w 4257861"/>
                <a:gd name="connsiteY1" fmla="*/ 257442 h 257442"/>
                <a:gd name="connsiteX2" fmla="*/ 0 w 4257861"/>
                <a:gd name="connsiteY2" fmla="*/ 257442 h 257442"/>
                <a:gd name="connsiteX3" fmla="*/ 1 w 4257861"/>
                <a:gd name="connsiteY3" fmla="*/ 0 h 257442"/>
                <a:gd name="connsiteX0" fmla="*/ 4257861 w 4257861"/>
                <a:gd name="connsiteY0" fmla="*/ 0 h 257442"/>
                <a:gd name="connsiteX1" fmla="*/ 4203140 w 4257861"/>
                <a:gd name="connsiteY1" fmla="*/ 257442 h 257442"/>
                <a:gd name="connsiteX2" fmla="*/ 0 w 4257861"/>
                <a:gd name="connsiteY2" fmla="*/ 257442 h 257442"/>
                <a:gd name="connsiteX3" fmla="*/ 1 w 4257861"/>
                <a:gd name="connsiteY3" fmla="*/ 0 h 257442"/>
                <a:gd name="connsiteX0" fmla="*/ 4257860 w 4257860"/>
                <a:gd name="connsiteY0" fmla="*/ 0 h 257442"/>
                <a:gd name="connsiteX1" fmla="*/ 4203139 w 4257860"/>
                <a:gd name="connsiteY1" fmla="*/ 257442 h 257442"/>
                <a:gd name="connsiteX2" fmla="*/ 0 w 4257860"/>
                <a:gd name="connsiteY2" fmla="*/ 257442 h 257442"/>
                <a:gd name="connsiteX3" fmla="*/ 0 w 4257860"/>
                <a:gd name="connsiteY3" fmla="*/ 0 h 257442"/>
                <a:gd name="connsiteX0" fmla="*/ 4257861 w 4257861"/>
                <a:gd name="connsiteY0" fmla="*/ 0 h 257442"/>
                <a:gd name="connsiteX1" fmla="*/ 4203140 w 4257861"/>
                <a:gd name="connsiteY1" fmla="*/ 257442 h 257442"/>
                <a:gd name="connsiteX2" fmla="*/ 1 w 4257861"/>
                <a:gd name="connsiteY2" fmla="*/ 257442 h 257442"/>
                <a:gd name="connsiteX3" fmla="*/ 0 w 4257861"/>
                <a:gd name="connsiteY3" fmla="*/ 0 h 257442"/>
                <a:gd name="connsiteX0" fmla="*/ 4426176 w 4426176"/>
                <a:gd name="connsiteY0" fmla="*/ 0 h 257442"/>
                <a:gd name="connsiteX1" fmla="*/ 4203140 w 4426176"/>
                <a:gd name="connsiteY1" fmla="*/ 257442 h 257442"/>
                <a:gd name="connsiteX2" fmla="*/ 1 w 4426176"/>
                <a:gd name="connsiteY2" fmla="*/ 257442 h 257442"/>
                <a:gd name="connsiteX3" fmla="*/ 0 w 4426176"/>
                <a:gd name="connsiteY3" fmla="*/ 0 h 257442"/>
                <a:gd name="connsiteX0" fmla="*/ 4426176 w 4426176"/>
                <a:gd name="connsiteY0" fmla="*/ 0 h 257442"/>
                <a:gd name="connsiteX1" fmla="*/ 4371454 w 4426176"/>
                <a:gd name="connsiteY1" fmla="*/ 257442 h 257442"/>
                <a:gd name="connsiteX2" fmla="*/ 1 w 4426176"/>
                <a:gd name="connsiteY2" fmla="*/ 257442 h 257442"/>
                <a:gd name="connsiteX3" fmla="*/ 0 w 4426176"/>
                <a:gd name="connsiteY3" fmla="*/ 0 h 257442"/>
                <a:gd name="connsiteX0" fmla="*/ 4426176 w 4426176"/>
                <a:gd name="connsiteY0" fmla="*/ 0 h 257442"/>
                <a:gd name="connsiteX1" fmla="*/ 4371454 w 4426176"/>
                <a:gd name="connsiteY1" fmla="*/ 257442 h 257442"/>
                <a:gd name="connsiteX2" fmla="*/ 0 w 4426176"/>
                <a:gd name="connsiteY2" fmla="*/ 257442 h 257442"/>
                <a:gd name="connsiteX3" fmla="*/ 0 w 4426176"/>
                <a:gd name="connsiteY3" fmla="*/ 0 h 257442"/>
                <a:gd name="connsiteX0" fmla="*/ 4426176 w 4426176"/>
                <a:gd name="connsiteY0" fmla="*/ 0 h 257442"/>
                <a:gd name="connsiteX1" fmla="*/ 4371454 w 4426176"/>
                <a:gd name="connsiteY1" fmla="*/ 257442 h 257442"/>
                <a:gd name="connsiteX2" fmla="*/ 0 w 4426176"/>
                <a:gd name="connsiteY2" fmla="*/ 257442 h 257442"/>
                <a:gd name="connsiteX3" fmla="*/ 0 w 4426176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26176" h="257442">
                  <a:moveTo>
                    <a:pt x="4426176" y="0"/>
                  </a:moveTo>
                  <a:lnTo>
                    <a:pt x="4371454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" name="btfpRunningAgenda1LevelTextLeft413969">
              <a:extLst>
                <a:ext uri="{FF2B5EF4-FFF2-40B4-BE49-F238E27FC236}">
                  <a16:creationId xmlns:a16="http://schemas.microsoft.com/office/drawing/2014/main" id="{8B0980F0-192D-B098-55F4-144BDC83DC00}"/>
                </a:ext>
              </a:extLst>
            </p:cNvPr>
            <p:cNvSpPr txBox="1"/>
            <p:nvPr/>
          </p:nvSpPr>
          <p:spPr bwMode="gray">
            <a:xfrm>
              <a:off x="0" y="876300"/>
              <a:ext cx="4371454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ZA" sz="1200" b="1" cap="all" spc="450">
                  <a:solidFill>
                    <a:srgbClr val="FFFFFF"/>
                  </a:solidFill>
                  <a:latin typeface="Arial"/>
                </a:rPr>
                <a:t>Functionality evaluation</a:t>
              </a:r>
              <a:endParaRPr kumimoji="0" lang="en-ZA" sz="1200" b="1" i="0" u="none" strike="noStrike" kern="1200" cap="all" spc="4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6" name="btfpStatusSticker515089">
            <a:extLst>
              <a:ext uri="{FF2B5EF4-FFF2-40B4-BE49-F238E27FC236}">
                <a16:creationId xmlns:a16="http://schemas.microsoft.com/office/drawing/2014/main" id="{AD9B7A64-0740-9C3D-957F-FD95E1CA2647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0077254" y="964771"/>
            <a:ext cx="1779784" cy="235611"/>
            <a:chOff x="-6024177" y="876300"/>
            <a:chExt cx="1759136" cy="235611"/>
          </a:xfrm>
        </p:grpSpPr>
        <p:sp>
          <p:nvSpPr>
            <p:cNvPr id="7" name="btfpStatusStickerText515089">
              <a:extLst>
                <a:ext uri="{FF2B5EF4-FFF2-40B4-BE49-F238E27FC236}">
                  <a16:creationId xmlns:a16="http://schemas.microsoft.com/office/drawing/2014/main" id="{52B1581A-56E4-28CA-AE56-9AA5101BF7A5}"/>
                </a:ext>
              </a:extLst>
            </p:cNvPr>
            <p:cNvSpPr txBox="1"/>
            <p:nvPr/>
          </p:nvSpPr>
          <p:spPr bwMode="gray">
            <a:xfrm>
              <a:off x="-6024177" y="876300"/>
              <a:ext cx="1759136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marR="0" lvl="0" indent="0" algn="r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all" spc="45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Microsoft YaHei"/>
                  <a:cs typeface="+mn-cs"/>
                </a:rPr>
                <a:t>DIRECTIONAL</a:t>
              </a:r>
            </a:p>
          </p:txBody>
        </p:sp>
        <p:cxnSp>
          <p:nvCxnSpPr>
            <p:cNvPr id="8" name="btfpStatusStickerLine515089">
              <a:extLst>
                <a:ext uri="{FF2B5EF4-FFF2-40B4-BE49-F238E27FC236}">
                  <a16:creationId xmlns:a16="http://schemas.microsoft.com/office/drawing/2014/main" id="{EC16F6A9-EA43-D852-3B5F-926A7D6FEFC9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6024177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1"/>
    </p:custDataLst>
    <p:extLst>
      <p:ext uri="{BB962C8B-B14F-4D97-AF65-F5344CB8AC3E}">
        <p14:creationId xmlns:p14="http://schemas.microsoft.com/office/powerpoint/2010/main" val="202908599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3" name="think-cell data - do not delete" hidden="1">
            <a:extLst>
              <a:ext uri="{FF2B5EF4-FFF2-40B4-BE49-F238E27FC236}">
                <a16:creationId xmlns:a16="http://schemas.microsoft.com/office/drawing/2014/main" id="{5C947463-222C-7DEA-C97F-4D1B34C1C01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484" imgH="486" progId="TCLayout.ActiveDocument.1">
                  <p:embed/>
                </p:oleObj>
              </mc:Choice>
              <mc:Fallback>
                <p:oleObj name="think-cell Slide" r:id="rId12" imgW="484" imgH="486" progId="TCLayout.ActiveDocument.1">
                  <p:embed/>
                  <p:pic>
                    <p:nvPicPr>
                      <p:cNvPr id="5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C947463-222C-7DEA-C97F-4D1B34C1C0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6" name="Picture 75" descr="Red and black diagonal lines">
            <a:extLst>
              <a:ext uri="{FF2B5EF4-FFF2-40B4-BE49-F238E27FC236}">
                <a16:creationId xmlns:a16="http://schemas.microsoft.com/office/drawing/2014/main" id="{09BF8C26-0D69-880D-9744-70BECC149367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-3360"/>
            <a:ext cx="12191999" cy="843464"/>
          </a:xfrm>
          <a:prstGeom prst="rect">
            <a:avLst/>
          </a:prstGeom>
        </p:spPr>
      </p:pic>
      <p:grpSp>
        <p:nvGrpSpPr>
          <p:cNvPr id="75" name="btfpColumnIndicatorGroup2">
            <a:extLst>
              <a:ext uri="{FF2B5EF4-FFF2-40B4-BE49-F238E27FC236}">
                <a16:creationId xmlns:a16="http://schemas.microsoft.com/office/drawing/2014/main" id="{C98F4032-3CD7-079A-AFE0-BC3FDA9F76E6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73" name="btfpColumnGapBlocker336300">
              <a:extLst>
                <a:ext uri="{FF2B5EF4-FFF2-40B4-BE49-F238E27FC236}">
                  <a16:creationId xmlns:a16="http://schemas.microsoft.com/office/drawing/2014/main" id="{D66D5EC3-53FA-619D-7BF2-52B652099B6F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71" name="btfpColumnGapBlocker893682">
              <a:extLst>
                <a:ext uri="{FF2B5EF4-FFF2-40B4-BE49-F238E27FC236}">
                  <a16:creationId xmlns:a16="http://schemas.microsoft.com/office/drawing/2014/main" id="{394979AB-AA67-B597-56B9-3F213278B2FD}"/>
                </a:ext>
              </a:extLst>
            </p:cNvPr>
            <p:cNvSpPr/>
            <p:nvPr/>
          </p:nvSpPr>
          <p:spPr bwMode="gray">
            <a:xfrm>
              <a:off x="8843764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69" name="btfpColumnIndicator246669">
              <a:extLst>
                <a:ext uri="{FF2B5EF4-FFF2-40B4-BE49-F238E27FC236}">
                  <a16:creationId xmlns:a16="http://schemas.microsoft.com/office/drawing/2014/main" id="{59097B12-59E1-5C41-D5E7-547FA0470E0C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btfpColumnIndicator784262">
              <a:extLst>
                <a:ext uri="{FF2B5EF4-FFF2-40B4-BE49-F238E27FC236}">
                  <a16:creationId xmlns:a16="http://schemas.microsoft.com/office/drawing/2014/main" id="{19ECF39C-25B6-162B-C719-CFC7EB86CC60}"/>
                </a:ext>
              </a:extLst>
            </p:cNvPr>
            <p:cNvCxnSpPr/>
            <p:nvPr/>
          </p:nvCxnSpPr>
          <p:spPr bwMode="gray">
            <a:xfrm flipV="1">
              <a:off x="938430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5" name="btfpColumnGapBlocker734997">
              <a:extLst>
                <a:ext uri="{FF2B5EF4-FFF2-40B4-BE49-F238E27FC236}">
                  <a16:creationId xmlns:a16="http://schemas.microsoft.com/office/drawing/2014/main" id="{5FE0F344-2BDE-AC7A-7442-F710CA8967E0}"/>
                </a:ext>
              </a:extLst>
            </p:cNvPr>
            <p:cNvSpPr/>
            <p:nvPr/>
          </p:nvSpPr>
          <p:spPr bwMode="gray">
            <a:xfrm>
              <a:off x="5825728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63" name="btfpColumnIndicator120391">
              <a:extLst>
                <a:ext uri="{FF2B5EF4-FFF2-40B4-BE49-F238E27FC236}">
                  <a16:creationId xmlns:a16="http://schemas.microsoft.com/office/drawing/2014/main" id="{4E6228A4-CBB9-207B-AAA9-BB5C115F54D0}"/>
                </a:ext>
              </a:extLst>
            </p:cNvPr>
            <p:cNvCxnSpPr/>
            <p:nvPr/>
          </p:nvCxnSpPr>
          <p:spPr bwMode="gray">
            <a:xfrm flipV="1">
              <a:off x="8843764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btfpColumnIndicator931250">
              <a:extLst>
                <a:ext uri="{FF2B5EF4-FFF2-40B4-BE49-F238E27FC236}">
                  <a16:creationId xmlns:a16="http://schemas.microsoft.com/office/drawing/2014/main" id="{F88EFD7A-CC51-656C-0713-3109675BCA27}"/>
                </a:ext>
              </a:extLst>
            </p:cNvPr>
            <p:cNvCxnSpPr/>
            <p:nvPr/>
          </p:nvCxnSpPr>
          <p:spPr bwMode="gray">
            <a:xfrm flipV="1">
              <a:off x="636627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btfpColumnGapBlocker134358">
              <a:extLst>
                <a:ext uri="{FF2B5EF4-FFF2-40B4-BE49-F238E27FC236}">
                  <a16:creationId xmlns:a16="http://schemas.microsoft.com/office/drawing/2014/main" id="{2B043D32-53F7-7D0A-6C85-F3A586147DCB}"/>
                </a:ext>
              </a:extLst>
            </p:cNvPr>
            <p:cNvSpPr/>
            <p:nvPr/>
          </p:nvSpPr>
          <p:spPr bwMode="gray">
            <a:xfrm>
              <a:off x="2807692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57" name="btfpColumnIndicator859922">
              <a:extLst>
                <a:ext uri="{FF2B5EF4-FFF2-40B4-BE49-F238E27FC236}">
                  <a16:creationId xmlns:a16="http://schemas.microsoft.com/office/drawing/2014/main" id="{C99B6A2B-1DF5-B07C-61E8-042BBF95FF12}"/>
                </a:ext>
              </a:extLst>
            </p:cNvPr>
            <p:cNvCxnSpPr/>
            <p:nvPr/>
          </p:nvCxnSpPr>
          <p:spPr bwMode="gray">
            <a:xfrm flipV="1">
              <a:off x="582572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btfpColumnIndicator667626">
              <a:extLst>
                <a:ext uri="{FF2B5EF4-FFF2-40B4-BE49-F238E27FC236}">
                  <a16:creationId xmlns:a16="http://schemas.microsoft.com/office/drawing/2014/main" id="{92D5C722-3B69-D18F-B220-D6F95AA39D92}"/>
                </a:ext>
              </a:extLst>
            </p:cNvPr>
            <p:cNvCxnSpPr/>
            <p:nvPr/>
          </p:nvCxnSpPr>
          <p:spPr bwMode="gray">
            <a:xfrm flipV="1">
              <a:off x="3348236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btfpColumnGapBlocker652707">
              <a:extLst>
                <a:ext uri="{FF2B5EF4-FFF2-40B4-BE49-F238E27FC236}">
                  <a16:creationId xmlns:a16="http://schemas.microsoft.com/office/drawing/2014/main" id="{25F3AB5D-4B8F-5859-4F37-4818E3912326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1" name="btfpColumnIndicator692226">
              <a:extLst>
                <a:ext uri="{FF2B5EF4-FFF2-40B4-BE49-F238E27FC236}">
                  <a16:creationId xmlns:a16="http://schemas.microsoft.com/office/drawing/2014/main" id="{389E143F-212C-A684-D98E-96AB8A136444}"/>
                </a:ext>
              </a:extLst>
            </p:cNvPr>
            <p:cNvCxnSpPr/>
            <p:nvPr/>
          </p:nvCxnSpPr>
          <p:spPr bwMode="gray">
            <a:xfrm flipV="1">
              <a:off x="280769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btfpColumnIndicator177353">
              <a:extLst>
                <a:ext uri="{FF2B5EF4-FFF2-40B4-BE49-F238E27FC236}">
                  <a16:creationId xmlns:a16="http://schemas.microsoft.com/office/drawing/2014/main" id="{B7CEF452-1693-8A55-41CE-BDF82130C602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4" name="btfpColumnIndicatorGroup1">
            <a:extLst>
              <a:ext uri="{FF2B5EF4-FFF2-40B4-BE49-F238E27FC236}">
                <a16:creationId xmlns:a16="http://schemas.microsoft.com/office/drawing/2014/main" id="{B3D2E52A-E2C6-C198-A90D-865EDF9BD755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72" name="btfpColumnGapBlocker107187">
              <a:extLst>
                <a:ext uri="{FF2B5EF4-FFF2-40B4-BE49-F238E27FC236}">
                  <a16:creationId xmlns:a16="http://schemas.microsoft.com/office/drawing/2014/main" id="{420E41C8-FA5F-FAD8-45E3-A975863EEA54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70" name="btfpColumnGapBlocker112378">
              <a:extLst>
                <a:ext uri="{FF2B5EF4-FFF2-40B4-BE49-F238E27FC236}">
                  <a16:creationId xmlns:a16="http://schemas.microsoft.com/office/drawing/2014/main" id="{3838FE57-319F-4609-8016-F18191C614E0}"/>
                </a:ext>
              </a:extLst>
            </p:cNvPr>
            <p:cNvSpPr/>
            <p:nvPr/>
          </p:nvSpPr>
          <p:spPr bwMode="gray">
            <a:xfrm>
              <a:off x="8843764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68" name="btfpColumnIndicator933836">
              <a:extLst>
                <a:ext uri="{FF2B5EF4-FFF2-40B4-BE49-F238E27FC236}">
                  <a16:creationId xmlns:a16="http://schemas.microsoft.com/office/drawing/2014/main" id="{5DFD5F98-8279-110D-93A9-F86FF6F11584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btfpColumnIndicator410913">
              <a:extLst>
                <a:ext uri="{FF2B5EF4-FFF2-40B4-BE49-F238E27FC236}">
                  <a16:creationId xmlns:a16="http://schemas.microsoft.com/office/drawing/2014/main" id="{F33F2141-0014-1239-D7D8-5CA30AC4DB9D}"/>
                </a:ext>
              </a:extLst>
            </p:cNvPr>
            <p:cNvCxnSpPr/>
            <p:nvPr/>
          </p:nvCxnSpPr>
          <p:spPr bwMode="gray">
            <a:xfrm flipV="1">
              <a:off x="938430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4" name="btfpColumnGapBlocker529738">
              <a:extLst>
                <a:ext uri="{FF2B5EF4-FFF2-40B4-BE49-F238E27FC236}">
                  <a16:creationId xmlns:a16="http://schemas.microsoft.com/office/drawing/2014/main" id="{09AC51CF-6504-F5AD-D646-17377E64896B}"/>
                </a:ext>
              </a:extLst>
            </p:cNvPr>
            <p:cNvSpPr/>
            <p:nvPr/>
          </p:nvSpPr>
          <p:spPr bwMode="gray">
            <a:xfrm>
              <a:off x="5825728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62" name="btfpColumnIndicator989953">
              <a:extLst>
                <a:ext uri="{FF2B5EF4-FFF2-40B4-BE49-F238E27FC236}">
                  <a16:creationId xmlns:a16="http://schemas.microsoft.com/office/drawing/2014/main" id="{9921BEB5-D0FF-62E8-4DE9-B14FA9277E91}"/>
                </a:ext>
              </a:extLst>
            </p:cNvPr>
            <p:cNvCxnSpPr/>
            <p:nvPr/>
          </p:nvCxnSpPr>
          <p:spPr bwMode="gray">
            <a:xfrm flipV="1">
              <a:off x="8843764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btfpColumnIndicator509110">
              <a:extLst>
                <a:ext uri="{FF2B5EF4-FFF2-40B4-BE49-F238E27FC236}">
                  <a16:creationId xmlns:a16="http://schemas.microsoft.com/office/drawing/2014/main" id="{9BA7915B-A1A9-86AB-D6A6-D0DED874A324}"/>
                </a:ext>
              </a:extLst>
            </p:cNvPr>
            <p:cNvCxnSpPr/>
            <p:nvPr/>
          </p:nvCxnSpPr>
          <p:spPr bwMode="gray">
            <a:xfrm flipV="1">
              <a:off x="636627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8" name="btfpColumnGapBlocker950646">
              <a:extLst>
                <a:ext uri="{FF2B5EF4-FFF2-40B4-BE49-F238E27FC236}">
                  <a16:creationId xmlns:a16="http://schemas.microsoft.com/office/drawing/2014/main" id="{ACD07F9D-08C0-3E96-657A-D1ED70329B03}"/>
                </a:ext>
              </a:extLst>
            </p:cNvPr>
            <p:cNvSpPr/>
            <p:nvPr/>
          </p:nvSpPr>
          <p:spPr bwMode="gray">
            <a:xfrm>
              <a:off x="2807692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52" name="btfpColumnIndicator535647">
              <a:extLst>
                <a:ext uri="{FF2B5EF4-FFF2-40B4-BE49-F238E27FC236}">
                  <a16:creationId xmlns:a16="http://schemas.microsoft.com/office/drawing/2014/main" id="{681E399B-2098-A796-FFF2-C0F3B732A172}"/>
                </a:ext>
              </a:extLst>
            </p:cNvPr>
            <p:cNvCxnSpPr/>
            <p:nvPr/>
          </p:nvCxnSpPr>
          <p:spPr bwMode="gray">
            <a:xfrm flipV="1">
              <a:off x="582572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btfpColumnIndicator313171">
              <a:extLst>
                <a:ext uri="{FF2B5EF4-FFF2-40B4-BE49-F238E27FC236}">
                  <a16:creationId xmlns:a16="http://schemas.microsoft.com/office/drawing/2014/main" id="{E386D4E7-8B46-A75F-44D5-11C641DFF996}"/>
                </a:ext>
              </a:extLst>
            </p:cNvPr>
            <p:cNvCxnSpPr/>
            <p:nvPr/>
          </p:nvCxnSpPr>
          <p:spPr bwMode="gray">
            <a:xfrm flipV="1">
              <a:off x="3348236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btfpColumnGapBlocker896231">
              <a:extLst>
                <a:ext uri="{FF2B5EF4-FFF2-40B4-BE49-F238E27FC236}">
                  <a16:creationId xmlns:a16="http://schemas.microsoft.com/office/drawing/2014/main" id="{AD5A9255-8D0E-8E26-CDC2-229DD19A314E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0" name="btfpColumnIndicator669610">
              <a:extLst>
                <a:ext uri="{FF2B5EF4-FFF2-40B4-BE49-F238E27FC236}">
                  <a16:creationId xmlns:a16="http://schemas.microsoft.com/office/drawing/2014/main" id="{62C7A728-57A1-08E7-6A0B-5E1BB19107A4}"/>
                </a:ext>
              </a:extLst>
            </p:cNvPr>
            <p:cNvCxnSpPr/>
            <p:nvPr/>
          </p:nvCxnSpPr>
          <p:spPr bwMode="gray">
            <a:xfrm flipV="1">
              <a:off x="280769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btfpColumnIndicator811382">
              <a:extLst>
                <a:ext uri="{FF2B5EF4-FFF2-40B4-BE49-F238E27FC236}">
                  <a16:creationId xmlns:a16="http://schemas.microsoft.com/office/drawing/2014/main" id="{895A2BCB-7DBC-6C69-0790-DFD09F477A1F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F6AF934D-4141-4DF9-977C-9AC13D9985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>
                <a:solidFill>
                  <a:schemeClr val="bg1"/>
                </a:solidFill>
              </a:rPr>
              <a:t>While Target performs above benchmark on Revenue and ACV, there is scope for improvement across multiple cost metrics </a:t>
            </a:r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EC761A67-189A-401E-931D-00C04E797315}"/>
              </a:ext>
            </a:extLst>
          </p:cNvPr>
          <p:cNvGraphicFramePr>
            <a:graphicFrameLocks noGrp="1"/>
          </p:cNvGraphicFramePr>
          <p:nvPr/>
        </p:nvGraphicFramePr>
        <p:xfrm>
          <a:off x="330200" y="1325120"/>
          <a:ext cx="11531600" cy="4588448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717550">
                  <a:extLst>
                    <a:ext uri="{9D8B030D-6E8A-4147-A177-3AD203B41FA5}">
                      <a16:colId xmlns:a16="http://schemas.microsoft.com/office/drawing/2014/main" val="2862926037"/>
                    </a:ext>
                  </a:extLst>
                </a:gridCol>
                <a:gridCol w="1173932">
                  <a:extLst>
                    <a:ext uri="{9D8B030D-6E8A-4147-A177-3AD203B41FA5}">
                      <a16:colId xmlns:a16="http://schemas.microsoft.com/office/drawing/2014/main" val="3335824052"/>
                    </a:ext>
                  </a:extLst>
                </a:gridCol>
                <a:gridCol w="3955977">
                  <a:extLst>
                    <a:ext uri="{9D8B030D-6E8A-4147-A177-3AD203B41FA5}">
                      <a16:colId xmlns:a16="http://schemas.microsoft.com/office/drawing/2014/main" val="3458743769"/>
                    </a:ext>
                  </a:extLst>
                </a:gridCol>
                <a:gridCol w="846112">
                  <a:extLst>
                    <a:ext uri="{9D8B030D-6E8A-4147-A177-3AD203B41FA5}">
                      <a16:colId xmlns:a16="http://schemas.microsoft.com/office/drawing/2014/main" val="3466442440"/>
                    </a:ext>
                  </a:extLst>
                </a:gridCol>
                <a:gridCol w="878656">
                  <a:extLst>
                    <a:ext uri="{9D8B030D-6E8A-4147-A177-3AD203B41FA5}">
                      <a16:colId xmlns:a16="http://schemas.microsoft.com/office/drawing/2014/main" val="2755933851"/>
                    </a:ext>
                  </a:extLst>
                </a:gridCol>
                <a:gridCol w="856960">
                  <a:extLst>
                    <a:ext uri="{9D8B030D-6E8A-4147-A177-3AD203B41FA5}">
                      <a16:colId xmlns:a16="http://schemas.microsoft.com/office/drawing/2014/main" val="3348067636"/>
                    </a:ext>
                  </a:extLst>
                </a:gridCol>
                <a:gridCol w="824417">
                  <a:extLst>
                    <a:ext uri="{9D8B030D-6E8A-4147-A177-3AD203B41FA5}">
                      <a16:colId xmlns:a16="http://schemas.microsoft.com/office/drawing/2014/main" val="3260120390"/>
                    </a:ext>
                  </a:extLst>
                </a:gridCol>
                <a:gridCol w="2277996">
                  <a:extLst>
                    <a:ext uri="{9D8B030D-6E8A-4147-A177-3AD203B41FA5}">
                      <a16:colId xmlns:a16="http://schemas.microsoft.com/office/drawing/2014/main" val="4140401036"/>
                    </a:ext>
                  </a:extLst>
                </a:gridCol>
              </a:tblGrid>
              <a:tr h="246064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0" marR="5250" marT="52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0" marR="5250" marT="52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5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1" u="none" strike="noStrike">
                          <a:solidFill>
                            <a:srgbClr val="000000"/>
                          </a:solidFill>
                          <a:effectLst/>
                        </a:rPr>
                        <a:t>SaaS companies with ARR in the range $100M-$</a:t>
                      </a:r>
                      <a:r>
                        <a:rPr lang="en-US" sz="1100" b="1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0M and ACV in the </a:t>
                      </a:r>
                      <a:r>
                        <a:rPr lang="en-US" sz="1100" b="1" u="none" strike="noStrike">
                          <a:solidFill>
                            <a:srgbClr val="000000"/>
                          </a:solidFill>
                          <a:effectLst/>
                        </a:rPr>
                        <a:t>range of $100K-$500K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0" marR="5250" marT="52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1" u="none" strike="noStrike">
                          <a:effectLst/>
                        </a:rPr>
                        <a:t>SaaS &gt; By Revenue Growth &gt;25% &gt; All ACV &gt; $250M-$500M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0" marR="5250" marT="52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900" u="none" strike="noStrike">
                          <a:effectLst/>
                        </a:rPr>
                        <a:t>SaaS &gt; By Revenue Growth &gt;25% &gt; All ACV &gt; $250M-$500M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0" marR="5250" marT="52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0" marR="5250" marT="52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68677893"/>
                  </a:ext>
                </a:extLst>
              </a:tr>
              <a:tr h="484656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C00000"/>
                          </a:solidFill>
                          <a:effectLst/>
                          <a:latin typeface="+mj-lt"/>
                        </a:rPr>
                        <a:t>Category</a:t>
                      </a:r>
                    </a:p>
                  </a:txBody>
                  <a:tcPr marL="5250" marR="5250" marT="52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1100" b="1" i="0" u="none" strike="noStrike">
                        <a:solidFill>
                          <a:srgbClr val="C00000"/>
                        </a:solidFill>
                        <a:effectLst/>
                        <a:latin typeface="+mj-lt"/>
                      </a:endParaRPr>
                    </a:p>
                  </a:txBody>
                  <a:tcPr marL="5250" marR="5250" marT="52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1" u="none" strike="noStrike">
                          <a:solidFill>
                            <a:srgbClr val="C00000"/>
                          </a:solidFill>
                          <a:effectLst/>
                        </a:rPr>
                        <a:t>Metric (latest reported data)</a:t>
                      </a:r>
                      <a:endParaRPr lang="en-US" sz="1100" b="1" i="0" u="none" strike="noStrike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0" marR="5250" marT="52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1" u="none" strike="noStrike">
                          <a:solidFill>
                            <a:srgbClr val="C00000"/>
                          </a:solidFill>
                          <a:effectLst/>
                        </a:rPr>
                        <a:t> </a:t>
                      </a:r>
                      <a:endParaRPr lang="en-US" sz="1100" b="1" i="0" u="none" strike="noStrike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0" marR="5250" marT="52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1" u="none" strike="noStrike">
                          <a:solidFill>
                            <a:srgbClr val="C00000"/>
                          </a:solidFill>
                          <a:effectLst/>
                        </a:rPr>
                        <a:t>Benchmark</a:t>
                      </a:r>
                      <a:endParaRPr lang="en-US" sz="1100" b="1" i="0" u="none" strike="noStrike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0" marR="5250" marT="52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1" u="none" strike="noStrike">
                          <a:solidFill>
                            <a:srgbClr val="C00000"/>
                          </a:solidFill>
                          <a:effectLst/>
                        </a:rPr>
                        <a:t>Top </a:t>
                      </a:r>
                      <a:br>
                        <a:rPr lang="en-US" sz="1100" b="1" u="none" strike="noStrike">
                          <a:solidFill>
                            <a:srgbClr val="C00000"/>
                          </a:solidFill>
                          <a:effectLst/>
                        </a:rPr>
                      </a:br>
                      <a:r>
                        <a:rPr lang="en-US" sz="1100" b="1" u="none" strike="noStrike">
                          <a:solidFill>
                            <a:srgbClr val="C00000"/>
                          </a:solidFill>
                          <a:effectLst/>
                        </a:rPr>
                        <a:t>Quartile</a:t>
                      </a:r>
                      <a:endParaRPr lang="en-US" sz="1100" b="1" i="0" u="none" strike="noStrike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0" marR="5250" marT="52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1" u="none" strike="noStrike">
                          <a:solidFill>
                            <a:srgbClr val="C00000"/>
                          </a:solidFill>
                          <a:effectLst/>
                        </a:rPr>
                        <a:t>Bottom Quartile</a:t>
                      </a:r>
                      <a:endParaRPr lang="en-US" sz="1100" b="1" i="0" u="none" strike="noStrike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0" marR="5250" marT="52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ap vs benchmark</a:t>
                      </a:r>
                      <a:endParaRPr lang="en-US" sz="1100" b="1" i="0" u="none" strike="noStrike">
                        <a:solidFill>
                          <a:srgbClr val="C00000"/>
                        </a:solidFill>
                        <a:effectLst/>
                        <a:highlight>
                          <a:srgbClr val="FFFF00"/>
                        </a:highlight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250" marR="5250" marT="52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25266156"/>
                  </a:ext>
                </a:extLst>
              </a:tr>
              <a:tr h="275552">
                <a:tc rowSpan="4"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4320" marR="5250" marT="52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4"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venue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Cohort Size (n)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0" marR="5250" marT="52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--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250" marR="5250" marT="52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9</a:t>
                      </a:r>
                    </a:p>
                  </a:txBody>
                  <a:tcPr marL="5250" marR="5250" marT="52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--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250" marR="5250" marT="52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--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250" marR="5250" marT="52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11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250" marR="5250" marT="52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6622427"/>
                  </a:ext>
                </a:extLst>
              </a:tr>
              <a:tr h="275552">
                <a:tc vMerge="1"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0" marR="5250" marT="525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0" marR="5250" marT="5250" marB="0" anchor="b"/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Recognized Revenue ($M)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0" marR="5250" marT="525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96</a:t>
                      </a:r>
                    </a:p>
                  </a:txBody>
                  <a:tcPr marL="5250" marR="5250" marT="52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7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250" marR="5250" marT="52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13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250" marR="5250" marT="52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5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250" marR="5250" marT="52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ver benchmark</a:t>
                      </a:r>
                    </a:p>
                  </a:txBody>
                  <a:tcPr marL="5250" marR="5250" marT="52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9331153"/>
                  </a:ext>
                </a:extLst>
              </a:tr>
              <a:tr h="275552">
                <a:tc vMerge="1"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0" marR="5250" marT="525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0" marR="5250" marT="5250" marB="0" anchor="b"/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Recognized Revenue Growth Rate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0" marR="5250" marT="525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%</a:t>
                      </a:r>
                    </a:p>
                  </a:txBody>
                  <a:tcPr marL="5250" marR="5250" marT="52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250" marR="5250" marT="52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3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250" marR="5250" marT="52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250" marR="5250" marT="52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3% (below benchmark)</a:t>
                      </a:r>
                    </a:p>
                  </a:txBody>
                  <a:tcPr marL="5250" marR="5250" marT="52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26033420"/>
                  </a:ext>
                </a:extLst>
              </a:tr>
              <a:tr h="275552">
                <a:tc vMerge="1"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0" marR="5250" marT="525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0" marR="5250" marT="5250" marB="0" anchor="b"/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Average Contract Value (ACV) ($M)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0" marR="5250" marT="525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25</a:t>
                      </a:r>
                      <a:r>
                        <a:rPr lang="en-US" sz="1100" b="0" i="0" u="none" strike="noStrike" baseline="30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1)</a:t>
                      </a:r>
                    </a:p>
                  </a:txBody>
                  <a:tcPr marL="5250" marR="5250" marT="52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16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250" marR="5250" marT="52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2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250" marR="5250" marT="52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12</a:t>
                      </a:r>
                    </a:p>
                  </a:txBody>
                  <a:tcPr marL="5250" marR="5250" marT="52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b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ver benchmark</a:t>
                      </a:r>
                    </a:p>
                  </a:txBody>
                  <a:tcPr marL="5250" marR="5250" marT="52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7187080"/>
                  </a:ext>
                </a:extLst>
              </a:tr>
              <a:tr h="275552">
                <a:tc rowSpan="3">
                  <a:txBody>
                    <a:bodyPr/>
                    <a:lstStyle/>
                    <a:p>
                      <a:pPr marL="0" indent="0" algn="ctr" fontAlgn="b">
                        <a:spcBef>
                          <a:spcPts val="0"/>
                        </a:spcBef>
                        <a:buNone/>
                      </a:pP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4320" marR="5250" marT="52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 marL="0" indent="0" algn="l" fontAlgn="b">
                        <a:spcBef>
                          <a:spcPts val="0"/>
                        </a:spcBef>
                        <a:buNone/>
                      </a:pPr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AAP cost</a:t>
                      </a:r>
                    </a:p>
                    <a:p>
                      <a:pPr marL="0" indent="0" algn="l" fontAlgn="b">
                        <a:spcBef>
                          <a:spcPts val="0"/>
                        </a:spcBef>
                        <a:buNone/>
                      </a:pPr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&amp; expense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R&amp;D Expense as a % of Revenue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0" marR="5250" marT="52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6%</a:t>
                      </a:r>
                    </a:p>
                  </a:txBody>
                  <a:tcPr marL="5250" marR="5250" marT="52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250" marR="5250" marT="52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250" marR="5250" marT="52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250" marR="5250" marT="52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b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% (scope for improvement)</a:t>
                      </a:r>
                    </a:p>
                  </a:txBody>
                  <a:tcPr marL="5250" marR="5250" marT="52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2954636"/>
                  </a:ext>
                </a:extLst>
              </a:tr>
              <a:tr h="275552">
                <a:tc vMerge="1"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0" marR="5250" marT="525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0" marR="5250" marT="5250" marB="0" anchor="b"/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Sales &amp; Marketing Expense as a % of Revenue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0" marR="5250" marT="525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4%</a:t>
                      </a:r>
                    </a:p>
                  </a:txBody>
                  <a:tcPr marL="5250" marR="5250" marT="52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0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250" marR="5250" marT="52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1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250" marR="5250" marT="52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250" marR="5250" marT="52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b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% (scope for improvement)</a:t>
                      </a:r>
                    </a:p>
                  </a:txBody>
                  <a:tcPr marL="5250" marR="5250" marT="52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75565787"/>
                  </a:ext>
                </a:extLst>
              </a:tr>
              <a:tr h="275552">
                <a:tc vMerge="1"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0" marR="5250" marT="525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0" marR="5250" marT="5250" marB="0" anchor="b"/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General &amp; Administrative Expense as a % of Revenue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0" marR="5250" marT="525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%</a:t>
                      </a:r>
                    </a:p>
                  </a:txBody>
                  <a:tcPr marL="5250" marR="5250" marT="52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250" marR="5250" marT="52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250" marR="5250" marT="52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250" marR="5250" marT="52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b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% (scope for improvement)</a:t>
                      </a:r>
                    </a:p>
                  </a:txBody>
                  <a:tcPr marL="5250" marR="5250" marT="52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725915"/>
                  </a:ext>
                </a:extLst>
              </a:tr>
              <a:tr h="275552">
                <a:tc rowSpan="2">
                  <a:txBody>
                    <a:bodyPr/>
                    <a:lstStyle/>
                    <a:p>
                      <a:pPr marL="0" indent="0" algn="ctr" fontAlgn="b">
                        <a:spcBef>
                          <a:spcPts val="0"/>
                        </a:spcBef>
                        <a:buNone/>
                      </a:pP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4320" marR="5250" marT="52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indent="0" algn="l" fontAlgn="b">
                        <a:spcBef>
                          <a:spcPts val="0"/>
                        </a:spcBef>
                        <a:buNone/>
                      </a:pPr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fit</a:t>
                      </a:r>
                    </a:p>
                    <a:p>
                      <a:pPr marL="0" indent="0" algn="l" fontAlgn="b">
                        <a:spcBef>
                          <a:spcPts val="0"/>
                        </a:spcBef>
                        <a:buNone/>
                      </a:pPr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etrics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EBITDA Margin(%)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0" marR="5250" marT="52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38%)</a:t>
                      </a:r>
                    </a:p>
                  </a:txBody>
                  <a:tcPr marL="5250" marR="5250" marT="52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 kern="120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3%)</a:t>
                      </a:r>
                    </a:p>
                  </a:txBody>
                  <a:tcPr marL="5250" marR="5250" marT="52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250" marR="5250" marT="52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b" latinLnBrk="0" hangingPunct="1">
                        <a:spcBef>
                          <a:spcPts val="1200"/>
                        </a:spcBef>
                        <a:buNone/>
                      </a:pPr>
                      <a:r>
                        <a:rPr lang="en-US" sz="1100" b="0" i="0" u="none" strike="noStrike" kern="120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15%)</a:t>
                      </a:r>
                    </a:p>
                  </a:txBody>
                  <a:tcPr marL="5250" marR="5250" marT="52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b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250" marR="5250" marT="52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9149493"/>
                  </a:ext>
                </a:extLst>
              </a:tr>
              <a:tr h="275552">
                <a:tc vMerge="1"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0" marR="5250" marT="525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0" marR="5250" marT="5250" marB="0" anchor="b"/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Gross Margin Percentage on all Sales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0" marR="5250" marT="525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1%</a:t>
                      </a:r>
                    </a:p>
                  </a:txBody>
                  <a:tcPr marL="5250" marR="5250" marT="52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0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250" marR="5250" marT="52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6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250" marR="5250" marT="52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6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250" marR="5250" marT="52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b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% (scope for improvement)</a:t>
                      </a:r>
                    </a:p>
                  </a:txBody>
                  <a:tcPr marL="5250" marR="5250" marT="52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1894954"/>
                  </a:ext>
                </a:extLst>
              </a:tr>
              <a:tr h="275552">
                <a:tc rowSpan="5">
                  <a:txBody>
                    <a:bodyPr/>
                    <a:lstStyle/>
                    <a:p>
                      <a:pPr marL="0" indent="0" algn="ctr" fontAlgn="b">
                        <a:spcBef>
                          <a:spcPts val="0"/>
                        </a:spcBef>
                        <a:buNone/>
                      </a:pP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4320" marR="5250" marT="52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5">
                  <a:txBody>
                    <a:bodyPr/>
                    <a:lstStyle/>
                    <a:p>
                      <a:pPr marL="0" indent="0" algn="l" fontAlgn="b">
                        <a:spcBef>
                          <a:spcPts val="0"/>
                        </a:spcBef>
                        <a:buNone/>
                      </a:pPr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erformance metrics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Magic Number of Sales &amp; Marketing Efficiency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0" marR="5250" marT="52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29</a:t>
                      </a:r>
                    </a:p>
                  </a:txBody>
                  <a:tcPr marL="5250" marR="5250" marT="52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3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250" marR="5250" marT="52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4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250" marR="5250" marT="52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2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250" marR="5250" marT="52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11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250" marR="5250" marT="52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40835191"/>
                  </a:ext>
                </a:extLst>
              </a:tr>
              <a:tr h="275552">
                <a:tc vMerge="1"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0" marR="5250" marT="525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0" marR="5250" marT="5250" marB="0" anchor="b"/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Rule of 4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0" marR="5250" marT="525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23.5)</a:t>
                      </a:r>
                    </a:p>
                  </a:txBody>
                  <a:tcPr marL="5250" marR="5250" marT="52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</a:t>
                      </a:r>
                    </a:p>
                  </a:txBody>
                  <a:tcPr marL="5250" marR="5250" marT="52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.3</a:t>
                      </a:r>
                    </a:p>
                  </a:txBody>
                  <a:tcPr marL="5250" marR="5250" marT="52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</a:t>
                      </a:r>
                    </a:p>
                  </a:txBody>
                  <a:tcPr marL="5250" marR="5250" marT="52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b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ope for improvement</a:t>
                      </a:r>
                    </a:p>
                  </a:txBody>
                  <a:tcPr marL="5250" marR="5250" marT="52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74630159"/>
                  </a:ext>
                </a:extLst>
              </a:tr>
              <a:tr h="275552">
                <a:tc vMerge="1"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0" marR="5250" marT="525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0" marR="5250" marT="5250" marB="0" anchor="b"/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Total Sales &amp; Marketing FTEs per $10M in Revenue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0" marR="5250" marT="525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</a:t>
                      </a:r>
                    </a:p>
                  </a:txBody>
                  <a:tcPr marL="5250" marR="5250" marT="52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</a:t>
                      </a:r>
                    </a:p>
                  </a:txBody>
                  <a:tcPr marL="5250" marR="5250" marT="52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250" marR="5250" marT="52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250" marR="5250" marT="52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11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250" marR="5250" marT="52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47334512"/>
                  </a:ext>
                </a:extLst>
              </a:tr>
              <a:tr h="275552">
                <a:tc vMerge="1"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0" marR="5250" marT="525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0" marR="5250" marT="5250" marB="0" anchor="b"/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b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u="none" strike="noStrike">
                          <a:effectLst/>
                        </a:rPr>
                        <a:t>Total R&amp;D FTEs per $10M in Revenue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0" marR="5250" marT="525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</a:p>
                  </a:txBody>
                  <a:tcPr marL="5250" marR="5250" marT="52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250" marR="5250" marT="52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250" marR="5250" marT="52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250" marR="5250" marT="52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b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250" marR="5250" marT="52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4342068"/>
                  </a:ext>
                </a:extLst>
              </a:tr>
              <a:tr h="275552">
                <a:tc vMerge="1"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0" marR="5250" marT="525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0" marR="5250" marT="5250" marB="0" anchor="b"/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u="none" strike="noStrike">
                          <a:effectLst/>
                        </a:rPr>
                        <a:t>Total G&amp;A FTEs per $10M in Revenue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0" marR="5250" marT="525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5250" marR="5250" marT="52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250" marR="5250" marT="52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250" marR="5250" marT="52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250" marR="5250" marT="52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11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250" marR="5250" marT="52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7957762"/>
                  </a:ext>
                </a:extLst>
              </a:tr>
            </a:tbl>
          </a:graphicData>
        </a:graphic>
      </p:graphicFrame>
      <p:grpSp>
        <p:nvGrpSpPr>
          <p:cNvPr id="14" name="btfpRunningAgenda2Level567338">
            <a:extLst>
              <a:ext uri="{FF2B5EF4-FFF2-40B4-BE49-F238E27FC236}">
                <a16:creationId xmlns:a16="http://schemas.microsoft.com/office/drawing/2014/main" id="{F2F75100-1C37-4B3A-9D6C-A59FBADBEC83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0" y="944429"/>
            <a:ext cx="2290912" cy="257442"/>
            <a:chOff x="0" y="944429"/>
            <a:chExt cx="2290912" cy="257442"/>
          </a:xfrm>
        </p:grpSpPr>
        <p:sp>
          <p:nvSpPr>
            <p:cNvPr id="15" name="btfpRunningAgenda2LevelBarLeft567338">
              <a:extLst>
                <a:ext uri="{FF2B5EF4-FFF2-40B4-BE49-F238E27FC236}">
                  <a16:creationId xmlns:a16="http://schemas.microsoft.com/office/drawing/2014/main" id="{7D27F4B6-2482-401E-95C4-1CA87E71D462}"/>
                </a:ext>
              </a:extLst>
            </p:cNvPr>
            <p:cNvSpPr/>
            <p:nvPr/>
          </p:nvSpPr>
          <p:spPr bwMode="gray">
            <a:xfrm>
              <a:off x="0" y="944429"/>
              <a:ext cx="2290912" cy="257442"/>
            </a:xfrm>
            <a:custGeom>
              <a:avLst/>
              <a:gdLst>
                <a:gd name="connsiteX0" fmla="*/ 950801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50801 w 1816204"/>
                <a:gd name="connsiteY0" fmla="*/ 0 h 257442"/>
                <a:gd name="connsiteX1" fmla="*/ 896081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1 w 950800"/>
                <a:gd name="connsiteY3" fmla="*/ 0 h 257442"/>
                <a:gd name="connsiteX0" fmla="*/ 1128734 w 1128734"/>
                <a:gd name="connsiteY0" fmla="*/ 0 h 257442"/>
                <a:gd name="connsiteX1" fmla="*/ 896080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314682 w 1314682"/>
                <a:gd name="connsiteY0" fmla="*/ 0 h 257442"/>
                <a:gd name="connsiteX1" fmla="*/ 1074013 w 1314682"/>
                <a:gd name="connsiteY1" fmla="*/ 257442 h 257442"/>
                <a:gd name="connsiteX2" fmla="*/ 0 w 1314682"/>
                <a:gd name="connsiteY2" fmla="*/ 257442 h 257442"/>
                <a:gd name="connsiteX3" fmla="*/ 0 w 1314682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0 w 1314682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0 w 1314682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0 w 1314682"/>
                <a:gd name="connsiteY3" fmla="*/ 0 h 257442"/>
                <a:gd name="connsiteX0" fmla="*/ 1474983 w 1474983"/>
                <a:gd name="connsiteY0" fmla="*/ 0 h 257442"/>
                <a:gd name="connsiteX1" fmla="*/ 1259961 w 1474983"/>
                <a:gd name="connsiteY1" fmla="*/ 257442 h 257442"/>
                <a:gd name="connsiteX2" fmla="*/ 0 w 1474983"/>
                <a:gd name="connsiteY2" fmla="*/ 257442 h 257442"/>
                <a:gd name="connsiteX3" fmla="*/ 0 w 1474983"/>
                <a:gd name="connsiteY3" fmla="*/ 0 h 257442"/>
                <a:gd name="connsiteX0" fmla="*/ 1474983 w 1474983"/>
                <a:gd name="connsiteY0" fmla="*/ 0 h 257442"/>
                <a:gd name="connsiteX1" fmla="*/ 1420262 w 1474983"/>
                <a:gd name="connsiteY1" fmla="*/ 257442 h 257442"/>
                <a:gd name="connsiteX2" fmla="*/ 0 w 1474983"/>
                <a:gd name="connsiteY2" fmla="*/ 257442 h 257442"/>
                <a:gd name="connsiteX3" fmla="*/ 0 w 1474983"/>
                <a:gd name="connsiteY3" fmla="*/ 0 h 257442"/>
                <a:gd name="connsiteX0" fmla="*/ 1474983 w 1474983"/>
                <a:gd name="connsiteY0" fmla="*/ 0 h 257442"/>
                <a:gd name="connsiteX1" fmla="*/ 1420262 w 1474983"/>
                <a:gd name="connsiteY1" fmla="*/ 257442 h 257442"/>
                <a:gd name="connsiteX2" fmla="*/ 0 w 1474983"/>
                <a:gd name="connsiteY2" fmla="*/ 257442 h 257442"/>
                <a:gd name="connsiteX3" fmla="*/ 0 w 1474983"/>
                <a:gd name="connsiteY3" fmla="*/ 0 h 257442"/>
                <a:gd name="connsiteX0" fmla="*/ 1474983 w 1474983"/>
                <a:gd name="connsiteY0" fmla="*/ 0 h 257442"/>
                <a:gd name="connsiteX1" fmla="*/ 1420262 w 1474983"/>
                <a:gd name="connsiteY1" fmla="*/ 257442 h 257442"/>
                <a:gd name="connsiteX2" fmla="*/ 0 w 1474983"/>
                <a:gd name="connsiteY2" fmla="*/ 257442 h 257442"/>
                <a:gd name="connsiteX3" fmla="*/ 0 w 1474983"/>
                <a:gd name="connsiteY3" fmla="*/ 0 h 257442"/>
                <a:gd name="connsiteX0" fmla="*/ 1635283 w 1635283"/>
                <a:gd name="connsiteY0" fmla="*/ 0 h 257442"/>
                <a:gd name="connsiteX1" fmla="*/ 14202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635283 w 1635283"/>
                <a:gd name="connsiteY0" fmla="*/ 0 h 257442"/>
                <a:gd name="connsiteX1" fmla="*/ 15805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635283 w 1635283"/>
                <a:gd name="connsiteY0" fmla="*/ 0 h 257442"/>
                <a:gd name="connsiteX1" fmla="*/ 15805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635283 w 1635283"/>
                <a:gd name="connsiteY0" fmla="*/ 0 h 257442"/>
                <a:gd name="connsiteX1" fmla="*/ 15805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787569 w 1787569"/>
                <a:gd name="connsiteY0" fmla="*/ 0 h 257442"/>
                <a:gd name="connsiteX1" fmla="*/ 1580562 w 1787569"/>
                <a:gd name="connsiteY1" fmla="*/ 257442 h 257442"/>
                <a:gd name="connsiteX2" fmla="*/ 0 w 1787569"/>
                <a:gd name="connsiteY2" fmla="*/ 257442 h 257442"/>
                <a:gd name="connsiteX3" fmla="*/ 0 w 1787569"/>
                <a:gd name="connsiteY3" fmla="*/ 0 h 257442"/>
                <a:gd name="connsiteX0" fmla="*/ 1787569 w 1787569"/>
                <a:gd name="connsiteY0" fmla="*/ 0 h 257442"/>
                <a:gd name="connsiteX1" fmla="*/ 1732848 w 1787569"/>
                <a:gd name="connsiteY1" fmla="*/ 257442 h 257442"/>
                <a:gd name="connsiteX2" fmla="*/ 0 w 1787569"/>
                <a:gd name="connsiteY2" fmla="*/ 257442 h 257442"/>
                <a:gd name="connsiteX3" fmla="*/ 0 w 1787569"/>
                <a:gd name="connsiteY3" fmla="*/ 0 h 257442"/>
                <a:gd name="connsiteX0" fmla="*/ 1787569 w 1787569"/>
                <a:gd name="connsiteY0" fmla="*/ 0 h 257442"/>
                <a:gd name="connsiteX1" fmla="*/ 1732848 w 1787569"/>
                <a:gd name="connsiteY1" fmla="*/ 257442 h 257442"/>
                <a:gd name="connsiteX2" fmla="*/ 0 w 1787569"/>
                <a:gd name="connsiteY2" fmla="*/ 257442 h 257442"/>
                <a:gd name="connsiteX3" fmla="*/ 0 w 1787569"/>
                <a:gd name="connsiteY3" fmla="*/ 0 h 257442"/>
                <a:gd name="connsiteX0" fmla="*/ 1787569 w 1787569"/>
                <a:gd name="connsiteY0" fmla="*/ 0 h 257442"/>
                <a:gd name="connsiteX1" fmla="*/ 1732848 w 1787569"/>
                <a:gd name="connsiteY1" fmla="*/ 257442 h 257442"/>
                <a:gd name="connsiteX2" fmla="*/ 0 w 1787569"/>
                <a:gd name="connsiteY2" fmla="*/ 257442 h 257442"/>
                <a:gd name="connsiteX3" fmla="*/ 0 w 1787569"/>
                <a:gd name="connsiteY3" fmla="*/ 0 h 257442"/>
                <a:gd name="connsiteX0" fmla="*/ 1888557 w 1888557"/>
                <a:gd name="connsiteY0" fmla="*/ 0 h 257442"/>
                <a:gd name="connsiteX1" fmla="*/ 1732848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1888557 w 1888557"/>
                <a:gd name="connsiteY0" fmla="*/ 0 h 257442"/>
                <a:gd name="connsiteX1" fmla="*/ 1833836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1888557 w 1888557"/>
                <a:gd name="connsiteY0" fmla="*/ 0 h 257442"/>
                <a:gd name="connsiteX1" fmla="*/ 1833836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1888557 w 1888557"/>
                <a:gd name="connsiteY0" fmla="*/ 0 h 257442"/>
                <a:gd name="connsiteX1" fmla="*/ 1833836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2040843 w 2040843"/>
                <a:gd name="connsiteY0" fmla="*/ 0 h 257442"/>
                <a:gd name="connsiteX1" fmla="*/ 1833836 w 2040843"/>
                <a:gd name="connsiteY1" fmla="*/ 257442 h 257442"/>
                <a:gd name="connsiteX2" fmla="*/ 0 w 2040843"/>
                <a:gd name="connsiteY2" fmla="*/ 257442 h 257442"/>
                <a:gd name="connsiteX3" fmla="*/ 0 w 2040843"/>
                <a:gd name="connsiteY3" fmla="*/ 0 h 257442"/>
                <a:gd name="connsiteX0" fmla="*/ 2040843 w 2040843"/>
                <a:gd name="connsiteY0" fmla="*/ 0 h 257442"/>
                <a:gd name="connsiteX1" fmla="*/ 1986122 w 2040843"/>
                <a:gd name="connsiteY1" fmla="*/ 257442 h 257442"/>
                <a:gd name="connsiteX2" fmla="*/ 0 w 2040843"/>
                <a:gd name="connsiteY2" fmla="*/ 257442 h 257442"/>
                <a:gd name="connsiteX3" fmla="*/ 0 w 2040843"/>
                <a:gd name="connsiteY3" fmla="*/ 0 h 257442"/>
                <a:gd name="connsiteX0" fmla="*/ 2040843 w 2040843"/>
                <a:gd name="connsiteY0" fmla="*/ 0 h 257442"/>
                <a:gd name="connsiteX1" fmla="*/ 1986122 w 2040843"/>
                <a:gd name="connsiteY1" fmla="*/ 257442 h 257442"/>
                <a:gd name="connsiteX2" fmla="*/ 0 w 2040843"/>
                <a:gd name="connsiteY2" fmla="*/ 257442 h 257442"/>
                <a:gd name="connsiteX3" fmla="*/ 0 w 2040843"/>
                <a:gd name="connsiteY3" fmla="*/ 0 h 257442"/>
                <a:gd name="connsiteX0" fmla="*/ 2040843 w 2040843"/>
                <a:gd name="connsiteY0" fmla="*/ 0 h 257442"/>
                <a:gd name="connsiteX1" fmla="*/ 1986122 w 2040843"/>
                <a:gd name="connsiteY1" fmla="*/ 257442 h 257442"/>
                <a:gd name="connsiteX2" fmla="*/ 0 w 2040843"/>
                <a:gd name="connsiteY2" fmla="*/ 257442 h 257442"/>
                <a:gd name="connsiteX3" fmla="*/ 0 w 2040843"/>
                <a:gd name="connsiteY3" fmla="*/ 0 h 257442"/>
                <a:gd name="connsiteX0" fmla="*/ 2141832 w 2141832"/>
                <a:gd name="connsiteY0" fmla="*/ 0 h 257442"/>
                <a:gd name="connsiteX1" fmla="*/ 1986122 w 2141832"/>
                <a:gd name="connsiteY1" fmla="*/ 257442 h 257442"/>
                <a:gd name="connsiteX2" fmla="*/ 0 w 2141832"/>
                <a:gd name="connsiteY2" fmla="*/ 257442 h 257442"/>
                <a:gd name="connsiteX3" fmla="*/ 0 w 2141832"/>
                <a:gd name="connsiteY3" fmla="*/ 0 h 257442"/>
                <a:gd name="connsiteX0" fmla="*/ 2141832 w 2141832"/>
                <a:gd name="connsiteY0" fmla="*/ 0 h 257442"/>
                <a:gd name="connsiteX1" fmla="*/ 2087110 w 2141832"/>
                <a:gd name="connsiteY1" fmla="*/ 257442 h 257442"/>
                <a:gd name="connsiteX2" fmla="*/ 0 w 2141832"/>
                <a:gd name="connsiteY2" fmla="*/ 257442 h 257442"/>
                <a:gd name="connsiteX3" fmla="*/ 0 w 2141832"/>
                <a:gd name="connsiteY3" fmla="*/ 0 h 257442"/>
                <a:gd name="connsiteX0" fmla="*/ 2141833 w 2141833"/>
                <a:gd name="connsiteY0" fmla="*/ 0 h 257442"/>
                <a:gd name="connsiteX1" fmla="*/ 2087111 w 2141833"/>
                <a:gd name="connsiteY1" fmla="*/ 257442 h 257442"/>
                <a:gd name="connsiteX2" fmla="*/ 0 w 2141833"/>
                <a:gd name="connsiteY2" fmla="*/ 257442 h 257442"/>
                <a:gd name="connsiteX3" fmla="*/ 1 w 2141833"/>
                <a:gd name="connsiteY3" fmla="*/ 0 h 257442"/>
                <a:gd name="connsiteX0" fmla="*/ 2141833 w 2141833"/>
                <a:gd name="connsiteY0" fmla="*/ 0 h 257442"/>
                <a:gd name="connsiteX1" fmla="*/ 2087111 w 2141833"/>
                <a:gd name="connsiteY1" fmla="*/ 257442 h 257442"/>
                <a:gd name="connsiteX2" fmla="*/ 0 w 2141833"/>
                <a:gd name="connsiteY2" fmla="*/ 257442 h 257442"/>
                <a:gd name="connsiteX3" fmla="*/ 1 w 2141833"/>
                <a:gd name="connsiteY3" fmla="*/ 0 h 257442"/>
                <a:gd name="connsiteX0" fmla="*/ 2302132 w 2302132"/>
                <a:gd name="connsiteY0" fmla="*/ 0 h 257442"/>
                <a:gd name="connsiteX1" fmla="*/ 2087111 w 2302132"/>
                <a:gd name="connsiteY1" fmla="*/ 257442 h 257442"/>
                <a:gd name="connsiteX2" fmla="*/ 0 w 2302132"/>
                <a:gd name="connsiteY2" fmla="*/ 257442 h 257442"/>
                <a:gd name="connsiteX3" fmla="*/ 1 w 2302132"/>
                <a:gd name="connsiteY3" fmla="*/ 0 h 257442"/>
                <a:gd name="connsiteX0" fmla="*/ 2302132 w 2302132"/>
                <a:gd name="connsiteY0" fmla="*/ 0 h 257442"/>
                <a:gd name="connsiteX1" fmla="*/ 2247410 w 2302132"/>
                <a:gd name="connsiteY1" fmla="*/ 257442 h 257442"/>
                <a:gd name="connsiteX2" fmla="*/ 0 w 2302132"/>
                <a:gd name="connsiteY2" fmla="*/ 257442 h 257442"/>
                <a:gd name="connsiteX3" fmla="*/ 1 w 2302132"/>
                <a:gd name="connsiteY3" fmla="*/ 0 h 257442"/>
                <a:gd name="connsiteX0" fmla="*/ 2302133 w 2302133"/>
                <a:gd name="connsiteY0" fmla="*/ 0 h 257442"/>
                <a:gd name="connsiteX1" fmla="*/ 2247411 w 2302133"/>
                <a:gd name="connsiteY1" fmla="*/ 257442 h 257442"/>
                <a:gd name="connsiteX2" fmla="*/ 0 w 2302133"/>
                <a:gd name="connsiteY2" fmla="*/ 257442 h 257442"/>
                <a:gd name="connsiteX3" fmla="*/ 2 w 2302133"/>
                <a:gd name="connsiteY3" fmla="*/ 0 h 257442"/>
                <a:gd name="connsiteX0" fmla="*/ 2302133 w 2302133"/>
                <a:gd name="connsiteY0" fmla="*/ 0 h 257442"/>
                <a:gd name="connsiteX1" fmla="*/ 2247411 w 2302133"/>
                <a:gd name="connsiteY1" fmla="*/ 257442 h 257442"/>
                <a:gd name="connsiteX2" fmla="*/ 0 w 2302133"/>
                <a:gd name="connsiteY2" fmla="*/ 257442 h 257442"/>
                <a:gd name="connsiteX3" fmla="*/ 1 w 2302133"/>
                <a:gd name="connsiteY3" fmla="*/ 0 h 257442"/>
                <a:gd name="connsiteX0" fmla="*/ 2462432 w 2462432"/>
                <a:gd name="connsiteY0" fmla="*/ 0 h 257442"/>
                <a:gd name="connsiteX1" fmla="*/ 2247411 w 2462432"/>
                <a:gd name="connsiteY1" fmla="*/ 257442 h 257442"/>
                <a:gd name="connsiteX2" fmla="*/ 0 w 2462432"/>
                <a:gd name="connsiteY2" fmla="*/ 257442 h 257442"/>
                <a:gd name="connsiteX3" fmla="*/ 1 w 2462432"/>
                <a:gd name="connsiteY3" fmla="*/ 0 h 257442"/>
                <a:gd name="connsiteX0" fmla="*/ 2462432 w 2462432"/>
                <a:gd name="connsiteY0" fmla="*/ 0 h 257442"/>
                <a:gd name="connsiteX1" fmla="*/ 2407710 w 2462432"/>
                <a:gd name="connsiteY1" fmla="*/ 257442 h 257442"/>
                <a:gd name="connsiteX2" fmla="*/ 0 w 2462432"/>
                <a:gd name="connsiteY2" fmla="*/ 257442 h 257442"/>
                <a:gd name="connsiteX3" fmla="*/ 1 w 2462432"/>
                <a:gd name="connsiteY3" fmla="*/ 0 h 257442"/>
                <a:gd name="connsiteX0" fmla="*/ 2462433 w 2462433"/>
                <a:gd name="connsiteY0" fmla="*/ 0 h 257442"/>
                <a:gd name="connsiteX1" fmla="*/ 2407711 w 2462433"/>
                <a:gd name="connsiteY1" fmla="*/ 257442 h 257442"/>
                <a:gd name="connsiteX2" fmla="*/ 0 w 2462433"/>
                <a:gd name="connsiteY2" fmla="*/ 257442 h 257442"/>
                <a:gd name="connsiteX3" fmla="*/ 2 w 2462433"/>
                <a:gd name="connsiteY3" fmla="*/ 0 h 257442"/>
                <a:gd name="connsiteX0" fmla="*/ 2462433 w 2462433"/>
                <a:gd name="connsiteY0" fmla="*/ 0 h 257442"/>
                <a:gd name="connsiteX1" fmla="*/ 2407711 w 2462433"/>
                <a:gd name="connsiteY1" fmla="*/ 257442 h 257442"/>
                <a:gd name="connsiteX2" fmla="*/ 0 w 2462433"/>
                <a:gd name="connsiteY2" fmla="*/ 257442 h 257442"/>
                <a:gd name="connsiteX3" fmla="*/ 1 w 2462433"/>
                <a:gd name="connsiteY3" fmla="*/ 0 h 257442"/>
                <a:gd name="connsiteX0" fmla="*/ 2563422 w 2563422"/>
                <a:gd name="connsiteY0" fmla="*/ 0 h 257442"/>
                <a:gd name="connsiteX1" fmla="*/ 2407711 w 2563422"/>
                <a:gd name="connsiteY1" fmla="*/ 257442 h 257442"/>
                <a:gd name="connsiteX2" fmla="*/ 0 w 2563422"/>
                <a:gd name="connsiteY2" fmla="*/ 257442 h 257442"/>
                <a:gd name="connsiteX3" fmla="*/ 1 w 2563422"/>
                <a:gd name="connsiteY3" fmla="*/ 0 h 257442"/>
                <a:gd name="connsiteX0" fmla="*/ 2563422 w 2563422"/>
                <a:gd name="connsiteY0" fmla="*/ 0 h 257442"/>
                <a:gd name="connsiteX1" fmla="*/ 2508700 w 2563422"/>
                <a:gd name="connsiteY1" fmla="*/ 257442 h 257442"/>
                <a:gd name="connsiteX2" fmla="*/ 0 w 2563422"/>
                <a:gd name="connsiteY2" fmla="*/ 257442 h 257442"/>
                <a:gd name="connsiteX3" fmla="*/ 1 w 2563422"/>
                <a:gd name="connsiteY3" fmla="*/ 0 h 257442"/>
                <a:gd name="connsiteX0" fmla="*/ 2563423 w 2563423"/>
                <a:gd name="connsiteY0" fmla="*/ 0 h 257442"/>
                <a:gd name="connsiteX1" fmla="*/ 2508701 w 2563423"/>
                <a:gd name="connsiteY1" fmla="*/ 257442 h 257442"/>
                <a:gd name="connsiteX2" fmla="*/ 0 w 2563423"/>
                <a:gd name="connsiteY2" fmla="*/ 257442 h 257442"/>
                <a:gd name="connsiteX3" fmla="*/ 2 w 2563423"/>
                <a:gd name="connsiteY3" fmla="*/ 0 h 257442"/>
                <a:gd name="connsiteX0" fmla="*/ 2563423 w 2563423"/>
                <a:gd name="connsiteY0" fmla="*/ 0 h 257442"/>
                <a:gd name="connsiteX1" fmla="*/ 2508701 w 2563423"/>
                <a:gd name="connsiteY1" fmla="*/ 257442 h 257442"/>
                <a:gd name="connsiteX2" fmla="*/ 0 w 2563423"/>
                <a:gd name="connsiteY2" fmla="*/ 257442 h 257442"/>
                <a:gd name="connsiteX3" fmla="*/ 1 w 2563423"/>
                <a:gd name="connsiteY3" fmla="*/ 0 h 257442"/>
                <a:gd name="connsiteX0" fmla="*/ 2715707 w 2715707"/>
                <a:gd name="connsiteY0" fmla="*/ 0 h 257442"/>
                <a:gd name="connsiteX1" fmla="*/ 2508701 w 2715707"/>
                <a:gd name="connsiteY1" fmla="*/ 257442 h 257442"/>
                <a:gd name="connsiteX2" fmla="*/ 0 w 2715707"/>
                <a:gd name="connsiteY2" fmla="*/ 257442 h 257442"/>
                <a:gd name="connsiteX3" fmla="*/ 1 w 2715707"/>
                <a:gd name="connsiteY3" fmla="*/ 0 h 257442"/>
                <a:gd name="connsiteX0" fmla="*/ 2715707 w 2715707"/>
                <a:gd name="connsiteY0" fmla="*/ 0 h 257442"/>
                <a:gd name="connsiteX1" fmla="*/ 2660986 w 2715707"/>
                <a:gd name="connsiteY1" fmla="*/ 257442 h 257442"/>
                <a:gd name="connsiteX2" fmla="*/ 0 w 2715707"/>
                <a:gd name="connsiteY2" fmla="*/ 257442 h 257442"/>
                <a:gd name="connsiteX3" fmla="*/ 1 w 2715707"/>
                <a:gd name="connsiteY3" fmla="*/ 0 h 257442"/>
                <a:gd name="connsiteX0" fmla="*/ 2715707 w 2715707"/>
                <a:gd name="connsiteY0" fmla="*/ 0 h 257442"/>
                <a:gd name="connsiteX1" fmla="*/ 2660986 w 2715707"/>
                <a:gd name="connsiteY1" fmla="*/ 257442 h 257442"/>
                <a:gd name="connsiteX2" fmla="*/ 0 w 2715707"/>
                <a:gd name="connsiteY2" fmla="*/ 257442 h 257442"/>
                <a:gd name="connsiteX3" fmla="*/ 1 w 2715707"/>
                <a:gd name="connsiteY3" fmla="*/ 0 h 257442"/>
                <a:gd name="connsiteX0" fmla="*/ 2715707 w 2715707"/>
                <a:gd name="connsiteY0" fmla="*/ 0 h 257442"/>
                <a:gd name="connsiteX1" fmla="*/ 2660986 w 2715707"/>
                <a:gd name="connsiteY1" fmla="*/ 257442 h 257442"/>
                <a:gd name="connsiteX2" fmla="*/ 0 w 2715707"/>
                <a:gd name="connsiteY2" fmla="*/ 257442 h 257442"/>
                <a:gd name="connsiteX3" fmla="*/ 0 w 2715707"/>
                <a:gd name="connsiteY3" fmla="*/ 0 h 257442"/>
                <a:gd name="connsiteX0" fmla="*/ 2884023 w 2884023"/>
                <a:gd name="connsiteY0" fmla="*/ 0 h 257442"/>
                <a:gd name="connsiteX1" fmla="*/ 2660986 w 2884023"/>
                <a:gd name="connsiteY1" fmla="*/ 257442 h 257442"/>
                <a:gd name="connsiteX2" fmla="*/ 0 w 2884023"/>
                <a:gd name="connsiteY2" fmla="*/ 257442 h 257442"/>
                <a:gd name="connsiteX3" fmla="*/ 0 w 2884023"/>
                <a:gd name="connsiteY3" fmla="*/ 0 h 257442"/>
                <a:gd name="connsiteX0" fmla="*/ 2884023 w 2884023"/>
                <a:gd name="connsiteY0" fmla="*/ 0 h 257442"/>
                <a:gd name="connsiteX1" fmla="*/ 2829302 w 2884023"/>
                <a:gd name="connsiteY1" fmla="*/ 257442 h 257442"/>
                <a:gd name="connsiteX2" fmla="*/ 0 w 2884023"/>
                <a:gd name="connsiteY2" fmla="*/ 257442 h 257442"/>
                <a:gd name="connsiteX3" fmla="*/ 0 w 2884023"/>
                <a:gd name="connsiteY3" fmla="*/ 0 h 257442"/>
                <a:gd name="connsiteX0" fmla="*/ 2884023 w 2884023"/>
                <a:gd name="connsiteY0" fmla="*/ 0 h 257442"/>
                <a:gd name="connsiteX1" fmla="*/ 2829302 w 2884023"/>
                <a:gd name="connsiteY1" fmla="*/ 257442 h 257442"/>
                <a:gd name="connsiteX2" fmla="*/ 0 w 2884023"/>
                <a:gd name="connsiteY2" fmla="*/ 257442 h 257442"/>
                <a:gd name="connsiteX3" fmla="*/ 0 w 2884023"/>
                <a:gd name="connsiteY3" fmla="*/ 0 h 257442"/>
                <a:gd name="connsiteX0" fmla="*/ 2884023 w 2884023"/>
                <a:gd name="connsiteY0" fmla="*/ 0 h 257442"/>
                <a:gd name="connsiteX1" fmla="*/ 2829302 w 2884023"/>
                <a:gd name="connsiteY1" fmla="*/ 257442 h 257442"/>
                <a:gd name="connsiteX2" fmla="*/ 0 w 2884023"/>
                <a:gd name="connsiteY2" fmla="*/ 257442 h 257442"/>
                <a:gd name="connsiteX3" fmla="*/ 0 w 2884023"/>
                <a:gd name="connsiteY3" fmla="*/ 0 h 257442"/>
                <a:gd name="connsiteX0" fmla="*/ 3052337 w 3052337"/>
                <a:gd name="connsiteY0" fmla="*/ 0 h 257442"/>
                <a:gd name="connsiteX1" fmla="*/ 2829302 w 3052337"/>
                <a:gd name="connsiteY1" fmla="*/ 257442 h 257442"/>
                <a:gd name="connsiteX2" fmla="*/ 0 w 3052337"/>
                <a:gd name="connsiteY2" fmla="*/ 257442 h 257442"/>
                <a:gd name="connsiteX3" fmla="*/ 0 w 3052337"/>
                <a:gd name="connsiteY3" fmla="*/ 0 h 257442"/>
                <a:gd name="connsiteX0" fmla="*/ 3052337 w 3052337"/>
                <a:gd name="connsiteY0" fmla="*/ 0 h 257442"/>
                <a:gd name="connsiteX1" fmla="*/ 2997616 w 3052337"/>
                <a:gd name="connsiteY1" fmla="*/ 257442 h 257442"/>
                <a:gd name="connsiteX2" fmla="*/ 0 w 3052337"/>
                <a:gd name="connsiteY2" fmla="*/ 257442 h 257442"/>
                <a:gd name="connsiteX3" fmla="*/ 0 w 3052337"/>
                <a:gd name="connsiteY3" fmla="*/ 0 h 257442"/>
                <a:gd name="connsiteX0" fmla="*/ 3052337 w 3052337"/>
                <a:gd name="connsiteY0" fmla="*/ 0 h 257442"/>
                <a:gd name="connsiteX1" fmla="*/ 2997616 w 3052337"/>
                <a:gd name="connsiteY1" fmla="*/ 257442 h 257442"/>
                <a:gd name="connsiteX2" fmla="*/ 0 w 3052337"/>
                <a:gd name="connsiteY2" fmla="*/ 257442 h 257442"/>
                <a:gd name="connsiteX3" fmla="*/ 0 w 3052337"/>
                <a:gd name="connsiteY3" fmla="*/ 0 h 257442"/>
                <a:gd name="connsiteX0" fmla="*/ 3052337 w 3052337"/>
                <a:gd name="connsiteY0" fmla="*/ 0 h 257442"/>
                <a:gd name="connsiteX1" fmla="*/ 2997616 w 3052337"/>
                <a:gd name="connsiteY1" fmla="*/ 257442 h 257442"/>
                <a:gd name="connsiteX2" fmla="*/ 0 w 3052337"/>
                <a:gd name="connsiteY2" fmla="*/ 257442 h 257442"/>
                <a:gd name="connsiteX3" fmla="*/ 0 w 3052337"/>
                <a:gd name="connsiteY3" fmla="*/ 0 h 257442"/>
                <a:gd name="connsiteX0" fmla="*/ 3220653 w 3220653"/>
                <a:gd name="connsiteY0" fmla="*/ 0 h 257442"/>
                <a:gd name="connsiteX1" fmla="*/ 2997616 w 3220653"/>
                <a:gd name="connsiteY1" fmla="*/ 257442 h 257442"/>
                <a:gd name="connsiteX2" fmla="*/ 0 w 3220653"/>
                <a:gd name="connsiteY2" fmla="*/ 257442 h 257442"/>
                <a:gd name="connsiteX3" fmla="*/ 0 w 3220653"/>
                <a:gd name="connsiteY3" fmla="*/ 0 h 257442"/>
                <a:gd name="connsiteX0" fmla="*/ 3220653 w 3220653"/>
                <a:gd name="connsiteY0" fmla="*/ 0 h 257442"/>
                <a:gd name="connsiteX1" fmla="*/ 3165932 w 3220653"/>
                <a:gd name="connsiteY1" fmla="*/ 257442 h 257442"/>
                <a:gd name="connsiteX2" fmla="*/ 0 w 3220653"/>
                <a:gd name="connsiteY2" fmla="*/ 257442 h 257442"/>
                <a:gd name="connsiteX3" fmla="*/ 0 w 3220653"/>
                <a:gd name="connsiteY3" fmla="*/ 0 h 257442"/>
                <a:gd name="connsiteX0" fmla="*/ 3220653 w 3220653"/>
                <a:gd name="connsiteY0" fmla="*/ 0 h 257442"/>
                <a:gd name="connsiteX1" fmla="*/ 3165932 w 3220653"/>
                <a:gd name="connsiteY1" fmla="*/ 257442 h 257442"/>
                <a:gd name="connsiteX2" fmla="*/ 0 w 3220653"/>
                <a:gd name="connsiteY2" fmla="*/ 257442 h 257442"/>
                <a:gd name="connsiteX3" fmla="*/ 0 w 3220653"/>
                <a:gd name="connsiteY3" fmla="*/ 0 h 257442"/>
                <a:gd name="connsiteX0" fmla="*/ 3220653 w 3220653"/>
                <a:gd name="connsiteY0" fmla="*/ 0 h 257442"/>
                <a:gd name="connsiteX1" fmla="*/ 3165932 w 3220653"/>
                <a:gd name="connsiteY1" fmla="*/ 257442 h 257442"/>
                <a:gd name="connsiteX2" fmla="*/ 0 w 3220653"/>
                <a:gd name="connsiteY2" fmla="*/ 257442 h 257442"/>
                <a:gd name="connsiteX3" fmla="*/ 0 w 3220653"/>
                <a:gd name="connsiteY3" fmla="*/ 0 h 257442"/>
                <a:gd name="connsiteX0" fmla="*/ 3380954 w 3380954"/>
                <a:gd name="connsiteY0" fmla="*/ 0 h 257442"/>
                <a:gd name="connsiteX1" fmla="*/ 3165932 w 3380954"/>
                <a:gd name="connsiteY1" fmla="*/ 257442 h 257442"/>
                <a:gd name="connsiteX2" fmla="*/ 0 w 3380954"/>
                <a:gd name="connsiteY2" fmla="*/ 257442 h 257442"/>
                <a:gd name="connsiteX3" fmla="*/ 0 w 3380954"/>
                <a:gd name="connsiteY3" fmla="*/ 0 h 257442"/>
                <a:gd name="connsiteX0" fmla="*/ 3380954 w 3380954"/>
                <a:gd name="connsiteY0" fmla="*/ 0 h 257442"/>
                <a:gd name="connsiteX1" fmla="*/ 3326232 w 3380954"/>
                <a:gd name="connsiteY1" fmla="*/ 257442 h 257442"/>
                <a:gd name="connsiteX2" fmla="*/ 0 w 3380954"/>
                <a:gd name="connsiteY2" fmla="*/ 257442 h 257442"/>
                <a:gd name="connsiteX3" fmla="*/ 0 w 3380954"/>
                <a:gd name="connsiteY3" fmla="*/ 0 h 257442"/>
                <a:gd name="connsiteX0" fmla="*/ 3380955 w 3380955"/>
                <a:gd name="connsiteY0" fmla="*/ 0 h 257442"/>
                <a:gd name="connsiteX1" fmla="*/ 3326233 w 3380955"/>
                <a:gd name="connsiteY1" fmla="*/ 257442 h 257442"/>
                <a:gd name="connsiteX2" fmla="*/ 0 w 3380955"/>
                <a:gd name="connsiteY2" fmla="*/ 257442 h 257442"/>
                <a:gd name="connsiteX3" fmla="*/ 1 w 3380955"/>
                <a:gd name="connsiteY3" fmla="*/ 0 h 257442"/>
                <a:gd name="connsiteX0" fmla="*/ 3380955 w 3380955"/>
                <a:gd name="connsiteY0" fmla="*/ 0 h 257442"/>
                <a:gd name="connsiteX1" fmla="*/ 3326233 w 3380955"/>
                <a:gd name="connsiteY1" fmla="*/ 257442 h 257442"/>
                <a:gd name="connsiteX2" fmla="*/ 0 w 3380955"/>
                <a:gd name="connsiteY2" fmla="*/ 257442 h 257442"/>
                <a:gd name="connsiteX3" fmla="*/ 1 w 3380955"/>
                <a:gd name="connsiteY3" fmla="*/ 0 h 257442"/>
                <a:gd name="connsiteX0" fmla="*/ 3549268 w 3549268"/>
                <a:gd name="connsiteY0" fmla="*/ 0 h 257442"/>
                <a:gd name="connsiteX1" fmla="*/ 3326233 w 3549268"/>
                <a:gd name="connsiteY1" fmla="*/ 257442 h 257442"/>
                <a:gd name="connsiteX2" fmla="*/ 0 w 3549268"/>
                <a:gd name="connsiteY2" fmla="*/ 257442 h 257442"/>
                <a:gd name="connsiteX3" fmla="*/ 1 w 3549268"/>
                <a:gd name="connsiteY3" fmla="*/ 0 h 257442"/>
                <a:gd name="connsiteX0" fmla="*/ 3549268 w 3549268"/>
                <a:gd name="connsiteY0" fmla="*/ 0 h 257442"/>
                <a:gd name="connsiteX1" fmla="*/ 3494546 w 3549268"/>
                <a:gd name="connsiteY1" fmla="*/ 257442 h 257442"/>
                <a:gd name="connsiteX2" fmla="*/ 0 w 3549268"/>
                <a:gd name="connsiteY2" fmla="*/ 257442 h 257442"/>
                <a:gd name="connsiteX3" fmla="*/ 1 w 3549268"/>
                <a:gd name="connsiteY3" fmla="*/ 0 h 257442"/>
                <a:gd name="connsiteX0" fmla="*/ 3549269 w 3549269"/>
                <a:gd name="connsiteY0" fmla="*/ 0 h 257442"/>
                <a:gd name="connsiteX1" fmla="*/ 3494547 w 3549269"/>
                <a:gd name="connsiteY1" fmla="*/ 257442 h 257442"/>
                <a:gd name="connsiteX2" fmla="*/ 0 w 3549269"/>
                <a:gd name="connsiteY2" fmla="*/ 257442 h 257442"/>
                <a:gd name="connsiteX3" fmla="*/ 2 w 3549269"/>
                <a:gd name="connsiteY3" fmla="*/ 0 h 257442"/>
                <a:gd name="connsiteX0" fmla="*/ 3549269 w 3549269"/>
                <a:gd name="connsiteY0" fmla="*/ 0 h 257442"/>
                <a:gd name="connsiteX1" fmla="*/ 3494547 w 3549269"/>
                <a:gd name="connsiteY1" fmla="*/ 257442 h 257442"/>
                <a:gd name="connsiteX2" fmla="*/ 0 w 3549269"/>
                <a:gd name="connsiteY2" fmla="*/ 257442 h 257442"/>
                <a:gd name="connsiteX3" fmla="*/ 1 w 3549269"/>
                <a:gd name="connsiteY3" fmla="*/ 0 h 257442"/>
                <a:gd name="connsiteX0" fmla="*/ 3717584 w 3717584"/>
                <a:gd name="connsiteY0" fmla="*/ 0 h 257442"/>
                <a:gd name="connsiteX1" fmla="*/ 3494547 w 3717584"/>
                <a:gd name="connsiteY1" fmla="*/ 257442 h 257442"/>
                <a:gd name="connsiteX2" fmla="*/ 0 w 3717584"/>
                <a:gd name="connsiteY2" fmla="*/ 257442 h 257442"/>
                <a:gd name="connsiteX3" fmla="*/ 1 w 3717584"/>
                <a:gd name="connsiteY3" fmla="*/ 0 h 257442"/>
                <a:gd name="connsiteX0" fmla="*/ 3717584 w 3717584"/>
                <a:gd name="connsiteY0" fmla="*/ 0 h 257442"/>
                <a:gd name="connsiteX1" fmla="*/ 3662862 w 3717584"/>
                <a:gd name="connsiteY1" fmla="*/ 257442 h 257442"/>
                <a:gd name="connsiteX2" fmla="*/ 0 w 3717584"/>
                <a:gd name="connsiteY2" fmla="*/ 257442 h 257442"/>
                <a:gd name="connsiteX3" fmla="*/ 1 w 3717584"/>
                <a:gd name="connsiteY3" fmla="*/ 0 h 257442"/>
                <a:gd name="connsiteX0" fmla="*/ 3717585 w 3717585"/>
                <a:gd name="connsiteY0" fmla="*/ 0 h 257442"/>
                <a:gd name="connsiteX1" fmla="*/ 3662863 w 3717585"/>
                <a:gd name="connsiteY1" fmla="*/ 257442 h 257442"/>
                <a:gd name="connsiteX2" fmla="*/ 0 w 3717585"/>
                <a:gd name="connsiteY2" fmla="*/ 257442 h 257442"/>
                <a:gd name="connsiteX3" fmla="*/ 2 w 3717585"/>
                <a:gd name="connsiteY3" fmla="*/ 0 h 257442"/>
                <a:gd name="connsiteX0" fmla="*/ 3717585 w 3717585"/>
                <a:gd name="connsiteY0" fmla="*/ 0 h 257442"/>
                <a:gd name="connsiteX1" fmla="*/ 3662863 w 3717585"/>
                <a:gd name="connsiteY1" fmla="*/ 257442 h 257442"/>
                <a:gd name="connsiteX2" fmla="*/ 0 w 3717585"/>
                <a:gd name="connsiteY2" fmla="*/ 257442 h 257442"/>
                <a:gd name="connsiteX3" fmla="*/ 1 w 3717585"/>
                <a:gd name="connsiteY3" fmla="*/ 0 h 257442"/>
                <a:gd name="connsiteX0" fmla="*/ 3877885 w 3877885"/>
                <a:gd name="connsiteY0" fmla="*/ 0 h 257442"/>
                <a:gd name="connsiteX1" fmla="*/ 3662863 w 3877885"/>
                <a:gd name="connsiteY1" fmla="*/ 257442 h 257442"/>
                <a:gd name="connsiteX2" fmla="*/ 0 w 3877885"/>
                <a:gd name="connsiteY2" fmla="*/ 257442 h 257442"/>
                <a:gd name="connsiteX3" fmla="*/ 1 w 3877885"/>
                <a:gd name="connsiteY3" fmla="*/ 0 h 257442"/>
                <a:gd name="connsiteX0" fmla="*/ 3877885 w 3877885"/>
                <a:gd name="connsiteY0" fmla="*/ 0 h 257442"/>
                <a:gd name="connsiteX1" fmla="*/ 3823164 w 3877885"/>
                <a:gd name="connsiteY1" fmla="*/ 257442 h 257442"/>
                <a:gd name="connsiteX2" fmla="*/ 0 w 3877885"/>
                <a:gd name="connsiteY2" fmla="*/ 257442 h 257442"/>
                <a:gd name="connsiteX3" fmla="*/ 1 w 3877885"/>
                <a:gd name="connsiteY3" fmla="*/ 0 h 257442"/>
                <a:gd name="connsiteX0" fmla="*/ 3877885 w 3877885"/>
                <a:gd name="connsiteY0" fmla="*/ 0 h 257442"/>
                <a:gd name="connsiteX1" fmla="*/ 3823164 w 3877885"/>
                <a:gd name="connsiteY1" fmla="*/ 257442 h 257442"/>
                <a:gd name="connsiteX2" fmla="*/ 0 w 3877885"/>
                <a:gd name="connsiteY2" fmla="*/ 257442 h 257442"/>
                <a:gd name="connsiteX3" fmla="*/ 1 w 3877885"/>
                <a:gd name="connsiteY3" fmla="*/ 0 h 257442"/>
                <a:gd name="connsiteX0" fmla="*/ 3877885 w 3877885"/>
                <a:gd name="connsiteY0" fmla="*/ 0 h 257442"/>
                <a:gd name="connsiteX1" fmla="*/ 3823164 w 3877885"/>
                <a:gd name="connsiteY1" fmla="*/ 257442 h 257442"/>
                <a:gd name="connsiteX2" fmla="*/ 0 w 3877885"/>
                <a:gd name="connsiteY2" fmla="*/ 257442 h 257442"/>
                <a:gd name="connsiteX3" fmla="*/ 0 w 3877885"/>
                <a:gd name="connsiteY3" fmla="*/ 0 h 257442"/>
                <a:gd name="connsiteX0" fmla="*/ 4038185 w 4038185"/>
                <a:gd name="connsiteY0" fmla="*/ 0 h 257442"/>
                <a:gd name="connsiteX1" fmla="*/ 3823164 w 4038185"/>
                <a:gd name="connsiteY1" fmla="*/ 257442 h 257442"/>
                <a:gd name="connsiteX2" fmla="*/ 0 w 4038185"/>
                <a:gd name="connsiteY2" fmla="*/ 257442 h 257442"/>
                <a:gd name="connsiteX3" fmla="*/ 0 w 4038185"/>
                <a:gd name="connsiteY3" fmla="*/ 0 h 257442"/>
                <a:gd name="connsiteX0" fmla="*/ 4038185 w 4038185"/>
                <a:gd name="connsiteY0" fmla="*/ 0 h 257442"/>
                <a:gd name="connsiteX1" fmla="*/ 3983464 w 4038185"/>
                <a:gd name="connsiteY1" fmla="*/ 257442 h 257442"/>
                <a:gd name="connsiteX2" fmla="*/ 0 w 4038185"/>
                <a:gd name="connsiteY2" fmla="*/ 257442 h 257442"/>
                <a:gd name="connsiteX3" fmla="*/ 0 w 4038185"/>
                <a:gd name="connsiteY3" fmla="*/ 0 h 257442"/>
                <a:gd name="connsiteX0" fmla="*/ 4038185 w 4038185"/>
                <a:gd name="connsiteY0" fmla="*/ 0 h 257442"/>
                <a:gd name="connsiteX1" fmla="*/ 3983464 w 4038185"/>
                <a:gd name="connsiteY1" fmla="*/ 257442 h 257442"/>
                <a:gd name="connsiteX2" fmla="*/ 0 w 4038185"/>
                <a:gd name="connsiteY2" fmla="*/ 257442 h 257442"/>
                <a:gd name="connsiteX3" fmla="*/ 0 w 4038185"/>
                <a:gd name="connsiteY3" fmla="*/ 0 h 257442"/>
                <a:gd name="connsiteX0" fmla="*/ 4038185 w 4038185"/>
                <a:gd name="connsiteY0" fmla="*/ 0 h 257442"/>
                <a:gd name="connsiteX1" fmla="*/ 3983464 w 4038185"/>
                <a:gd name="connsiteY1" fmla="*/ 257442 h 257442"/>
                <a:gd name="connsiteX2" fmla="*/ 0 w 4038185"/>
                <a:gd name="connsiteY2" fmla="*/ 257442 h 257442"/>
                <a:gd name="connsiteX3" fmla="*/ 0 w 4038185"/>
                <a:gd name="connsiteY3" fmla="*/ 0 h 257442"/>
                <a:gd name="connsiteX0" fmla="*/ 968434 w 3983464"/>
                <a:gd name="connsiteY0" fmla="*/ 0 h 257442"/>
                <a:gd name="connsiteX1" fmla="*/ 3983464 w 3983464"/>
                <a:gd name="connsiteY1" fmla="*/ 257442 h 257442"/>
                <a:gd name="connsiteX2" fmla="*/ 0 w 3983464"/>
                <a:gd name="connsiteY2" fmla="*/ 257442 h 257442"/>
                <a:gd name="connsiteX3" fmla="*/ 0 w 3983464"/>
                <a:gd name="connsiteY3" fmla="*/ 0 h 257442"/>
                <a:gd name="connsiteX0" fmla="*/ 968434 w 968434"/>
                <a:gd name="connsiteY0" fmla="*/ 0 h 257442"/>
                <a:gd name="connsiteX1" fmla="*/ 913713 w 968434"/>
                <a:gd name="connsiteY1" fmla="*/ 257442 h 257442"/>
                <a:gd name="connsiteX2" fmla="*/ 0 w 968434"/>
                <a:gd name="connsiteY2" fmla="*/ 257442 h 257442"/>
                <a:gd name="connsiteX3" fmla="*/ 0 w 968434"/>
                <a:gd name="connsiteY3" fmla="*/ 0 h 257442"/>
                <a:gd name="connsiteX0" fmla="*/ 968434 w 968434"/>
                <a:gd name="connsiteY0" fmla="*/ 0 h 257442"/>
                <a:gd name="connsiteX1" fmla="*/ 913713 w 968434"/>
                <a:gd name="connsiteY1" fmla="*/ 257442 h 257442"/>
                <a:gd name="connsiteX2" fmla="*/ 0 w 968434"/>
                <a:gd name="connsiteY2" fmla="*/ 257442 h 257442"/>
                <a:gd name="connsiteX3" fmla="*/ 0 w 968434"/>
                <a:gd name="connsiteY3" fmla="*/ 0 h 257442"/>
                <a:gd name="connsiteX0" fmla="*/ 968434 w 968434"/>
                <a:gd name="connsiteY0" fmla="*/ 0 h 257442"/>
                <a:gd name="connsiteX1" fmla="*/ 913713 w 968434"/>
                <a:gd name="connsiteY1" fmla="*/ 257442 h 257442"/>
                <a:gd name="connsiteX2" fmla="*/ 0 w 968434"/>
                <a:gd name="connsiteY2" fmla="*/ 257442 h 257442"/>
                <a:gd name="connsiteX3" fmla="*/ 0 w 968434"/>
                <a:gd name="connsiteY3" fmla="*/ 0 h 257442"/>
                <a:gd name="connsiteX0" fmla="*/ 1136749 w 1136749"/>
                <a:gd name="connsiteY0" fmla="*/ 0 h 257442"/>
                <a:gd name="connsiteX1" fmla="*/ 913713 w 1136749"/>
                <a:gd name="connsiteY1" fmla="*/ 257442 h 257442"/>
                <a:gd name="connsiteX2" fmla="*/ 0 w 1136749"/>
                <a:gd name="connsiteY2" fmla="*/ 257442 h 257442"/>
                <a:gd name="connsiteX3" fmla="*/ 0 w 1136749"/>
                <a:gd name="connsiteY3" fmla="*/ 0 h 257442"/>
                <a:gd name="connsiteX0" fmla="*/ 1136749 w 1136749"/>
                <a:gd name="connsiteY0" fmla="*/ 0 h 257442"/>
                <a:gd name="connsiteX1" fmla="*/ 1082028 w 1136749"/>
                <a:gd name="connsiteY1" fmla="*/ 257442 h 257442"/>
                <a:gd name="connsiteX2" fmla="*/ 0 w 1136749"/>
                <a:gd name="connsiteY2" fmla="*/ 257442 h 257442"/>
                <a:gd name="connsiteX3" fmla="*/ 0 w 1136749"/>
                <a:gd name="connsiteY3" fmla="*/ 0 h 257442"/>
                <a:gd name="connsiteX0" fmla="*/ 1136749 w 1136749"/>
                <a:gd name="connsiteY0" fmla="*/ 0 h 257442"/>
                <a:gd name="connsiteX1" fmla="*/ 1082028 w 1136749"/>
                <a:gd name="connsiteY1" fmla="*/ 257442 h 257442"/>
                <a:gd name="connsiteX2" fmla="*/ 0 w 1136749"/>
                <a:gd name="connsiteY2" fmla="*/ 257442 h 257442"/>
                <a:gd name="connsiteX3" fmla="*/ 0 w 1136749"/>
                <a:gd name="connsiteY3" fmla="*/ 0 h 257442"/>
                <a:gd name="connsiteX0" fmla="*/ 1136749 w 1136749"/>
                <a:gd name="connsiteY0" fmla="*/ 0 h 257442"/>
                <a:gd name="connsiteX1" fmla="*/ 1082028 w 1136749"/>
                <a:gd name="connsiteY1" fmla="*/ 257442 h 257442"/>
                <a:gd name="connsiteX2" fmla="*/ 0 w 1136749"/>
                <a:gd name="connsiteY2" fmla="*/ 257442 h 257442"/>
                <a:gd name="connsiteX3" fmla="*/ 0 w 1136749"/>
                <a:gd name="connsiteY3" fmla="*/ 0 h 257442"/>
                <a:gd name="connsiteX0" fmla="*/ 1305064 w 1305064"/>
                <a:gd name="connsiteY0" fmla="*/ 0 h 257442"/>
                <a:gd name="connsiteX1" fmla="*/ 1082028 w 1305064"/>
                <a:gd name="connsiteY1" fmla="*/ 257442 h 257442"/>
                <a:gd name="connsiteX2" fmla="*/ 0 w 1305064"/>
                <a:gd name="connsiteY2" fmla="*/ 257442 h 257442"/>
                <a:gd name="connsiteX3" fmla="*/ 0 w 1305064"/>
                <a:gd name="connsiteY3" fmla="*/ 0 h 257442"/>
                <a:gd name="connsiteX0" fmla="*/ 1305064 w 1305064"/>
                <a:gd name="connsiteY0" fmla="*/ 0 h 257442"/>
                <a:gd name="connsiteX1" fmla="*/ 1250342 w 1305064"/>
                <a:gd name="connsiteY1" fmla="*/ 257442 h 257442"/>
                <a:gd name="connsiteX2" fmla="*/ 0 w 1305064"/>
                <a:gd name="connsiteY2" fmla="*/ 257442 h 257442"/>
                <a:gd name="connsiteX3" fmla="*/ 0 w 1305064"/>
                <a:gd name="connsiteY3" fmla="*/ 0 h 257442"/>
                <a:gd name="connsiteX0" fmla="*/ 1305065 w 1305065"/>
                <a:gd name="connsiteY0" fmla="*/ 0 h 257442"/>
                <a:gd name="connsiteX1" fmla="*/ 1250343 w 1305065"/>
                <a:gd name="connsiteY1" fmla="*/ 257442 h 257442"/>
                <a:gd name="connsiteX2" fmla="*/ 0 w 1305065"/>
                <a:gd name="connsiteY2" fmla="*/ 257442 h 257442"/>
                <a:gd name="connsiteX3" fmla="*/ 1 w 1305065"/>
                <a:gd name="connsiteY3" fmla="*/ 0 h 257442"/>
                <a:gd name="connsiteX0" fmla="*/ 1305065 w 1305065"/>
                <a:gd name="connsiteY0" fmla="*/ 0 h 257442"/>
                <a:gd name="connsiteX1" fmla="*/ 1250343 w 1305065"/>
                <a:gd name="connsiteY1" fmla="*/ 257442 h 257442"/>
                <a:gd name="connsiteX2" fmla="*/ 0 w 1305065"/>
                <a:gd name="connsiteY2" fmla="*/ 257442 h 257442"/>
                <a:gd name="connsiteX3" fmla="*/ 1 w 1305065"/>
                <a:gd name="connsiteY3" fmla="*/ 0 h 257442"/>
                <a:gd name="connsiteX0" fmla="*/ 1473380 w 1473380"/>
                <a:gd name="connsiteY0" fmla="*/ 0 h 257442"/>
                <a:gd name="connsiteX1" fmla="*/ 1250343 w 1473380"/>
                <a:gd name="connsiteY1" fmla="*/ 257442 h 257442"/>
                <a:gd name="connsiteX2" fmla="*/ 0 w 1473380"/>
                <a:gd name="connsiteY2" fmla="*/ 257442 h 257442"/>
                <a:gd name="connsiteX3" fmla="*/ 1 w 1473380"/>
                <a:gd name="connsiteY3" fmla="*/ 0 h 257442"/>
                <a:gd name="connsiteX0" fmla="*/ 1473380 w 1473380"/>
                <a:gd name="connsiteY0" fmla="*/ 0 h 257442"/>
                <a:gd name="connsiteX1" fmla="*/ 1418658 w 1473380"/>
                <a:gd name="connsiteY1" fmla="*/ 257442 h 257442"/>
                <a:gd name="connsiteX2" fmla="*/ 0 w 1473380"/>
                <a:gd name="connsiteY2" fmla="*/ 257442 h 257442"/>
                <a:gd name="connsiteX3" fmla="*/ 1 w 1473380"/>
                <a:gd name="connsiteY3" fmla="*/ 0 h 257442"/>
                <a:gd name="connsiteX0" fmla="*/ 1473381 w 1473381"/>
                <a:gd name="connsiteY0" fmla="*/ 0 h 257442"/>
                <a:gd name="connsiteX1" fmla="*/ 1418659 w 1473381"/>
                <a:gd name="connsiteY1" fmla="*/ 257442 h 257442"/>
                <a:gd name="connsiteX2" fmla="*/ 0 w 1473381"/>
                <a:gd name="connsiteY2" fmla="*/ 257442 h 257442"/>
                <a:gd name="connsiteX3" fmla="*/ 2 w 1473381"/>
                <a:gd name="connsiteY3" fmla="*/ 0 h 257442"/>
                <a:gd name="connsiteX0" fmla="*/ 1473381 w 1473381"/>
                <a:gd name="connsiteY0" fmla="*/ 0 h 257442"/>
                <a:gd name="connsiteX1" fmla="*/ 1418659 w 1473381"/>
                <a:gd name="connsiteY1" fmla="*/ 257442 h 257442"/>
                <a:gd name="connsiteX2" fmla="*/ 0 w 1473381"/>
                <a:gd name="connsiteY2" fmla="*/ 257442 h 257442"/>
                <a:gd name="connsiteX3" fmla="*/ 1 w 1473381"/>
                <a:gd name="connsiteY3" fmla="*/ 0 h 257442"/>
                <a:gd name="connsiteX0" fmla="*/ 1633680 w 1633680"/>
                <a:gd name="connsiteY0" fmla="*/ 0 h 257442"/>
                <a:gd name="connsiteX1" fmla="*/ 1418659 w 1633680"/>
                <a:gd name="connsiteY1" fmla="*/ 257442 h 257442"/>
                <a:gd name="connsiteX2" fmla="*/ 0 w 1633680"/>
                <a:gd name="connsiteY2" fmla="*/ 257442 h 257442"/>
                <a:gd name="connsiteX3" fmla="*/ 1 w 1633680"/>
                <a:gd name="connsiteY3" fmla="*/ 0 h 257442"/>
                <a:gd name="connsiteX0" fmla="*/ 1633680 w 1633680"/>
                <a:gd name="connsiteY0" fmla="*/ 0 h 257442"/>
                <a:gd name="connsiteX1" fmla="*/ 1578958 w 1633680"/>
                <a:gd name="connsiteY1" fmla="*/ 257442 h 257442"/>
                <a:gd name="connsiteX2" fmla="*/ 0 w 1633680"/>
                <a:gd name="connsiteY2" fmla="*/ 257442 h 257442"/>
                <a:gd name="connsiteX3" fmla="*/ 1 w 1633680"/>
                <a:gd name="connsiteY3" fmla="*/ 0 h 257442"/>
                <a:gd name="connsiteX0" fmla="*/ 1633681 w 1633681"/>
                <a:gd name="connsiteY0" fmla="*/ 0 h 257442"/>
                <a:gd name="connsiteX1" fmla="*/ 1578959 w 1633681"/>
                <a:gd name="connsiteY1" fmla="*/ 257442 h 257442"/>
                <a:gd name="connsiteX2" fmla="*/ 0 w 1633681"/>
                <a:gd name="connsiteY2" fmla="*/ 257442 h 257442"/>
                <a:gd name="connsiteX3" fmla="*/ 2 w 1633681"/>
                <a:gd name="connsiteY3" fmla="*/ 0 h 257442"/>
                <a:gd name="connsiteX0" fmla="*/ 1633681 w 1633681"/>
                <a:gd name="connsiteY0" fmla="*/ 0 h 257442"/>
                <a:gd name="connsiteX1" fmla="*/ 1578959 w 1633681"/>
                <a:gd name="connsiteY1" fmla="*/ 257442 h 257442"/>
                <a:gd name="connsiteX2" fmla="*/ 0 w 1633681"/>
                <a:gd name="connsiteY2" fmla="*/ 257442 h 257442"/>
                <a:gd name="connsiteX3" fmla="*/ 1 w 1633681"/>
                <a:gd name="connsiteY3" fmla="*/ 0 h 257442"/>
                <a:gd name="connsiteX0" fmla="*/ 1785965 w 1785965"/>
                <a:gd name="connsiteY0" fmla="*/ 0 h 257442"/>
                <a:gd name="connsiteX1" fmla="*/ 1578959 w 1785965"/>
                <a:gd name="connsiteY1" fmla="*/ 257442 h 257442"/>
                <a:gd name="connsiteX2" fmla="*/ 0 w 1785965"/>
                <a:gd name="connsiteY2" fmla="*/ 257442 h 257442"/>
                <a:gd name="connsiteX3" fmla="*/ 1 w 1785965"/>
                <a:gd name="connsiteY3" fmla="*/ 0 h 257442"/>
                <a:gd name="connsiteX0" fmla="*/ 1785965 w 1785965"/>
                <a:gd name="connsiteY0" fmla="*/ 0 h 257442"/>
                <a:gd name="connsiteX1" fmla="*/ 1731244 w 1785965"/>
                <a:gd name="connsiteY1" fmla="*/ 257442 h 257442"/>
                <a:gd name="connsiteX2" fmla="*/ 0 w 1785965"/>
                <a:gd name="connsiteY2" fmla="*/ 257442 h 257442"/>
                <a:gd name="connsiteX3" fmla="*/ 1 w 1785965"/>
                <a:gd name="connsiteY3" fmla="*/ 0 h 257442"/>
                <a:gd name="connsiteX0" fmla="*/ 1785965 w 1785965"/>
                <a:gd name="connsiteY0" fmla="*/ 0 h 257442"/>
                <a:gd name="connsiteX1" fmla="*/ 1731244 w 1785965"/>
                <a:gd name="connsiteY1" fmla="*/ 257442 h 257442"/>
                <a:gd name="connsiteX2" fmla="*/ 0 w 1785965"/>
                <a:gd name="connsiteY2" fmla="*/ 257442 h 257442"/>
                <a:gd name="connsiteX3" fmla="*/ 1 w 1785965"/>
                <a:gd name="connsiteY3" fmla="*/ 0 h 257442"/>
                <a:gd name="connsiteX0" fmla="*/ 1785965 w 1785965"/>
                <a:gd name="connsiteY0" fmla="*/ 0 h 257442"/>
                <a:gd name="connsiteX1" fmla="*/ 1731244 w 1785965"/>
                <a:gd name="connsiteY1" fmla="*/ 257442 h 257442"/>
                <a:gd name="connsiteX2" fmla="*/ 0 w 1785965"/>
                <a:gd name="connsiteY2" fmla="*/ 257442 h 257442"/>
                <a:gd name="connsiteX3" fmla="*/ 0 w 1785965"/>
                <a:gd name="connsiteY3" fmla="*/ 0 h 257442"/>
                <a:gd name="connsiteX0" fmla="*/ 1886955 w 1886955"/>
                <a:gd name="connsiteY0" fmla="*/ 0 h 257442"/>
                <a:gd name="connsiteX1" fmla="*/ 1731244 w 1886955"/>
                <a:gd name="connsiteY1" fmla="*/ 257442 h 257442"/>
                <a:gd name="connsiteX2" fmla="*/ 0 w 1886955"/>
                <a:gd name="connsiteY2" fmla="*/ 257442 h 257442"/>
                <a:gd name="connsiteX3" fmla="*/ 0 w 1886955"/>
                <a:gd name="connsiteY3" fmla="*/ 0 h 257442"/>
                <a:gd name="connsiteX0" fmla="*/ 1886955 w 1886955"/>
                <a:gd name="connsiteY0" fmla="*/ 0 h 257442"/>
                <a:gd name="connsiteX1" fmla="*/ 1832234 w 1886955"/>
                <a:gd name="connsiteY1" fmla="*/ 257442 h 257442"/>
                <a:gd name="connsiteX2" fmla="*/ 0 w 1886955"/>
                <a:gd name="connsiteY2" fmla="*/ 257442 h 257442"/>
                <a:gd name="connsiteX3" fmla="*/ 0 w 1886955"/>
                <a:gd name="connsiteY3" fmla="*/ 0 h 257442"/>
                <a:gd name="connsiteX0" fmla="*/ 1886955 w 1886955"/>
                <a:gd name="connsiteY0" fmla="*/ 0 h 257442"/>
                <a:gd name="connsiteX1" fmla="*/ 1832234 w 1886955"/>
                <a:gd name="connsiteY1" fmla="*/ 257442 h 257442"/>
                <a:gd name="connsiteX2" fmla="*/ 0 w 1886955"/>
                <a:gd name="connsiteY2" fmla="*/ 257442 h 257442"/>
                <a:gd name="connsiteX3" fmla="*/ 0 w 1886955"/>
                <a:gd name="connsiteY3" fmla="*/ 0 h 257442"/>
                <a:gd name="connsiteX0" fmla="*/ 1886955 w 1886955"/>
                <a:gd name="connsiteY0" fmla="*/ 0 h 257442"/>
                <a:gd name="connsiteX1" fmla="*/ 1832234 w 1886955"/>
                <a:gd name="connsiteY1" fmla="*/ 257442 h 257442"/>
                <a:gd name="connsiteX2" fmla="*/ 0 w 1886955"/>
                <a:gd name="connsiteY2" fmla="*/ 257442 h 257442"/>
                <a:gd name="connsiteX3" fmla="*/ 0 w 1886955"/>
                <a:gd name="connsiteY3" fmla="*/ 0 h 257442"/>
                <a:gd name="connsiteX0" fmla="*/ 2047255 w 2047255"/>
                <a:gd name="connsiteY0" fmla="*/ 0 h 257442"/>
                <a:gd name="connsiteX1" fmla="*/ 1832234 w 2047255"/>
                <a:gd name="connsiteY1" fmla="*/ 257442 h 257442"/>
                <a:gd name="connsiteX2" fmla="*/ 0 w 2047255"/>
                <a:gd name="connsiteY2" fmla="*/ 257442 h 257442"/>
                <a:gd name="connsiteX3" fmla="*/ 0 w 2047255"/>
                <a:gd name="connsiteY3" fmla="*/ 0 h 257442"/>
                <a:gd name="connsiteX0" fmla="*/ 2047255 w 2047255"/>
                <a:gd name="connsiteY0" fmla="*/ 0 h 257442"/>
                <a:gd name="connsiteX1" fmla="*/ 1992534 w 2047255"/>
                <a:gd name="connsiteY1" fmla="*/ 257442 h 257442"/>
                <a:gd name="connsiteX2" fmla="*/ 0 w 2047255"/>
                <a:gd name="connsiteY2" fmla="*/ 257442 h 257442"/>
                <a:gd name="connsiteX3" fmla="*/ 0 w 2047255"/>
                <a:gd name="connsiteY3" fmla="*/ 0 h 257442"/>
                <a:gd name="connsiteX0" fmla="*/ 2047255 w 2047255"/>
                <a:gd name="connsiteY0" fmla="*/ 0 h 257442"/>
                <a:gd name="connsiteX1" fmla="*/ 1992534 w 2047255"/>
                <a:gd name="connsiteY1" fmla="*/ 257442 h 257442"/>
                <a:gd name="connsiteX2" fmla="*/ 0 w 2047255"/>
                <a:gd name="connsiteY2" fmla="*/ 257442 h 257442"/>
                <a:gd name="connsiteX3" fmla="*/ 0 w 2047255"/>
                <a:gd name="connsiteY3" fmla="*/ 0 h 257442"/>
                <a:gd name="connsiteX0" fmla="*/ 2047255 w 2047255"/>
                <a:gd name="connsiteY0" fmla="*/ 0 h 257442"/>
                <a:gd name="connsiteX1" fmla="*/ 1992534 w 2047255"/>
                <a:gd name="connsiteY1" fmla="*/ 257442 h 257442"/>
                <a:gd name="connsiteX2" fmla="*/ 0 w 2047255"/>
                <a:gd name="connsiteY2" fmla="*/ 257442 h 257442"/>
                <a:gd name="connsiteX3" fmla="*/ 0 w 2047255"/>
                <a:gd name="connsiteY3" fmla="*/ 0 h 257442"/>
                <a:gd name="connsiteX0" fmla="*/ 2215570 w 2215570"/>
                <a:gd name="connsiteY0" fmla="*/ 0 h 257442"/>
                <a:gd name="connsiteX1" fmla="*/ 1992534 w 2215570"/>
                <a:gd name="connsiteY1" fmla="*/ 257442 h 257442"/>
                <a:gd name="connsiteX2" fmla="*/ 0 w 2215570"/>
                <a:gd name="connsiteY2" fmla="*/ 257442 h 257442"/>
                <a:gd name="connsiteX3" fmla="*/ 0 w 2215570"/>
                <a:gd name="connsiteY3" fmla="*/ 0 h 257442"/>
                <a:gd name="connsiteX0" fmla="*/ 2215570 w 2215570"/>
                <a:gd name="connsiteY0" fmla="*/ 0 h 257442"/>
                <a:gd name="connsiteX1" fmla="*/ 2160848 w 2215570"/>
                <a:gd name="connsiteY1" fmla="*/ 257442 h 257442"/>
                <a:gd name="connsiteX2" fmla="*/ 0 w 2215570"/>
                <a:gd name="connsiteY2" fmla="*/ 257442 h 257442"/>
                <a:gd name="connsiteX3" fmla="*/ 0 w 2215570"/>
                <a:gd name="connsiteY3" fmla="*/ 0 h 257442"/>
                <a:gd name="connsiteX0" fmla="*/ 2215571 w 2215571"/>
                <a:gd name="connsiteY0" fmla="*/ 0 h 257442"/>
                <a:gd name="connsiteX1" fmla="*/ 2160849 w 2215571"/>
                <a:gd name="connsiteY1" fmla="*/ 257442 h 257442"/>
                <a:gd name="connsiteX2" fmla="*/ 0 w 2215571"/>
                <a:gd name="connsiteY2" fmla="*/ 257442 h 257442"/>
                <a:gd name="connsiteX3" fmla="*/ 1 w 2215571"/>
                <a:gd name="connsiteY3" fmla="*/ 0 h 257442"/>
                <a:gd name="connsiteX0" fmla="*/ 2215571 w 2215571"/>
                <a:gd name="connsiteY0" fmla="*/ 0 h 257442"/>
                <a:gd name="connsiteX1" fmla="*/ 2160849 w 2215571"/>
                <a:gd name="connsiteY1" fmla="*/ 257442 h 257442"/>
                <a:gd name="connsiteX2" fmla="*/ 0 w 2215571"/>
                <a:gd name="connsiteY2" fmla="*/ 257442 h 257442"/>
                <a:gd name="connsiteX3" fmla="*/ 1 w 2215571"/>
                <a:gd name="connsiteY3" fmla="*/ 0 h 257442"/>
                <a:gd name="connsiteX0" fmla="*/ 2383886 w 2383886"/>
                <a:gd name="connsiteY0" fmla="*/ 0 h 257442"/>
                <a:gd name="connsiteX1" fmla="*/ 2160849 w 2383886"/>
                <a:gd name="connsiteY1" fmla="*/ 257442 h 257442"/>
                <a:gd name="connsiteX2" fmla="*/ 0 w 2383886"/>
                <a:gd name="connsiteY2" fmla="*/ 257442 h 257442"/>
                <a:gd name="connsiteX3" fmla="*/ 1 w 2383886"/>
                <a:gd name="connsiteY3" fmla="*/ 0 h 257442"/>
                <a:gd name="connsiteX0" fmla="*/ 2383886 w 2383886"/>
                <a:gd name="connsiteY0" fmla="*/ 0 h 257442"/>
                <a:gd name="connsiteX1" fmla="*/ 2329164 w 2383886"/>
                <a:gd name="connsiteY1" fmla="*/ 257442 h 257442"/>
                <a:gd name="connsiteX2" fmla="*/ 0 w 2383886"/>
                <a:gd name="connsiteY2" fmla="*/ 257442 h 257442"/>
                <a:gd name="connsiteX3" fmla="*/ 1 w 2383886"/>
                <a:gd name="connsiteY3" fmla="*/ 0 h 257442"/>
                <a:gd name="connsiteX0" fmla="*/ 2383887 w 2383887"/>
                <a:gd name="connsiteY0" fmla="*/ 0 h 257442"/>
                <a:gd name="connsiteX1" fmla="*/ 2329165 w 2383887"/>
                <a:gd name="connsiteY1" fmla="*/ 257442 h 257442"/>
                <a:gd name="connsiteX2" fmla="*/ 0 w 2383887"/>
                <a:gd name="connsiteY2" fmla="*/ 257442 h 257442"/>
                <a:gd name="connsiteX3" fmla="*/ 2 w 2383887"/>
                <a:gd name="connsiteY3" fmla="*/ 0 h 257442"/>
                <a:gd name="connsiteX0" fmla="*/ 2383887 w 2383887"/>
                <a:gd name="connsiteY0" fmla="*/ 0 h 257442"/>
                <a:gd name="connsiteX1" fmla="*/ 2329165 w 2383887"/>
                <a:gd name="connsiteY1" fmla="*/ 257442 h 257442"/>
                <a:gd name="connsiteX2" fmla="*/ 0 w 2383887"/>
                <a:gd name="connsiteY2" fmla="*/ 257442 h 257442"/>
                <a:gd name="connsiteX3" fmla="*/ 1 w 2383887"/>
                <a:gd name="connsiteY3" fmla="*/ 0 h 257442"/>
                <a:gd name="connsiteX0" fmla="*/ 2552201 w 2552201"/>
                <a:gd name="connsiteY0" fmla="*/ 0 h 257442"/>
                <a:gd name="connsiteX1" fmla="*/ 2329165 w 2552201"/>
                <a:gd name="connsiteY1" fmla="*/ 257442 h 257442"/>
                <a:gd name="connsiteX2" fmla="*/ 0 w 2552201"/>
                <a:gd name="connsiteY2" fmla="*/ 257442 h 257442"/>
                <a:gd name="connsiteX3" fmla="*/ 1 w 2552201"/>
                <a:gd name="connsiteY3" fmla="*/ 0 h 257442"/>
                <a:gd name="connsiteX0" fmla="*/ 2552201 w 2552201"/>
                <a:gd name="connsiteY0" fmla="*/ 0 h 257442"/>
                <a:gd name="connsiteX1" fmla="*/ 2497480 w 2552201"/>
                <a:gd name="connsiteY1" fmla="*/ 257442 h 257442"/>
                <a:gd name="connsiteX2" fmla="*/ 0 w 2552201"/>
                <a:gd name="connsiteY2" fmla="*/ 257442 h 257442"/>
                <a:gd name="connsiteX3" fmla="*/ 1 w 2552201"/>
                <a:gd name="connsiteY3" fmla="*/ 0 h 257442"/>
                <a:gd name="connsiteX0" fmla="*/ 2552201 w 2552201"/>
                <a:gd name="connsiteY0" fmla="*/ 0 h 257442"/>
                <a:gd name="connsiteX1" fmla="*/ 2497480 w 2552201"/>
                <a:gd name="connsiteY1" fmla="*/ 257442 h 257442"/>
                <a:gd name="connsiteX2" fmla="*/ 0 w 2552201"/>
                <a:gd name="connsiteY2" fmla="*/ 257442 h 257442"/>
                <a:gd name="connsiteX3" fmla="*/ 1 w 2552201"/>
                <a:gd name="connsiteY3" fmla="*/ 0 h 257442"/>
                <a:gd name="connsiteX0" fmla="*/ 2552201 w 2552201"/>
                <a:gd name="connsiteY0" fmla="*/ 0 h 257442"/>
                <a:gd name="connsiteX1" fmla="*/ 2497480 w 2552201"/>
                <a:gd name="connsiteY1" fmla="*/ 257442 h 257442"/>
                <a:gd name="connsiteX2" fmla="*/ 0 w 2552201"/>
                <a:gd name="connsiteY2" fmla="*/ 257442 h 257442"/>
                <a:gd name="connsiteX3" fmla="*/ 0 w 2552201"/>
                <a:gd name="connsiteY3" fmla="*/ 0 h 257442"/>
                <a:gd name="connsiteX0" fmla="*/ 2712501 w 2712501"/>
                <a:gd name="connsiteY0" fmla="*/ 0 h 257442"/>
                <a:gd name="connsiteX1" fmla="*/ 2497480 w 2712501"/>
                <a:gd name="connsiteY1" fmla="*/ 257442 h 257442"/>
                <a:gd name="connsiteX2" fmla="*/ 0 w 2712501"/>
                <a:gd name="connsiteY2" fmla="*/ 257442 h 257442"/>
                <a:gd name="connsiteX3" fmla="*/ 0 w 2712501"/>
                <a:gd name="connsiteY3" fmla="*/ 0 h 257442"/>
                <a:gd name="connsiteX0" fmla="*/ 2712501 w 2712501"/>
                <a:gd name="connsiteY0" fmla="*/ 0 h 257442"/>
                <a:gd name="connsiteX1" fmla="*/ 2657780 w 2712501"/>
                <a:gd name="connsiteY1" fmla="*/ 257442 h 257442"/>
                <a:gd name="connsiteX2" fmla="*/ 0 w 2712501"/>
                <a:gd name="connsiteY2" fmla="*/ 257442 h 257442"/>
                <a:gd name="connsiteX3" fmla="*/ 0 w 2712501"/>
                <a:gd name="connsiteY3" fmla="*/ 0 h 257442"/>
                <a:gd name="connsiteX0" fmla="*/ 2712501 w 2712501"/>
                <a:gd name="connsiteY0" fmla="*/ 0 h 257442"/>
                <a:gd name="connsiteX1" fmla="*/ 2657780 w 2712501"/>
                <a:gd name="connsiteY1" fmla="*/ 257442 h 257442"/>
                <a:gd name="connsiteX2" fmla="*/ 0 w 2712501"/>
                <a:gd name="connsiteY2" fmla="*/ 257442 h 257442"/>
                <a:gd name="connsiteX3" fmla="*/ 0 w 2712501"/>
                <a:gd name="connsiteY3" fmla="*/ 0 h 257442"/>
                <a:gd name="connsiteX0" fmla="*/ 2712501 w 2712501"/>
                <a:gd name="connsiteY0" fmla="*/ 0 h 257442"/>
                <a:gd name="connsiteX1" fmla="*/ 2657780 w 2712501"/>
                <a:gd name="connsiteY1" fmla="*/ 257442 h 257442"/>
                <a:gd name="connsiteX2" fmla="*/ 0 w 2712501"/>
                <a:gd name="connsiteY2" fmla="*/ 257442 h 257442"/>
                <a:gd name="connsiteX3" fmla="*/ 0 w 2712501"/>
                <a:gd name="connsiteY3" fmla="*/ 0 h 257442"/>
                <a:gd name="connsiteX0" fmla="*/ 2890435 w 2890435"/>
                <a:gd name="connsiteY0" fmla="*/ 0 h 257442"/>
                <a:gd name="connsiteX1" fmla="*/ 2657780 w 2890435"/>
                <a:gd name="connsiteY1" fmla="*/ 257442 h 257442"/>
                <a:gd name="connsiteX2" fmla="*/ 0 w 2890435"/>
                <a:gd name="connsiteY2" fmla="*/ 257442 h 257442"/>
                <a:gd name="connsiteX3" fmla="*/ 0 w 2890435"/>
                <a:gd name="connsiteY3" fmla="*/ 0 h 257442"/>
                <a:gd name="connsiteX0" fmla="*/ 2890435 w 2890435"/>
                <a:gd name="connsiteY0" fmla="*/ 0 h 257442"/>
                <a:gd name="connsiteX1" fmla="*/ 2835714 w 2890435"/>
                <a:gd name="connsiteY1" fmla="*/ 257442 h 257442"/>
                <a:gd name="connsiteX2" fmla="*/ 0 w 2890435"/>
                <a:gd name="connsiteY2" fmla="*/ 257442 h 257442"/>
                <a:gd name="connsiteX3" fmla="*/ 0 w 2890435"/>
                <a:gd name="connsiteY3" fmla="*/ 0 h 257442"/>
                <a:gd name="connsiteX0" fmla="*/ 2890435 w 2890435"/>
                <a:gd name="connsiteY0" fmla="*/ 0 h 257442"/>
                <a:gd name="connsiteX1" fmla="*/ 2835714 w 2890435"/>
                <a:gd name="connsiteY1" fmla="*/ 257442 h 257442"/>
                <a:gd name="connsiteX2" fmla="*/ 0 w 2890435"/>
                <a:gd name="connsiteY2" fmla="*/ 257442 h 257442"/>
                <a:gd name="connsiteX3" fmla="*/ 0 w 2890435"/>
                <a:gd name="connsiteY3" fmla="*/ 0 h 257442"/>
                <a:gd name="connsiteX0" fmla="*/ 2890435 w 2890435"/>
                <a:gd name="connsiteY0" fmla="*/ 0 h 257442"/>
                <a:gd name="connsiteX1" fmla="*/ 2835714 w 2890435"/>
                <a:gd name="connsiteY1" fmla="*/ 257442 h 257442"/>
                <a:gd name="connsiteX2" fmla="*/ 0 w 2890435"/>
                <a:gd name="connsiteY2" fmla="*/ 257442 h 257442"/>
                <a:gd name="connsiteX3" fmla="*/ 0 w 2890435"/>
                <a:gd name="connsiteY3" fmla="*/ 0 h 257442"/>
                <a:gd name="connsiteX0" fmla="*/ 2712501 w 2835714"/>
                <a:gd name="connsiteY0" fmla="*/ 0 h 257442"/>
                <a:gd name="connsiteX1" fmla="*/ 2835714 w 2835714"/>
                <a:gd name="connsiteY1" fmla="*/ 257442 h 257442"/>
                <a:gd name="connsiteX2" fmla="*/ 0 w 2835714"/>
                <a:gd name="connsiteY2" fmla="*/ 257442 h 257442"/>
                <a:gd name="connsiteX3" fmla="*/ 0 w 2835714"/>
                <a:gd name="connsiteY3" fmla="*/ 0 h 257442"/>
                <a:gd name="connsiteX0" fmla="*/ 2712501 w 2712501"/>
                <a:gd name="connsiteY0" fmla="*/ 0 h 257442"/>
                <a:gd name="connsiteX1" fmla="*/ 2657780 w 2712501"/>
                <a:gd name="connsiteY1" fmla="*/ 257442 h 257442"/>
                <a:gd name="connsiteX2" fmla="*/ 0 w 2712501"/>
                <a:gd name="connsiteY2" fmla="*/ 257442 h 257442"/>
                <a:gd name="connsiteX3" fmla="*/ 0 w 2712501"/>
                <a:gd name="connsiteY3" fmla="*/ 0 h 257442"/>
                <a:gd name="connsiteX0" fmla="*/ 2712501 w 2712501"/>
                <a:gd name="connsiteY0" fmla="*/ 0 h 257442"/>
                <a:gd name="connsiteX1" fmla="*/ 2657780 w 2712501"/>
                <a:gd name="connsiteY1" fmla="*/ 257442 h 257442"/>
                <a:gd name="connsiteX2" fmla="*/ 1 w 2712501"/>
                <a:gd name="connsiteY2" fmla="*/ 257442 h 257442"/>
                <a:gd name="connsiteX3" fmla="*/ 0 w 2712501"/>
                <a:gd name="connsiteY3" fmla="*/ 0 h 257442"/>
                <a:gd name="connsiteX0" fmla="*/ 2712500 w 2712500"/>
                <a:gd name="connsiteY0" fmla="*/ 0 h 257442"/>
                <a:gd name="connsiteX1" fmla="*/ 2657779 w 2712500"/>
                <a:gd name="connsiteY1" fmla="*/ 257442 h 257442"/>
                <a:gd name="connsiteX2" fmla="*/ 0 w 2712500"/>
                <a:gd name="connsiteY2" fmla="*/ 257442 h 257442"/>
                <a:gd name="connsiteX3" fmla="*/ 0 w 2712500"/>
                <a:gd name="connsiteY3" fmla="*/ 0 h 257442"/>
                <a:gd name="connsiteX0" fmla="*/ 2813491 w 2813491"/>
                <a:gd name="connsiteY0" fmla="*/ 0 h 257442"/>
                <a:gd name="connsiteX1" fmla="*/ 2657779 w 2813491"/>
                <a:gd name="connsiteY1" fmla="*/ 257442 h 257442"/>
                <a:gd name="connsiteX2" fmla="*/ 0 w 2813491"/>
                <a:gd name="connsiteY2" fmla="*/ 257442 h 257442"/>
                <a:gd name="connsiteX3" fmla="*/ 0 w 2813491"/>
                <a:gd name="connsiteY3" fmla="*/ 0 h 257442"/>
                <a:gd name="connsiteX0" fmla="*/ 2813491 w 2813491"/>
                <a:gd name="connsiteY0" fmla="*/ 0 h 257442"/>
                <a:gd name="connsiteX1" fmla="*/ 2758770 w 2813491"/>
                <a:gd name="connsiteY1" fmla="*/ 257442 h 257442"/>
                <a:gd name="connsiteX2" fmla="*/ 0 w 2813491"/>
                <a:gd name="connsiteY2" fmla="*/ 257442 h 257442"/>
                <a:gd name="connsiteX3" fmla="*/ 0 w 2813491"/>
                <a:gd name="connsiteY3" fmla="*/ 0 h 257442"/>
                <a:gd name="connsiteX0" fmla="*/ 2813491 w 2813491"/>
                <a:gd name="connsiteY0" fmla="*/ 0 h 257442"/>
                <a:gd name="connsiteX1" fmla="*/ 2758770 w 2813491"/>
                <a:gd name="connsiteY1" fmla="*/ 257442 h 257442"/>
                <a:gd name="connsiteX2" fmla="*/ 0 w 2813491"/>
                <a:gd name="connsiteY2" fmla="*/ 257442 h 257442"/>
                <a:gd name="connsiteX3" fmla="*/ 0 w 2813491"/>
                <a:gd name="connsiteY3" fmla="*/ 0 h 257442"/>
                <a:gd name="connsiteX0" fmla="*/ 2813491 w 2813491"/>
                <a:gd name="connsiteY0" fmla="*/ 0 h 257442"/>
                <a:gd name="connsiteX1" fmla="*/ 2758770 w 2813491"/>
                <a:gd name="connsiteY1" fmla="*/ 257442 h 257442"/>
                <a:gd name="connsiteX2" fmla="*/ 0 w 2813491"/>
                <a:gd name="connsiteY2" fmla="*/ 257442 h 257442"/>
                <a:gd name="connsiteX3" fmla="*/ 0 w 2813491"/>
                <a:gd name="connsiteY3" fmla="*/ 0 h 257442"/>
                <a:gd name="connsiteX0" fmla="*/ 2981805 w 2981805"/>
                <a:gd name="connsiteY0" fmla="*/ 0 h 257442"/>
                <a:gd name="connsiteX1" fmla="*/ 2758770 w 2981805"/>
                <a:gd name="connsiteY1" fmla="*/ 257442 h 257442"/>
                <a:gd name="connsiteX2" fmla="*/ 0 w 2981805"/>
                <a:gd name="connsiteY2" fmla="*/ 257442 h 257442"/>
                <a:gd name="connsiteX3" fmla="*/ 0 w 2981805"/>
                <a:gd name="connsiteY3" fmla="*/ 0 h 257442"/>
                <a:gd name="connsiteX0" fmla="*/ 2981805 w 2981805"/>
                <a:gd name="connsiteY0" fmla="*/ 0 h 257442"/>
                <a:gd name="connsiteX1" fmla="*/ 2927084 w 2981805"/>
                <a:gd name="connsiteY1" fmla="*/ 257442 h 257442"/>
                <a:gd name="connsiteX2" fmla="*/ 0 w 2981805"/>
                <a:gd name="connsiteY2" fmla="*/ 257442 h 257442"/>
                <a:gd name="connsiteX3" fmla="*/ 0 w 2981805"/>
                <a:gd name="connsiteY3" fmla="*/ 0 h 257442"/>
                <a:gd name="connsiteX0" fmla="*/ 2981805 w 2981805"/>
                <a:gd name="connsiteY0" fmla="*/ 0 h 257442"/>
                <a:gd name="connsiteX1" fmla="*/ 2927084 w 2981805"/>
                <a:gd name="connsiteY1" fmla="*/ 257442 h 257442"/>
                <a:gd name="connsiteX2" fmla="*/ 0 w 2981805"/>
                <a:gd name="connsiteY2" fmla="*/ 257442 h 257442"/>
                <a:gd name="connsiteX3" fmla="*/ 0 w 2981805"/>
                <a:gd name="connsiteY3" fmla="*/ 0 h 257442"/>
                <a:gd name="connsiteX0" fmla="*/ 2981805 w 2981805"/>
                <a:gd name="connsiteY0" fmla="*/ 0 h 257442"/>
                <a:gd name="connsiteX1" fmla="*/ 2927084 w 2981805"/>
                <a:gd name="connsiteY1" fmla="*/ 257442 h 257442"/>
                <a:gd name="connsiteX2" fmla="*/ 0 w 2981805"/>
                <a:gd name="connsiteY2" fmla="*/ 257442 h 257442"/>
                <a:gd name="connsiteX3" fmla="*/ 0 w 2981805"/>
                <a:gd name="connsiteY3" fmla="*/ 0 h 257442"/>
                <a:gd name="connsiteX0" fmla="*/ 3150121 w 3150121"/>
                <a:gd name="connsiteY0" fmla="*/ 0 h 257442"/>
                <a:gd name="connsiteX1" fmla="*/ 2927084 w 3150121"/>
                <a:gd name="connsiteY1" fmla="*/ 257442 h 257442"/>
                <a:gd name="connsiteX2" fmla="*/ 0 w 3150121"/>
                <a:gd name="connsiteY2" fmla="*/ 257442 h 257442"/>
                <a:gd name="connsiteX3" fmla="*/ 0 w 3150121"/>
                <a:gd name="connsiteY3" fmla="*/ 0 h 257442"/>
                <a:gd name="connsiteX0" fmla="*/ 3150121 w 3150121"/>
                <a:gd name="connsiteY0" fmla="*/ 0 h 257442"/>
                <a:gd name="connsiteX1" fmla="*/ 3095400 w 3150121"/>
                <a:gd name="connsiteY1" fmla="*/ 257442 h 257442"/>
                <a:gd name="connsiteX2" fmla="*/ 0 w 3150121"/>
                <a:gd name="connsiteY2" fmla="*/ 257442 h 257442"/>
                <a:gd name="connsiteX3" fmla="*/ 0 w 3150121"/>
                <a:gd name="connsiteY3" fmla="*/ 0 h 257442"/>
                <a:gd name="connsiteX0" fmla="*/ 3150121 w 3150121"/>
                <a:gd name="connsiteY0" fmla="*/ 0 h 257442"/>
                <a:gd name="connsiteX1" fmla="*/ 3095400 w 3150121"/>
                <a:gd name="connsiteY1" fmla="*/ 257442 h 257442"/>
                <a:gd name="connsiteX2" fmla="*/ 0 w 3150121"/>
                <a:gd name="connsiteY2" fmla="*/ 257442 h 257442"/>
                <a:gd name="connsiteX3" fmla="*/ 0 w 3150121"/>
                <a:gd name="connsiteY3" fmla="*/ 0 h 257442"/>
                <a:gd name="connsiteX0" fmla="*/ 3150121 w 3150121"/>
                <a:gd name="connsiteY0" fmla="*/ 0 h 257442"/>
                <a:gd name="connsiteX1" fmla="*/ 3095400 w 3150121"/>
                <a:gd name="connsiteY1" fmla="*/ 257442 h 257442"/>
                <a:gd name="connsiteX2" fmla="*/ 0 w 3150121"/>
                <a:gd name="connsiteY2" fmla="*/ 257442 h 257442"/>
                <a:gd name="connsiteX3" fmla="*/ 0 w 3150121"/>
                <a:gd name="connsiteY3" fmla="*/ 0 h 257442"/>
                <a:gd name="connsiteX0" fmla="*/ 3318436 w 3318436"/>
                <a:gd name="connsiteY0" fmla="*/ 0 h 257442"/>
                <a:gd name="connsiteX1" fmla="*/ 3095400 w 3318436"/>
                <a:gd name="connsiteY1" fmla="*/ 257442 h 257442"/>
                <a:gd name="connsiteX2" fmla="*/ 0 w 3318436"/>
                <a:gd name="connsiteY2" fmla="*/ 257442 h 257442"/>
                <a:gd name="connsiteX3" fmla="*/ 0 w 3318436"/>
                <a:gd name="connsiteY3" fmla="*/ 0 h 257442"/>
                <a:gd name="connsiteX0" fmla="*/ 3318436 w 3318436"/>
                <a:gd name="connsiteY0" fmla="*/ 0 h 257442"/>
                <a:gd name="connsiteX1" fmla="*/ 3263714 w 3318436"/>
                <a:gd name="connsiteY1" fmla="*/ 257442 h 257442"/>
                <a:gd name="connsiteX2" fmla="*/ 0 w 3318436"/>
                <a:gd name="connsiteY2" fmla="*/ 257442 h 257442"/>
                <a:gd name="connsiteX3" fmla="*/ 0 w 3318436"/>
                <a:gd name="connsiteY3" fmla="*/ 0 h 257442"/>
                <a:gd name="connsiteX0" fmla="*/ 3318437 w 3318437"/>
                <a:gd name="connsiteY0" fmla="*/ 0 h 257442"/>
                <a:gd name="connsiteX1" fmla="*/ 3263715 w 3318437"/>
                <a:gd name="connsiteY1" fmla="*/ 257442 h 257442"/>
                <a:gd name="connsiteX2" fmla="*/ 0 w 3318437"/>
                <a:gd name="connsiteY2" fmla="*/ 257442 h 257442"/>
                <a:gd name="connsiteX3" fmla="*/ 1 w 3318437"/>
                <a:gd name="connsiteY3" fmla="*/ 0 h 257442"/>
                <a:gd name="connsiteX0" fmla="*/ 3318437 w 3318437"/>
                <a:gd name="connsiteY0" fmla="*/ 0 h 257442"/>
                <a:gd name="connsiteX1" fmla="*/ 3263715 w 3318437"/>
                <a:gd name="connsiteY1" fmla="*/ 257442 h 257442"/>
                <a:gd name="connsiteX2" fmla="*/ 0 w 3318437"/>
                <a:gd name="connsiteY2" fmla="*/ 257442 h 257442"/>
                <a:gd name="connsiteX3" fmla="*/ 1 w 3318437"/>
                <a:gd name="connsiteY3" fmla="*/ 0 h 257442"/>
                <a:gd name="connsiteX0" fmla="*/ 3478736 w 3478736"/>
                <a:gd name="connsiteY0" fmla="*/ 0 h 257442"/>
                <a:gd name="connsiteX1" fmla="*/ 3263715 w 3478736"/>
                <a:gd name="connsiteY1" fmla="*/ 257442 h 257442"/>
                <a:gd name="connsiteX2" fmla="*/ 0 w 3478736"/>
                <a:gd name="connsiteY2" fmla="*/ 257442 h 257442"/>
                <a:gd name="connsiteX3" fmla="*/ 1 w 3478736"/>
                <a:gd name="connsiteY3" fmla="*/ 0 h 257442"/>
                <a:gd name="connsiteX0" fmla="*/ 3478736 w 3478736"/>
                <a:gd name="connsiteY0" fmla="*/ 0 h 257442"/>
                <a:gd name="connsiteX1" fmla="*/ 3424014 w 3478736"/>
                <a:gd name="connsiteY1" fmla="*/ 257442 h 257442"/>
                <a:gd name="connsiteX2" fmla="*/ 0 w 3478736"/>
                <a:gd name="connsiteY2" fmla="*/ 257442 h 257442"/>
                <a:gd name="connsiteX3" fmla="*/ 1 w 3478736"/>
                <a:gd name="connsiteY3" fmla="*/ 0 h 257442"/>
                <a:gd name="connsiteX0" fmla="*/ 3478737 w 3478737"/>
                <a:gd name="connsiteY0" fmla="*/ 0 h 257442"/>
                <a:gd name="connsiteX1" fmla="*/ 3424015 w 3478737"/>
                <a:gd name="connsiteY1" fmla="*/ 257442 h 257442"/>
                <a:gd name="connsiteX2" fmla="*/ 0 w 3478737"/>
                <a:gd name="connsiteY2" fmla="*/ 257442 h 257442"/>
                <a:gd name="connsiteX3" fmla="*/ 2 w 3478737"/>
                <a:gd name="connsiteY3" fmla="*/ 0 h 257442"/>
                <a:gd name="connsiteX0" fmla="*/ 3478737 w 3478737"/>
                <a:gd name="connsiteY0" fmla="*/ 0 h 257442"/>
                <a:gd name="connsiteX1" fmla="*/ 3424015 w 3478737"/>
                <a:gd name="connsiteY1" fmla="*/ 257442 h 257442"/>
                <a:gd name="connsiteX2" fmla="*/ 0 w 3478737"/>
                <a:gd name="connsiteY2" fmla="*/ 257442 h 257442"/>
                <a:gd name="connsiteX3" fmla="*/ 1 w 3478737"/>
                <a:gd name="connsiteY3" fmla="*/ 0 h 257442"/>
                <a:gd name="connsiteX0" fmla="*/ 3631022 w 3631022"/>
                <a:gd name="connsiteY0" fmla="*/ 0 h 257442"/>
                <a:gd name="connsiteX1" fmla="*/ 3424015 w 3631022"/>
                <a:gd name="connsiteY1" fmla="*/ 257442 h 257442"/>
                <a:gd name="connsiteX2" fmla="*/ 0 w 3631022"/>
                <a:gd name="connsiteY2" fmla="*/ 257442 h 257442"/>
                <a:gd name="connsiteX3" fmla="*/ 1 w 3631022"/>
                <a:gd name="connsiteY3" fmla="*/ 0 h 257442"/>
                <a:gd name="connsiteX0" fmla="*/ 3631022 w 3631022"/>
                <a:gd name="connsiteY0" fmla="*/ 0 h 257442"/>
                <a:gd name="connsiteX1" fmla="*/ 3576300 w 3631022"/>
                <a:gd name="connsiteY1" fmla="*/ 257442 h 257442"/>
                <a:gd name="connsiteX2" fmla="*/ 0 w 3631022"/>
                <a:gd name="connsiteY2" fmla="*/ 257442 h 257442"/>
                <a:gd name="connsiteX3" fmla="*/ 1 w 3631022"/>
                <a:gd name="connsiteY3" fmla="*/ 0 h 257442"/>
                <a:gd name="connsiteX0" fmla="*/ 3631023 w 3631023"/>
                <a:gd name="connsiteY0" fmla="*/ 0 h 257442"/>
                <a:gd name="connsiteX1" fmla="*/ 3576301 w 3631023"/>
                <a:gd name="connsiteY1" fmla="*/ 257442 h 257442"/>
                <a:gd name="connsiteX2" fmla="*/ 0 w 3631023"/>
                <a:gd name="connsiteY2" fmla="*/ 257442 h 257442"/>
                <a:gd name="connsiteX3" fmla="*/ 2 w 3631023"/>
                <a:gd name="connsiteY3" fmla="*/ 0 h 257442"/>
                <a:gd name="connsiteX0" fmla="*/ 3631023 w 3631023"/>
                <a:gd name="connsiteY0" fmla="*/ 0 h 257442"/>
                <a:gd name="connsiteX1" fmla="*/ 3576301 w 3631023"/>
                <a:gd name="connsiteY1" fmla="*/ 257442 h 257442"/>
                <a:gd name="connsiteX2" fmla="*/ 0 w 3631023"/>
                <a:gd name="connsiteY2" fmla="*/ 257442 h 257442"/>
                <a:gd name="connsiteX3" fmla="*/ 1 w 3631023"/>
                <a:gd name="connsiteY3" fmla="*/ 0 h 257442"/>
                <a:gd name="connsiteX0" fmla="*/ 3478736 w 3576301"/>
                <a:gd name="connsiteY0" fmla="*/ 0 h 257442"/>
                <a:gd name="connsiteX1" fmla="*/ 3576301 w 3576301"/>
                <a:gd name="connsiteY1" fmla="*/ 257442 h 257442"/>
                <a:gd name="connsiteX2" fmla="*/ 0 w 3576301"/>
                <a:gd name="connsiteY2" fmla="*/ 257442 h 257442"/>
                <a:gd name="connsiteX3" fmla="*/ 1 w 3576301"/>
                <a:gd name="connsiteY3" fmla="*/ 0 h 257442"/>
                <a:gd name="connsiteX0" fmla="*/ 3478736 w 3478736"/>
                <a:gd name="connsiteY0" fmla="*/ 0 h 257442"/>
                <a:gd name="connsiteX1" fmla="*/ 3424015 w 3478736"/>
                <a:gd name="connsiteY1" fmla="*/ 257442 h 257442"/>
                <a:gd name="connsiteX2" fmla="*/ 0 w 3478736"/>
                <a:gd name="connsiteY2" fmla="*/ 257442 h 257442"/>
                <a:gd name="connsiteX3" fmla="*/ 1 w 3478736"/>
                <a:gd name="connsiteY3" fmla="*/ 0 h 257442"/>
                <a:gd name="connsiteX0" fmla="*/ 3478736 w 3478736"/>
                <a:gd name="connsiteY0" fmla="*/ 0 h 257442"/>
                <a:gd name="connsiteX1" fmla="*/ 3424015 w 3478736"/>
                <a:gd name="connsiteY1" fmla="*/ 257442 h 257442"/>
                <a:gd name="connsiteX2" fmla="*/ 0 w 3478736"/>
                <a:gd name="connsiteY2" fmla="*/ 257442 h 257442"/>
                <a:gd name="connsiteX3" fmla="*/ 1 w 3478736"/>
                <a:gd name="connsiteY3" fmla="*/ 0 h 257442"/>
                <a:gd name="connsiteX0" fmla="*/ 3478736 w 3478736"/>
                <a:gd name="connsiteY0" fmla="*/ 0 h 257442"/>
                <a:gd name="connsiteX1" fmla="*/ 3424015 w 3478736"/>
                <a:gd name="connsiteY1" fmla="*/ 257442 h 257442"/>
                <a:gd name="connsiteX2" fmla="*/ 0 w 3478736"/>
                <a:gd name="connsiteY2" fmla="*/ 257442 h 257442"/>
                <a:gd name="connsiteX3" fmla="*/ 0 w 3478736"/>
                <a:gd name="connsiteY3" fmla="*/ 0 h 257442"/>
                <a:gd name="connsiteX0" fmla="*/ 3318436 w 3424015"/>
                <a:gd name="connsiteY0" fmla="*/ 0 h 257442"/>
                <a:gd name="connsiteX1" fmla="*/ 3424015 w 3424015"/>
                <a:gd name="connsiteY1" fmla="*/ 257442 h 257442"/>
                <a:gd name="connsiteX2" fmla="*/ 0 w 3424015"/>
                <a:gd name="connsiteY2" fmla="*/ 257442 h 257442"/>
                <a:gd name="connsiteX3" fmla="*/ 0 w 3424015"/>
                <a:gd name="connsiteY3" fmla="*/ 0 h 257442"/>
                <a:gd name="connsiteX0" fmla="*/ 3318436 w 3318436"/>
                <a:gd name="connsiteY0" fmla="*/ 0 h 257442"/>
                <a:gd name="connsiteX1" fmla="*/ 3263716 w 3318436"/>
                <a:gd name="connsiteY1" fmla="*/ 257442 h 257442"/>
                <a:gd name="connsiteX2" fmla="*/ 0 w 3318436"/>
                <a:gd name="connsiteY2" fmla="*/ 257442 h 257442"/>
                <a:gd name="connsiteX3" fmla="*/ 0 w 3318436"/>
                <a:gd name="connsiteY3" fmla="*/ 0 h 257442"/>
                <a:gd name="connsiteX0" fmla="*/ 3318436 w 3318436"/>
                <a:gd name="connsiteY0" fmla="*/ 0 h 257442"/>
                <a:gd name="connsiteX1" fmla="*/ 3263716 w 3318436"/>
                <a:gd name="connsiteY1" fmla="*/ 257442 h 257442"/>
                <a:gd name="connsiteX2" fmla="*/ 1 w 3318436"/>
                <a:gd name="connsiteY2" fmla="*/ 257442 h 257442"/>
                <a:gd name="connsiteX3" fmla="*/ 0 w 3318436"/>
                <a:gd name="connsiteY3" fmla="*/ 0 h 257442"/>
                <a:gd name="connsiteX0" fmla="*/ 3318435 w 3318435"/>
                <a:gd name="connsiteY0" fmla="*/ 0 h 257442"/>
                <a:gd name="connsiteX1" fmla="*/ 3263715 w 3318435"/>
                <a:gd name="connsiteY1" fmla="*/ 257442 h 257442"/>
                <a:gd name="connsiteX2" fmla="*/ 0 w 3318435"/>
                <a:gd name="connsiteY2" fmla="*/ 257442 h 257442"/>
                <a:gd name="connsiteX3" fmla="*/ 0 w 3318435"/>
                <a:gd name="connsiteY3" fmla="*/ 0 h 257442"/>
                <a:gd name="connsiteX0" fmla="*/ 3150121 w 3263715"/>
                <a:gd name="connsiteY0" fmla="*/ 0 h 257442"/>
                <a:gd name="connsiteX1" fmla="*/ 3263715 w 3263715"/>
                <a:gd name="connsiteY1" fmla="*/ 257442 h 257442"/>
                <a:gd name="connsiteX2" fmla="*/ 0 w 3263715"/>
                <a:gd name="connsiteY2" fmla="*/ 257442 h 257442"/>
                <a:gd name="connsiteX3" fmla="*/ 0 w 3263715"/>
                <a:gd name="connsiteY3" fmla="*/ 0 h 257442"/>
                <a:gd name="connsiteX0" fmla="*/ 3150121 w 3150121"/>
                <a:gd name="connsiteY0" fmla="*/ 0 h 257442"/>
                <a:gd name="connsiteX1" fmla="*/ 3095400 w 3150121"/>
                <a:gd name="connsiteY1" fmla="*/ 257442 h 257442"/>
                <a:gd name="connsiteX2" fmla="*/ 0 w 3150121"/>
                <a:gd name="connsiteY2" fmla="*/ 257442 h 257442"/>
                <a:gd name="connsiteX3" fmla="*/ 0 w 3150121"/>
                <a:gd name="connsiteY3" fmla="*/ 0 h 257442"/>
                <a:gd name="connsiteX0" fmla="*/ 3150121 w 3150121"/>
                <a:gd name="connsiteY0" fmla="*/ 0 h 257442"/>
                <a:gd name="connsiteX1" fmla="*/ 3095400 w 3150121"/>
                <a:gd name="connsiteY1" fmla="*/ 257442 h 257442"/>
                <a:gd name="connsiteX2" fmla="*/ 0 w 3150121"/>
                <a:gd name="connsiteY2" fmla="*/ 257442 h 257442"/>
                <a:gd name="connsiteX3" fmla="*/ 0 w 3150121"/>
                <a:gd name="connsiteY3" fmla="*/ 0 h 257442"/>
                <a:gd name="connsiteX0" fmla="*/ 3150121 w 3150121"/>
                <a:gd name="connsiteY0" fmla="*/ 0 h 257442"/>
                <a:gd name="connsiteX1" fmla="*/ 3095400 w 3150121"/>
                <a:gd name="connsiteY1" fmla="*/ 257442 h 257442"/>
                <a:gd name="connsiteX2" fmla="*/ 0 w 3150121"/>
                <a:gd name="connsiteY2" fmla="*/ 257442 h 257442"/>
                <a:gd name="connsiteX3" fmla="*/ 0 w 3150121"/>
                <a:gd name="connsiteY3" fmla="*/ 0 h 257442"/>
                <a:gd name="connsiteX0" fmla="*/ 2981805 w 3095400"/>
                <a:gd name="connsiteY0" fmla="*/ 0 h 257442"/>
                <a:gd name="connsiteX1" fmla="*/ 3095400 w 3095400"/>
                <a:gd name="connsiteY1" fmla="*/ 257442 h 257442"/>
                <a:gd name="connsiteX2" fmla="*/ 0 w 3095400"/>
                <a:gd name="connsiteY2" fmla="*/ 257442 h 257442"/>
                <a:gd name="connsiteX3" fmla="*/ 0 w 3095400"/>
                <a:gd name="connsiteY3" fmla="*/ 0 h 257442"/>
                <a:gd name="connsiteX0" fmla="*/ 2981805 w 2981805"/>
                <a:gd name="connsiteY0" fmla="*/ 0 h 257442"/>
                <a:gd name="connsiteX1" fmla="*/ 2927084 w 2981805"/>
                <a:gd name="connsiteY1" fmla="*/ 257442 h 257442"/>
                <a:gd name="connsiteX2" fmla="*/ 0 w 2981805"/>
                <a:gd name="connsiteY2" fmla="*/ 257442 h 257442"/>
                <a:gd name="connsiteX3" fmla="*/ 0 w 2981805"/>
                <a:gd name="connsiteY3" fmla="*/ 0 h 257442"/>
                <a:gd name="connsiteX0" fmla="*/ 2981805 w 2981805"/>
                <a:gd name="connsiteY0" fmla="*/ 0 h 257442"/>
                <a:gd name="connsiteX1" fmla="*/ 2927084 w 2981805"/>
                <a:gd name="connsiteY1" fmla="*/ 257442 h 257442"/>
                <a:gd name="connsiteX2" fmla="*/ 1 w 2981805"/>
                <a:gd name="connsiteY2" fmla="*/ 257442 h 257442"/>
                <a:gd name="connsiteX3" fmla="*/ 0 w 2981805"/>
                <a:gd name="connsiteY3" fmla="*/ 0 h 257442"/>
                <a:gd name="connsiteX0" fmla="*/ 2981804 w 2981804"/>
                <a:gd name="connsiteY0" fmla="*/ 0 h 257442"/>
                <a:gd name="connsiteX1" fmla="*/ 2927083 w 2981804"/>
                <a:gd name="connsiteY1" fmla="*/ 257442 h 257442"/>
                <a:gd name="connsiteX2" fmla="*/ 0 w 2981804"/>
                <a:gd name="connsiteY2" fmla="*/ 257442 h 257442"/>
                <a:gd name="connsiteX3" fmla="*/ 0 w 2981804"/>
                <a:gd name="connsiteY3" fmla="*/ 0 h 257442"/>
                <a:gd name="connsiteX0" fmla="*/ 3150121 w 3150121"/>
                <a:gd name="connsiteY0" fmla="*/ 0 h 257442"/>
                <a:gd name="connsiteX1" fmla="*/ 2927083 w 3150121"/>
                <a:gd name="connsiteY1" fmla="*/ 257442 h 257442"/>
                <a:gd name="connsiteX2" fmla="*/ 0 w 3150121"/>
                <a:gd name="connsiteY2" fmla="*/ 257442 h 257442"/>
                <a:gd name="connsiteX3" fmla="*/ 0 w 3150121"/>
                <a:gd name="connsiteY3" fmla="*/ 0 h 257442"/>
                <a:gd name="connsiteX0" fmla="*/ 3150121 w 3150121"/>
                <a:gd name="connsiteY0" fmla="*/ 0 h 257442"/>
                <a:gd name="connsiteX1" fmla="*/ 3095400 w 3150121"/>
                <a:gd name="connsiteY1" fmla="*/ 257442 h 257442"/>
                <a:gd name="connsiteX2" fmla="*/ 0 w 3150121"/>
                <a:gd name="connsiteY2" fmla="*/ 257442 h 257442"/>
                <a:gd name="connsiteX3" fmla="*/ 0 w 3150121"/>
                <a:gd name="connsiteY3" fmla="*/ 0 h 257442"/>
                <a:gd name="connsiteX0" fmla="*/ 3150121 w 3150121"/>
                <a:gd name="connsiteY0" fmla="*/ 0 h 257442"/>
                <a:gd name="connsiteX1" fmla="*/ 3095400 w 3150121"/>
                <a:gd name="connsiteY1" fmla="*/ 257442 h 257442"/>
                <a:gd name="connsiteX2" fmla="*/ 0 w 3150121"/>
                <a:gd name="connsiteY2" fmla="*/ 257442 h 257442"/>
                <a:gd name="connsiteX3" fmla="*/ 0 w 3150121"/>
                <a:gd name="connsiteY3" fmla="*/ 0 h 257442"/>
                <a:gd name="connsiteX0" fmla="*/ 3150121 w 3150121"/>
                <a:gd name="connsiteY0" fmla="*/ 0 h 257442"/>
                <a:gd name="connsiteX1" fmla="*/ 3095400 w 3150121"/>
                <a:gd name="connsiteY1" fmla="*/ 257442 h 257442"/>
                <a:gd name="connsiteX2" fmla="*/ 0 w 3150121"/>
                <a:gd name="connsiteY2" fmla="*/ 257442 h 257442"/>
                <a:gd name="connsiteX3" fmla="*/ 0 w 3150121"/>
                <a:gd name="connsiteY3" fmla="*/ 0 h 257442"/>
                <a:gd name="connsiteX0" fmla="*/ 3318436 w 3318436"/>
                <a:gd name="connsiteY0" fmla="*/ 0 h 257442"/>
                <a:gd name="connsiteX1" fmla="*/ 3095400 w 3318436"/>
                <a:gd name="connsiteY1" fmla="*/ 257442 h 257442"/>
                <a:gd name="connsiteX2" fmla="*/ 0 w 3318436"/>
                <a:gd name="connsiteY2" fmla="*/ 257442 h 257442"/>
                <a:gd name="connsiteX3" fmla="*/ 0 w 3318436"/>
                <a:gd name="connsiteY3" fmla="*/ 0 h 257442"/>
                <a:gd name="connsiteX0" fmla="*/ 3318436 w 3318436"/>
                <a:gd name="connsiteY0" fmla="*/ 0 h 257442"/>
                <a:gd name="connsiteX1" fmla="*/ 3263714 w 3318436"/>
                <a:gd name="connsiteY1" fmla="*/ 257442 h 257442"/>
                <a:gd name="connsiteX2" fmla="*/ 0 w 3318436"/>
                <a:gd name="connsiteY2" fmla="*/ 257442 h 257442"/>
                <a:gd name="connsiteX3" fmla="*/ 0 w 3318436"/>
                <a:gd name="connsiteY3" fmla="*/ 0 h 257442"/>
                <a:gd name="connsiteX0" fmla="*/ 3318437 w 3318437"/>
                <a:gd name="connsiteY0" fmla="*/ 0 h 257442"/>
                <a:gd name="connsiteX1" fmla="*/ 3263715 w 3318437"/>
                <a:gd name="connsiteY1" fmla="*/ 257442 h 257442"/>
                <a:gd name="connsiteX2" fmla="*/ 0 w 3318437"/>
                <a:gd name="connsiteY2" fmla="*/ 257442 h 257442"/>
                <a:gd name="connsiteX3" fmla="*/ 1 w 3318437"/>
                <a:gd name="connsiteY3" fmla="*/ 0 h 257442"/>
                <a:gd name="connsiteX0" fmla="*/ 3318437 w 3318437"/>
                <a:gd name="connsiteY0" fmla="*/ 0 h 257442"/>
                <a:gd name="connsiteX1" fmla="*/ 3263715 w 3318437"/>
                <a:gd name="connsiteY1" fmla="*/ 257442 h 257442"/>
                <a:gd name="connsiteX2" fmla="*/ 0 w 3318437"/>
                <a:gd name="connsiteY2" fmla="*/ 257442 h 257442"/>
                <a:gd name="connsiteX3" fmla="*/ 1 w 3318437"/>
                <a:gd name="connsiteY3" fmla="*/ 0 h 257442"/>
                <a:gd name="connsiteX0" fmla="*/ 3478736 w 3478736"/>
                <a:gd name="connsiteY0" fmla="*/ 0 h 257442"/>
                <a:gd name="connsiteX1" fmla="*/ 3263715 w 3478736"/>
                <a:gd name="connsiteY1" fmla="*/ 257442 h 257442"/>
                <a:gd name="connsiteX2" fmla="*/ 0 w 3478736"/>
                <a:gd name="connsiteY2" fmla="*/ 257442 h 257442"/>
                <a:gd name="connsiteX3" fmla="*/ 1 w 3478736"/>
                <a:gd name="connsiteY3" fmla="*/ 0 h 257442"/>
                <a:gd name="connsiteX0" fmla="*/ 3478736 w 3478736"/>
                <a:gd name="connsiteY0" fmla="*/ 0 h 257442"/>
                <a:gd name="connsiteX1" fmla="*/ 3424014 w 3478736"/>
                <a:gd name="connsiteY1" fmla="*/ 257442 h 257442"/>
                <a:gd name="connsiteX2" fmla="*/ 0 w 3478736"/>
                <a:gd name="connsiteY2" fmla="*/ 257442 h 257442"/>
                <a:gd name="connsiteX3" fmla="*/ 1 w 3478736"/>
                <a:gd name="connsiteY3" fmla="*/ 0 h 257442"/>
                <a:gd name="connsiteX0" fmla="*/ 3478737 w 3478737"/>
                <a:gd name="connsiteY0" fmla="*/ 0 h 257442"/>
                <a:gd name="connsiteX1" fmla="*/ 3424015 w 3478737"/>
                <a:gd name="connsiteY1" fmla="*/ 257442 h 257442"/>
                <a:gd name="connsiteX2" fmla="*/ 0 w 3478737"/>
                <a:gd name="connsiteY2" fmla="*/ 257442 h 257442"/>
                <a:gd name="connsiteX3" fmla="*/ 2 w 3478737"/>
                <a:gd name="connsiteY3" fmla="*/ 0 h 257442"/>
                <a:gd name="connsiteX0" fmla="*/ 3478737 w 3478737"/>
                <a:gd name="connsiteY0" fmla="*/ 0 h 257442"/>
                <a:gd name="connsiteX1" fmla="*/ 3424015 w 3478737"/>
                <a:gd name="connsiteY1" fmla="*/ 257442 h 257442"/>
                <a:gd name="connsiteX2" fmla="*/ 0 w 3478737"/>
                <a:gd name="connsiteY2" fmla="*/ 257442 h 257442"/>
                <a:gd name="connsiteX3" fmla="*/ 1 w 3478737"/>
                <a:gd name="connsiteY3" fmla="*/ 0 h 257442"/>
                <a:gd name="connsiteX0" fmla="*/ 3631022 w 3631022"/>
                <a:gd name="connsiteY0" fmla="*/ 0 h 257442"/>
                <a:gd name="connsiteX1" fmla="*/ 3424015 w 3631022"/>
                <a:gd name="connsiteY1" fmla="*/ 257442 h 257442"/>
                <a:gd name="connsiteX2" fmla="*/ 0 w 3631022"/>
                <a:gd name="connsiteY2" fmla="*/ 257442 h 257442"/>
                <a:gd name="connsiteX3" fmla="*/ 1 w 3631022"/>
                <a:gd name="connsiteY3" fmla="*/ 0 h 257442"/>
                <a:gd name="connsiteX0" fmla="*/ 3631022 w 3631022"/>
                <a:gd name="connsiteY0" fmla="*/ 0 h 257442"/>
                <a:gd name="connsiteX1" fmla="*/ 3576300 w 3631022"/>
                <a:gd name="connsiteY1" fmla="*/ 257442 h 257442"/>
                <a:gd name="connsiteX2" fmla="*/ 0 w 3631022"/>
                <a:gd name="connsiteY2" fmla="*/ 257442 h 257442"/>
                <a:gd name="connsiteX3" fmla="*/ 1 w 3631022"/>
                <a:gd name="connsiteY3" fmla="*/ 0 h 257442"/>
                <a:gd name="connsiteX0" fmla="*/ 3631023 w 3631023"/>
                <a:gd name="connsiteY0" fmla="*/ 0 h 257442"/>
                <a:gd name="connsiteX1" fmla="*/ 3576301 w 3631023"/>
                <a:gd name="connsiteY1" fmla="*/ 257442 h 257442"/>
                <a:gd name="connsiteX2" fmla="*/ 0 w 3631023"/>
                <a:gd name="connsiteY2" fmla="*/ 257442 h 257442"/>
                <a:gd name="connsiteX3" fmla="*/ 2 w 3631023"/>
                <a:gd name="connsiteY3" fmla="*/ 0 h 257442"/>
                <a:gd name="connsiteX0" fmla="*/ 3631023 w 3631023"/>
                <a:gd name="connsiteY0" fmla="*/ 0 h 257442"/>
                <a:gd name="connsiteX1" fmla="*/ 3576301 w 3631023"/>
                <a:gd name="connsiteY1" fmla="*/ 257442 h 257442"/>
                <a:gd name="connsiteX2" fmla="*/ 0 w 3631023"/>
                <a:gd name="connsiteY2" fmla="*/ 257442 h 257442"/>
                <a:gd name="connsiteX3" fmla="*/ 1 w 3631023"/>
                <a:gd name="connsiteY3" fmla="*/ 0 h 257442"/>
                <a:gd name="connsiteX0" fmla="*/ 3799337 w 3799337"/>
                <a:gd name="connsiteY0" fmla="*/ 0 h 257442"/>
                <a:gd name="connsiteX1" fmla="*/ 3576301 w 3799337"/>
                <a:gd name="connsiteY1" fmla="*/ 257442 h 257442"/>
                <a:gd name="connsiteX2" fmla="*/ 0 w 3799337"/>
                <a:gd name="connsiteY2" fmla="*/ 257442 h 257442"/>
                <a:gd name="connsiteX3" fmla="*/ 1 w 3799337"/>
                <a:gd name="connsiteY3" fmla="*/ 0 h 257442"/>
                <a:gd name="connsiteX0" fmla="*/ 3799337 w 3799337"/>
                <a:gd name="connsiteY0" fmla="*/ 0 h 257442"/>
                <a:gd name="connsiteX1" fmla="*/ 3744616 w 3799337"/>
                <a:gd name="connsiteY1" fmla="*/ 257442 h 257442"/>
                <a:gd name="connsiteX2" fmla="*/ 0 w 3799337"/>
                <a:gd name="connsiteY2" fmla="*/ 257442 h 257442"/>
                <a:gd name="connsiteX3" fmla="*/ 1 w 3799337"/>
                <a:gd name="connsiteY3" fmla="*/ 0 h 257442"/>
                <a:gd name="connsiteX0" fmla="*/ 3799337 w 3799337"/>
                <a:gd name="connsiteY0" fmla="*/ 0 h 257442"/>
                <a:gd name="connsiteX1" fmla="*/ 3744616 w 3799337"/>
                <a:gd name="connsiteY1" fmla="*/ 257442 h 257442"/>
                <a:gd name="connsiteX2" fmla="*/ 0 w 3799337"/>
                <a:gd name="connsiteY2" fmla="*/ 257442 h 257442"/>
                <a:gd name="connsiteX3" fmla="*/ 1 w 3799337"/>
                <a:gd name="connsiteY3" fmla="*/ 0 h 257442"/>
                <a:gd name="connsiteX0" fmla="*/ 3799337 w 3799337"/>
                <a:gd name="connsiteY0" fmla="*/ 0 h 257442"/>
                <a:gd name="connsiteX1" fmla="*/ 3744616 w 3799337"/>
                <a:gd name="connsiteY1" fmla="*/ 257442 h 257442"/>
                <a:gd name="connsiteX2" fmla="*/ 0 w 3799337"/>
                <a:gd name="connsiteY2" fmla="*/ 257442 h 257442"/>
                <a:gd name="connsiteX3" fmla="*/ 0 w 3799337"/>
                <a:gd name="connsiteY3" fmla="*/ 0 h 257442"/>
                <a:gd name="connsiteX0" fmla="*/ 3953931 w 3953931"/>
                <a:gd name="connsiteY0" fmla="*/ 0 h 257442"/>
                <a:gd name="connsiteX1" fmla="*/ 3744616 w 3953931"/>
                <a:gd name="connsiteY1" fmla="*/ 257442 h 257442"/>
                <a:gd name="connsiteX2" fmla="*/ 0 w 3953931"/>
                <a:gd name="connsiteY2" fmla="*/ 257442 h 257442"/>
                <a:gd name="connsiteX3" fmla="*/ 0 w 3953931"/>
                <a:gd name="connsiteY3" fmla="*/ 0 h 257442"/>
                <a:gd name="connsiteX0" fmla="*/ 3953931 w 3953931"/>
                <a:gd name="connsiteY0" fmla="*/ 0 h 257442"/>
                <a:gd name="connsiteX1" fmla="*/ 3899210 w 3953931"/>
                <a:gd name="connsiteY1" fmla="*/ 257442 h 257442"/>
                <a:gd name="connsiteX2" fmla="*/ 0 w 3953931"/>
                <a:gd name="connsiteY2" fmla="*/ 257442 h 257442"/>
                <a:gd name="connsiteX3" fmla="*/ 0 w 3953931"/>
                <a:gd name="connsiteY3" fmla="*/ 0 h 257442"/>
                <a:gd name="connsiteX0" fmla="*/ 3953931 w 3953931"/>
                <a:gd name="connsiteY0" fmla="*/ 0 h 257442"/>
                <a:gd name="connsiteX1" fmla="*/ 3899210 w 3953931"/>
                <a:gd name="connsiteY1" fmla="*/ 257442 h 257442"/>
                <a:gd name="connsiteX2" fmla="*/ 0 w 3953931"/>
                <a:gd name="connsiteY2" fmla="*/ 257442 h 257442"/>
                <a:gd name="connsiteX3" fmla="*/ 0 w 3953931"/>
                <a:gd name="connsiteY3" fmla="*/ 0 h 257442"/>
                <a:gd name="connsiteX0" fmla="*/ 3953931 w 3953931"/>
                <a:gd name="connsiteY0" fmla="*/ 0 h 257442"/>
                <a:gd name="connsiteX1" fmla="*/ 3899210 w 3953931"/>
                <a:gd name="connsiteY1" fmla="*/ 257442 h 257442"/>
                <a:gd name="connsiteX2" fmla="*/ 0 w 3953931"/>
                <a:gd name="connsiteY2" fmla="*/ 257442 h 257442"/>
                <a:gd name="connsiteX3" fmla="*/ 0 w 3953931"/>
                <a:gd name="connsiteY3" fmla="*/ 0 h 257442"/>
                <a:gd name="connsiteX0" fmla="*/ 4052163 w 4052163"/>
                <a:gd name="connsiteY0" fmla="*/ 0 h 257442"/>
                <a:gd name="connsiteX1" fmla="*/ 3899210 w 4052163"/>
                <a:gd name="connsiteY1" fmla="*/ 257442 h 257442"/>
                <a:gd name="connsiteX2" fmla="*/ 0 w 4052163"/>
                <a:gd name="connsiteY2" fmla="*/ 257442 h 257442"/>
                <a:gd name="connsiteX3" fmla="*/ 0 w 4052163"/>
                <a:gd name="connsiteY3" fmla="*/ 0 h 257442"/>
                <a:gd name="connsiteX0" fmla="*/ 4052163 w 4052163"/>
                <a:gd name="connsiteY0" fmla="*/ 0 h 257442"/>
                <a:gd name="connsiteX1" fmla="*/ 3997442 w 4052163"/>
                <a:gd name="connsiteY1" fmla="*/ 257442 h 257442"/>
                <a:gd name="connsiteX2" fmla="*/ 0 w 4052163"/>
                <a:gd name="connsiteY2" fmla="*/ 257442 h 257442"/>
                <a:gd name="connsiteX3" fmla="*/ 0 w 4052163"/>
                <a:gd name="connsiteY3" fmla="*/ 0 h 257442"/>
                <a:gd name="connsiteX0" fmla="*/ 4052163 w 4052163"/>
                <a:gd name="connsiteY0" fmla="*/ 0 h 257442"/>
                <a:gd name="connsiteX1" fmla="*/ 3997442 w 4052163"/>
                <a:gd name="connsiteY1" fmla="*/ 257442 h 257442"/>
                <a:gd name="connsiteX2" fmla="*/ 0 w 4052163"/>
                <a:gd name="connsiteY2" fmla="*/ 257442 h 257442"/>
                <a:gd name="connsiteX3" fmla="*/ 0 w 4052163"/>
                <a:gd name="connsiteY3" fmla="*/ 0 h 257442"/>
                <a:gd name="connsiteX0" fmla="*/ 4052163 w 4052163"/>
                <a:gd name="connsiteY0" fmla="*/ 0 h 257442"/>
                <a:gd name="connsiteX1" fmla="*/ 3997442 w 4052163"/>
                <a:gd name="connsiteY1" fmla="*/ 257442 h 257442"/>
                <a:gd name="connsiteX2" fmla="*/ 0 w 4052163"/>
                <a:gd name="connsiteY2" fmla="*/ 257442 h 257442"/>
                <a:gd name="connsiteX3" fmla="*/ 0 w 4052163"/>
                <a:gd name="connsiteY3" fmla="*/ 0 h 257442"/>
                <a:gd name="connsiteX0" fmla="*/ 4220478 w 4220478"/>
                <a:gd name="connsiteY0" fmla="*/ 0 h 257442"/>
                <a:gd name="connsiteX1" fmla="*/ 3997442 w 4220478"/>
                <a:gd name="connsiteY1" fmla="*/ 257442 h 257442"/>
                <a:gd name="connsiteX2" fmla="*/ 0 w 4220478"/>
                <a:gd name="connsiteY2" fmla="*/ 257442 h 257442"/>
                <a:gd name="connsiteX3" fmla="*/ 0 w 4220478"/>
                <a:gd name="connsiteY3" fmla="*/ 0 h 257442"/>
                <a:gd name="connsiteX0" fmla="*/ 4220478 w 4220478"/>
                <a:gd name="connsiteY0" fmla="*/ 0 h 257442"/>
                <a:gd name="connsiteX1" fmla="*/ 4165756 w 4220478"/>
                <a:gd name="connsiteY1" fmla="*/ 257442 h 257442"/>
                <a:gd name="connsiteX2" fmla="*/ 0 w 4220478"/>
                <a:gd name="connsiteY2" fmla="*/ 257442 h 257442"/>
                <a:gd name="connsiteX3" fmla="*/ 0 w 4220478"/>
                <a:gd name="connsiteY3" fmla="*/ 0 h 257442"/>
                <a:gd name="connsiteX0" fmla="*/ 4220479 w 4220479"/>
                <a:gd name="connsiteY0" fmla="*/ 0 h 257442"/>
                <a:gd name="connsiteX1" fmla="*/ 4165757 w 4220479"/>
                <a:gd name="connsiteY1" fmla="*/ 257442 h 257442"/>
                <a:gd name="connsiteX2" fmla="*/ 0 w 4220479"/>
                <a:gd name="connsiteY2" fmla="*/ 257442 h 257442"/>
                <a:gd name="connsiteX3" fmla="*/ 1 w 4220479"/>
                <a:gd name="connsiteY3" fmla="*/ 0 h 257442"/>
                <a:gd name="connsiteX0" fmla="*/ 4220479 w 4220479"/>
                <a:gd name="connsiteY0" fmla="*/ 0 h 257442"/>
                <a:gd name="connsiteX1" fmla="*/ 4165757 w 4220479"/>
                <a:gd name="connsiteY1" fmla="*/ 257442 h 257442"/>
                <a:gd name="connsiteX2" fmla="*/ 0 w 4220479"/>
                <a:gd name="connsiteY2" fmla="*/ 257442 h 257442"/>
                <a:gd name="connsiteX3" fmla="*/ 1 w 4220479"/>
                <a:gd name="connsiteY3" fmla="*/ 0 h 257442"/>
                <a:gd name="connsiteX0" fmla="*/ 4388794 w 4388794"/>
                <a:gd name="connsiteY0" fmla="*/ 0 h 257442"/>
                <a:gd name="connsiteX1" fmla="*/ 4165757 w 4388794"/>
                <a:gd name="connsiteY1" fmla="*/ 257442 h 257442"/>
                <a:gd name="connsiteX2" fmla="*/ 0 w 4388794"/>
                <a:gd name="connsiteY2" fmla="*/ 257442 h 257442"/>
                <a:gd name="connsiteX3" fmla="*/ 1 w 4388794"/>
                <a:gd name="connsiteY3" fmla="*/ 0 h 257442"/>
                <a:gd name="connsiteX0" fmla="*/ 4388794 w 4388794"/>
                <a:gd name="connsiteY0" fmla="*/ 0 h 257442"/>
                <a:gd name="connsiteX1" fmla="*/ 4334072 w 4388794"/>
                <a:gd name="connsiteY1" fmla="*/ 257442 h 257442"/>
                <a:gd name="connsiteX2" fmla="*/ 0 w 4388794"/>
                <a:gd name="connsiteY2" fmla="*/ 257442 h 257442"/>
                <a:gd name="connsiteX3" fmla="*/ 1 w 4388794"/>
                <a:gd name="connsiteY3" fmla="*/ 0 h 257442"/>
                <a:gd name="connsiteX0" fmla="*/ 4388795 w 4388795"/>
                <a:gd name="connsiteY0" fmla="*/ 0 h 257442"/>
                <a:gd name="connsiteX1" fmla="*/ 4334073 w 4388795"/>
                <a:gd name="connsiteY1" fmla="*/ 257442 h 257442"/>
                <a:gd name="connsiteX2" fmla="*/ 0 w 4388795"/>
                <a:gd name="connsiteY2" fmla="*/ 257442 h 257442"/>
                <a:gd name="connsiteX3" fmla="*/ 2 w 4388795"/>
                <a:gd name="connsiteY3" fmla="*/ 0 h 257442"/>
                <a:gd name="connsiteX0" fmla="*/ 4388795 w 4388795"/>
                <a:gd name="connsiteY0" fmla="*/ 0 h 257442"/>
                <a:gd name="connsiteX1" fmla="*/ 4334073 w 4388795"/>
                <a:gd name="connsiteY1" fmla="*/ 257442 h 257442"/>
                <a:gd name="connsiteX2" fmla="*/ 0 w 4388795"/>
                <a:gd name="connsiteY2" fmla="*/ 257442 h 257442"/>
                <a:gd name="connsiteX3" fmla="*/ 1 w 4388795"/>
                <a:gd name="connsiteY3" fmla="*/ 0 h 257442"/>
                <a:gd name="connsiteX0" fmla="*/ 4549094 w 4549094"/>
                <a:gd name="connsiteY0" fmla="*/ 0 h 257442"/>
                <a:gd name="connsiteX1" fmla="*/ 4334073 w 4549094"/>
                <a:gd name="connsiteY1" fmla="*/ 257442 h 257442"/>
                <a:gd name="connsiteX2" fmla="*/ 0 w 4549094"/>
                <a:gd name="connsiteY2" fmla="*/ 257442 h 257442"/>
                <a:gd name="connsiteX3" fmla="*/ 1 w 4549094"/>
                <a:gd name="connsiteY3" fmla="*/ 0 h 257442"/>
                <a:gd name="connsiteX0" fmla="*/ 4549094 w 4549094"/>
                <a:gd name="connsiteY0" fmla="*/ 0 h 257442"/>
                <a:gd name="connsiteX1" fmla="*/ 4494372 w 4549094"/>
                <a:gd name="connsiteY1" fmla="*/ 257442 h 257442"/>
                <a:gd name="connsiteX2" fmla="*/ 0 w 4549094"/>
                <a:gd name="connsiteY2" fmla="*/ 257442 h 257442"/>
                <a:gd name="connsiteX3" fmla="*/ 1 w 4549094"/>
                <a:gd name="connsiteY3" fmla="*/ 0 h 257442"/>
                <a:gd name="connsiteX0" fmla="*/ 4549095 w 4549095"/>
                <a:gd name="connsiteY0" fmla="*/ 0 h 257442"/>
                <a:gd name="connsiteX1" fmla="*/ 4494373 w 4549095"/>
                <a:gd name="connsiteY1" fmla="*/ 257442 h 257442"/>
                <a:gd name="connsiteX2" fmla="*/ 0 w 4549095"/>
                <a:gd name="connsiteY2" fmla="*/ 257442 h 257442"/>
                <a:gd name="connsiteX3" fmla="*/ 2 w 4549095"/>
                <a:gd name="connsiteY3" fmla="*/ 0 h 257442"/>
                <a:gd name="connsiteX0" fmla="*/ 4549095 w 4549095"/>
                <a:gd name="connsiteY0" fmla="*/ 0 h 257442"/>
                <a:gd name="connsiteX1" fmla="*/ 4494373 w 4549095"/>
                <a:gd name="connsiteY1" fmla="*/ 257442 h 257442"/>
                <a:gd name="connsiteX2" fmla="*/ 0 w 4549095"/>
                <a:gd name="connsiteY2" fmla="*/ 257442 h 257442"/>
                <a:gd name="connsiteX3" fmla="*/ 1 w 4549095"/>
                <a:gd name="connsiteY3" fmla="*/ 0 h 257442"/>
                <a:gd name="connsiteX0" fmla="*/ 4701379 w 4701379"/>
                <a:gd name="connsiteY0" fmla="*/ 0 h 257442"/>
                <a:gd name="connsiteX1" fmla="*/ 4494373 w 4701379"/>
                <a:gd name="connsiteY1" fmla="*/ 257442 h 257442"/>
                <a:gd name="connsiteX2" fmla="*/ 0 w 4701379"/>
                <a:gd name="connsiteY2" fmla="*/ 257442 h 257442"/>
                <a:gd name="connsiteX3" fmla="*/ 1 w 4701379"/>
                <a:gd name="connsiteY3" fmla="*/ 0 h 257442"/>
                <a:gd name="connsiteX0" fmla="*/ 4701379 w 4701379"/>
                <a:gd name="connsiteY0" fmla="*/ 0 h 257442"/>
                <a:gd name="connsiteX1" fmla="*/ 4646658 w 4701379"/>
                <a:gd name="connsiteY1" fmla="*/ 257442 h 257442"/>
                <a:gd name="connsiteX2" fmla="*/ 0 w 4701379"/>
                <a:gd name="connsiteY2" fmla="*/ 257442 h 257442"/>
                <a:gd name="connsiteX3" fmla="*/ 1 w 4701379"/>
                <a:gd name="connsiteY3" fmla="*/ 0 h 257442"/>
                <a:gd name="connsiteX0" fmla="*/ 4701379 w 4701379"/>
                <a:gd name="connsiteY0" fmla="*/ 0 h 257442"/>
                <a:gd name="connsiteX1" fmla="*/ 4646658 w 4701379"/>
                <a:gd name="connsiteY1" fmla="*/ 257442 h 257442"/>
                <a:gd name="connsiteX2" fmla="*/ 0 w 4701379"/>
                <a:gd name="connsiteY2" fmla="*/ 257442 h 257442"/>
                <a:gd name="connsiteX3" fmla="*/ 1 w 4701379"/>
                <a:gd name="connsiteY3" fmla="*/ 0 h 257442"/>
                <a:gd name="connsiteX0" fmla="*/ 4701379 w 4701379"/>
                <a:gd name="connsiteY0" fmla="*/ 0 h 257442"/>
                <a:gd name="connsiteX1" fmla="*/ 4646658 w 4701379"/>
                <a:gd name="connsiteY1" fmla="*/ 257442 h 257442"/>
                <a:gd name="connsiteX2" fmla="*/ 0 w 4701379"/>
                <a:gd name="connsiteY2" fmla="*/ 257442 h 257442"/>
                <a:gd name="connsiteX3" fmla="*/ 0 w 4701379"/>
                <a:gd name="connsiteY3" fmla="*/ 0 h 257442"/>
                <a:gd name="connsiteX0" fmla="*/ 4876555 w 4876555"/>
                <a:gd name="connsiteY0" fmla="*/ 0 h 257442"/>
                <a:gd name="connsiteX1" fmla="*/ 4646658 w 4876555"/>
                <a:gd name="connsiteY1" fmla="*/ 257442 h 257442"/>
                <a:gd name="connsiteX2" fmla="*/ 0 w 4876555"/>
                <a:gd name="connsiteY2" fmla="*/ 257442 h 257442"/>
                <a:gd name="connsiteX3" fmla="*/ 0 w 4876555"/>
                <a:gd name="connsiteY3" fmla="*/ 0 h 257442"/>
                <a:gd name="connsiteX0" fmla="*/ 4876555 w 4876555"/>
                <a:gd name="connsiteY0" fmla="*/ 0 h 257442"/>
                <a:gd name="connsiteX1" fmla="*/ 4821834 w 4876555"/>
                <a:gd name="connsiteY1" fmla="*/ 257442 h 257442"/>
                <a:gd name="connsiteX2" fmla="*/ 0 w 4876555"/>
                <a:gd name="connsiteY2" fmla="*/ 257442 h 257442"/>
                <a:gd name="connsiteX3" fmla="*/ 0 w 4876555"/>
                <a:gd name="connsiteY3" fmla="*/ 0 h 257442"/>
                <a:gd name="connsiteX0" fmla="*/ 4876555 w 4876555"/>
                <a:gd name="connsiteY0" fmla="*/ 0 h 257442"/>
                <a:gd name="connsiteX1" fmla="*/ 4821834 w 4876555"/>
                <a:gd name="connsiteY1" fmla="*/ 257442 h 257442"/>
                <a:gd name="connsiteX2" fmla="*/ 0 w 4876555"/>
                <a:gd name="connsiteY2" fmla="*/ 257442 h 257442"/>
                <a:gd name="connsiteX3" fmla="*/ 0 w 4876555"/>
                <a:gd name="connsiteY3" fmla="*/ 0 h 257442"/>
                <a:gd name="connsiteX0" fmla="*/ 4876555 w 4876555"/>
                <a:gd name="connsiteY0" fmla="*/ 0 h 257442"/>
                <a:gd name="connsiteX1" fmla="*/ 4821834 w 4876555"/>
                <a:gd name="connsiteY1" fmla="*/ 257442 h 257442"/>
                <a:gd name="connsiteX2" fmla="*/ 0 w 4876555"/>
                <a:gd name="connsiteY2" fmla="*/ 257442 h 257442"/>
                <a:gd name="connsiteX3" fmla="*/ 0 w 4876555"/>
                <a:gd name="connsiteY3" fmla="*/ 0 h 257442"/>
                <a:gd name="connsiteX0" fmla="*/ 5062503 w 5062503"/>
                <a:gd name="connsiteY0" fmla="*/ 0 h 257442"/>
                <a:gd name="connsiteX1" fmla="*/ 4821834 w 5062503"/>
                <a:gd name="connsiteY1" fmla="*/ 257442 h 257442"/>
                <a:gd name="connsiteX2" fmla="*/ 0 w 5062503"/>
                <a:gd name="connsiteY2" fmla="*/ 257442 h 257442"/>
                <a:gd name="connsiteX3" fmla="*/ 0 w 5062503"/>
                <a:gd name="connsiteY3" fmla="*/ 0 h 257442"/>
                <a:gd name="connsiteX0" fmla="*/ 5062503 w 5062503"/>
                <a:gd name="connsiteY0" fmla="*/ 0 h 257442"/>
                <a:gd name="connsiteX1" fmla="*/ 5007782 w 5062503"/>
                <a:gd name="connsiteY1" fmla="*/ 257442 h 257442"/>
                <a:gd name="connsiteX2" fmla="*/ 0 w 5062503"/>
                <a:gd name="connsiteY2" fmla="*/ 257442 h 257442"/>
                <a:gd name="connsiteX3" fmla="*/ 0 w 5062503"/>
                <a:gd name="connsiteY3" fmla="*/ 0 h 257442"/>
                <a:gd name="connsiteX0" fmla="*/ 5062503 w 5062503"/>
                <a:gd name="connsiteY0" fmla="*/ 0 h 257442"/>
                <a:gd name="connsiteX1" fmla="*/ 5007782 w 5062503"/>
                <a:gd name="connsiteY1" fmla="*/ 257442 h 257442"/>
                <a:gd name="connsiteX2" fmla="*/ 0 w 5062503"/>
                <a:gd name="connsiteY2" fmla="*/ 257442 h 257442"/>
                <a:gd name="connsiteX3" fmla="*/ 0 w 5062503"/>
                <a:gd name="connsiteY3" fmla="*/ 0 h 257442"/>
                <a:gd name="connsiteX0" fmla="*/ 5062503 w 5062503"/>
                <a:gd name="connsiteY0" fmla="*/ 0 h 257442"/>
                <a:gd name="connsiteX1" fmla="*/ 5007782 w 5062503"/>
                <a:gd name="connsiteY1" fmla="*/ 257442 h 257442"/>
                <a:gd name="connsiteX2" fmla="*/ 0 w 5062503"/>
                <a:gd name="connsiteY2" fmla="*/ 257442 h 257442"/>
                <a:gd name="connsiteX3" fmla="*/ 0 w 5062503"/>
                <a:gd name="connsiteY3" fmla="*/ 0 h 257442"/>
                <a:gd name="connsiteX0" fmla="*/ 5222803 w 5222803"/>
                <a:gd name="connsiteY0" fmla="*/ 0 h 257442"/>
                <a:gd name="connsiteX1" fmla="*/ 5007782 w 5222803"/>
                <a:gd name="connsiteY1" fmla="*/ 257442 h 257442"/>
                <a:gd name="connsiteX2" fmla="*/ 0 w 5222803"/>
                <a:gd name="connsiteY2" fmla="*/ 257442 h 257442"/>
                <a:gd name="connsiteX3" fmla="*/ 0 w 5222803"/>
                <a:gd name="connsiteY3" fmla="*/ 0 h 257442"/>
                <a:gd name="connsiteX0" fmla="*/ 5222803 w 5222803"/>
                <a:gd name="connsiteY0" fmla="*/ 0 h 257442"/>
                <a:gd name="connsiteX1" fmla="*/ 5168082 w 5222803"/>
                <a:gd name="connsiteY1" fmla="*/ 257442 h 257442"/>
                <a:gd name="connsiteX2" fmla="*/ 0 w 5222803"/>
                <a:gd name="connsiteY2" fmla="*/ 257442 h 257442"/>
                <a:gd name="connsiteX3" fmla="*/ 0 w 5222803"/>
                <a:gd name="connsiteY3" fmla="*/ 0 h 257442"/>
                <a:gd name="connsiteX0" fmla="*/ 5222803 w 5222803"/>
                <a:gd name="connsiteY0" fmla="*/ 0 h 257442"/>
                <a:gd name="connsiteX1" fmla="*/ 5168082 w 5222803"/>
                <a:gd name="connsiteY1" fmla="*/ 257442 h 257442"/>
                <a:gd name="connsiteX2" fmla="*/ 0 w 5222803"/>
                <a:gd name="connsiteY2" fmla="*/ 257442 h 257442"/>
                <a:gd name="connsiteX3" fmla="*/ 0 w 5222803"/>
                <a:gd name="connsiteY3" fmla="*/ 0 h 257442"/>
                <a:gd name="connsiteX0" fmla="*/ 5222803 w 5222803"/>
                <a:gd name="connsiteY0" fmla="*/ 0 h 257442"/>
                <a:gd name="connsiteX1" fmla="*/ 5168082 w 5222803"/>
                <a:gd name="connsiteY1" fmla="*/ 257442 h 257442"/>
                <a:gd name="connsiteX2" fmla="*/ 0 w 5222803"/>
                <a:gd name="connsiteY2" fmla="*/ 257442 h 257442"/>
                <a:gd name="connsiteX3" fmla="*/ 0 w 5222803"/>
                <a:gd name="connsiteY3" fmla="*/ 0 h 257442"/>
                <a:gd name="connsiteX0" fmla="*/ 5391119 w 5391119"/>
                <a:gd name="connsiteY0" fmla="*/ 0 h 257442"/>
                <a:gd name="connsiteX1" fmla="*/ 5168082 w 5391119"/>
                <a:gd name="connsiteY1" fmla="*/ 257442 h 257442"/>
                <a:gd name="connsiteX2" fmla="*/ 0 w 5391119"/>
                <a:gd name="connsiteY2" fmla="*/ 257442 h 257442"/>
                <a:gd name="connsiteX3" fmla="*/ 0 w 5391119"/>
                <a:gd name="connsiteY3" fmla="*/ 0 h 257442"/>
                <a:gd name="connsiteX0" fmla="*/ 5391119 w 5391119"/>
                <a:gd name="connsiteY0" fmla="*/ 0 h 257442"/>
                <a:gd name="connsiteX1" fmla="*/ 5336398 w 5391119"/>
                <a:gd name="connsiteY1" fmla="*/ 257442 h 257442"/>
                <a:gd name="connsiteX2" fmla="*/ 0 w 5391119"/>
                <a:gd name="connsiteY2" fmla="*/ 257442 h 257442"/>
                <a:gd name="connsiteX3" fmla="*/ 0 w 5391119"/>
                <a:gd name="connsiteY3" fmla="*/ 0 h 257442"/>
                <a:gd name="connsiteX0" fmla="*/ 5391119 w 5391119"/>
                <a:gd name="connsiteY0" fmla="*/ 0 h 257442"/>
                <a:gd name="connsiteX1" fmla="*/ 5336398 w 5391119"/>
                <a:gd name="connsiteY1" fmla="*/ 257442 h 257442"/>
                <a:gd name="connsiteX2" fmla="*/ 0 w 5391119"/>
                <a:gd name="connsiteY2" fmla="*/ 257442 h 257442"/>
                <a:gd name="connsiteX3" fmla="*/ 0 w 5391119"/>
                <a:gd name="connsiteY3" fmla="*/ 0 h 257442"/>
                <a:gd name="connsiteX0" fmla="*/ 5391119 w 5391119"/>
                <a:gd name="connsiteY0" fmla="*/ 0 h 257442"/>
                <a:gd name="connsiteX1" fmla="*/ 5336398 w 5391119"/>
                <a:gd name="connsiteY1" fmla="*/ 257442 h 257442"/>
                <a:gd name="connsiteX2" fmla="*/ 0 w 5391119"/>
                <a:gd name="connsiteY2" fmla="*/ 257442 h 257442"/>
                <a:gd name="connsiteX3" fmla="*/ 0 w 5391119"/>
                <a:gd name="connsiteY3" fmla="*/ 0 h 257442"/>
                <a:gd name="connsiteX0" fmla="*/ 5492108 w 5492108"/>
                <a:gd name="connsiteY0" fmla="*/ 0 h 257442"/>
                <a:gd name="connsiteX1" fmla="*/ 5336398 w 5492108"/>
                <a:gd name="connsiteY1" fmla="*/ 257442 h 257442"/>
                <a:gd name="connsiteX2" fmla="*/ 0 w 5492108"/>
                <a:gd name="connsiteY2" fmla="*/ 257442 h 257442"/>
                <a:gd name="connsiteX3" fmla="*/ 0 w 5492108"/>
                <a:gd name="connsiteY3" fmla="*/ 0 h 257442"/>
                <a:gd name="connsiteX0" fmla="*/ 5492108 w 5492108"/>
                <a:gd name="connsiteY0" fmla="*/ 0 h 257442"/>
                <a:gd name="connsiteX1" fmla="*/ 5437386 w 5492108"/>
                <a:gd name="connsiteY1" fmla="*/ 257442 h 257442"/>
                <a:gd name="connsiteX2" fmla="*/ 0 w 5492108"/>
                <a:gd name="connsiteY2" fmla="*/ 257442 h 257442"/>
                <a:gd name="connsiteX3" fmla="*/ 0 w 5492108"/>
                <a:gd name="connsiteY3" fmla="*/ 0 h 257442"/>
                <a:gd name="connsiteX0" fmla="*/ 5492109 w 5492109"/>
                <a:gd name="connsiteY0" fmla="*/ 0 h 257442"/>
                <a:gd name="connsiteX1" fmla="*/ 5437387 w 5492109"/>
                <a:gd name="connsiteY1" fmla="*/ 257442 h 257442"/>
                <a:gd name="connsiteX2" fmla="*/ 0 w 5492109"/>
                <a:gd name="connsiteY2" fmla="*/ 257442 h 257442"/>
                <a:gd name="connsiteX3" fmla="*/ 1 w 5492109"/>
                <a:gd name="connsiteY3" fmla="*/ 0 h 257442"/>
                <a:gd name="connsiteX0" fmla="*/ 5492109 w 5492109"/>
                <a:gd name="connsiteY0" fmla="*/ 0 h 257442"/>
                <a:gd name="connsiteX1" fmla="*/ 5437387 w 5492109"/>
                <a:gd name="connsiteY1" fmla="*/ 257442 h 257442"/>
                <a:gd name="connsiteX2" fmla="*/ 0 w 5492109"/>
                <a:gd name="connsiteY2" fmla="*/ 257442 h 257442"/>
                <a:gd name="connsiteX3" fmla="*/ 1 w 5492109"/>
                <a:gd name="connsiteY3" fmla="*/ 0 h 257442"/>
                <a:gd name="connsiteX0" fmla="*/ 5660424 w 5660424"/>
                <a:gd name="connsiteY0" fmla="*/ 0 h 257442"/>
                <a:gd name="connsiteX1" fmla="*/ 5437387 w 5660424"/>
                <a:gd name="connsiteY1" fmla="*/ 257442 h 257442"/>
                <a:gd name="connsiteX2" fmla="*/ 0 w 5660424"/>
                <a:gd name="connsiteY2" fmla="*/ 257442 h 257442"/>
                <a:gd name="connsiteX3" fmla="*/ 1 w 5660424"/>
                <a:gd name="connsiteY3" fmla="*/ 0 h 257442"/>
                <a:gd name="connsiteX0" fmla="*/ 5660424 w 5660424"/>
                <a:gd name="connsiteY0" fmla="*/ 0 h 257442"/>
                <a:gd name="connsiteX1" fmla="*/ 5605702 w 5660424"/>
                <a:gd name="connsiteY1" fmla="*/ 257442 h 257442"/>
                <a:gd name="connsiteX2" fmla="*/ 0 w 5660424"/>
                <a:gd name="connsiteY2" fmla="*/ 257442 h 257442"/>
                <a:gd name="connsiteX3" fmla="*/ 1 w 5660424"/>
                <a:gd name="connsiteY3" fmla="*/ 0 h 257442"/>
                <a:gd name="connsiteX0" fmla="*/ 5660425 w 5660425"/>
                <a:gd name="connsiteY0" fmla="*/ 0 h 257442"/>
                <a:gd name="connsiteX1" fmla="*/ 5605703 w 5660425"/>
                <a:gd name="connsiteY1" fmla="*/ 257442 h 257442"/>
                <a:gd name="connsiteX2" fmla="*/ 0 w 5660425"/>
                <a:gd name="connsiteY2" fmla="*/ 257442 h 257442"/>
                <a:gd name="connsiteX3" fmla="*/ 2 w 5660425"/>
                <a:gd name="connsiteY3" fmla="*/ 0 h 257442"/>
                <a:gd name="connsiteX0" fmla="*/ 5660425 w 5660425"/>
                <a:gd name="connsiteY0" fmla="*/ 0 h 257442"/>
                <a:gd name="connsiteX1" fmla="*/ 5605703 w 5660425"/>
                <a:gd name="connsiteY1" fmla="*/ 257442 h 257442"/>
                <a:gd name="connsiteX2" fmla="*/ 0 w 5660425"/>
                <a:gd name="connsiteY2" fmla="*/ 257442 h 257442"/>
                <a:gd name="connsiteX3" fmla="*/ 1 w 5660425"/>
                <a:gd name="connsiteY3" fmla="*/ 0 h 257442"/>
                <a:gd name="connsiteX0" fmla="*/ 5838357 w 5838357"/>
                <a:gd name="connsiteY0" fmla="*/ 0 h 257442"/>
                <a:gd name="connsiteX1" fmla="*/ 5605703 w 5838357"/>
                <a:gd name="connsiteY1" fmla="*/ 257442 h 257442"/>
                <a:gd name="connsiteX2" fmla="*/ 0 w 5838357"/>
                <a:gd name="connsiteY2" fmla="*/ 257442 h 257442"/>
                <a:gd name="connsiteX3" fmla="*/ 1 w 5838357"/>
                <a:gd name="connsiteY3" fmla="*/ 0 h 257442"/>
                <a:gd name="connsiteX0" fmla="*/ 5838357 w 5838357"/>
                <a:gd name="connsiteY0" fmla="*/ 0 h 257442"/>
                <a:gd name="connsiteX1" fmla="*/ 5783636 w 5838357"/>
                <a:gd name="connsiteY1" fmla="*/ 257442 h 257442"/>
                <a:gd name="connsiteX2" fmla="*/ 0 w 5838357"/>
                <a:gd name="connsiteY2" fmla="*/ 257442 h 257442"/>
                <a:gd name="connsiteX3" fmla="*/ 1 w 5838357"/>
                <a:gd name="connsiteY3" fmla="*/ 0 h 257442"/>
                <a:gd name="connsiteX0" fmla="*/ 5838357 w 5838357"/>
                <a:gd name="connsiteY0" fmla="*/ 0 h 257442"/>
                <a:gd name="connsiteX1" fmla="*/ 5783636 w 5838357"/>
                <a:gd name="connsiteY1" fmla="*/ 257442 h 257442"/>
                <a:gd name="connsiteX2" fmla="*/ 0 w 5838357"/>
                <a:gd name="connsiteY2" fmla="*/ 257442 h 257442"/>
                <a:gd name="connsiteX3" fmla="*/ 1 w 5838357"/>
                <a:gd name="connsiteY3" fmla="*/ 0 h 257442"/>
                <a:gd name="connsiteX0" fmla="*/ 5838357 w 5838357"/>
                <a:gd name="connsiteY0" fmla="*/ 0 h 257442"/>
                <a:gd name="connsiteX1" fmla="*/ 5783636 w 5838357"/>
                <a:gd name="connsiteY1" fmla="*/ 257442 h 257442"/>
                <a:gd name="connsiteX2" fmla="*/ 0 w 5838357"/>
                <a:gd name="connsiteY2" fmla="*/ 257442 h 257442"/>
                <a:gd name="connsiteX3" fmla="*/ 0 w 5838357"/>
                <a:gd name="connsiteY3" fmla="*/ 0 h 257442"/>
                <a:gd name="connsiteX0" fmla="*/ 6006672 w 6006672"/>
                <a:gd name="connsiteY0" fmla="*/ 0 h 257442"/>
                <a:gd name="connsiteX1" fmla="*/ 5783636 w 6006672"/>
                <a:gd name="connsiteY1" fmla="*/ 257442 h 257442"/>
                <a:gd name="connsiteX2" fmla="*/ 0 w 6006672"/>
                <a:gd name="connsiteY2" fmla="*/ 257442 h 257442"/>
                <a:gd name="connsiteX3" fmla="*/ 0 w 6006672"/>
                <a:gd name="connsiteY3" fmla="*/ 0 h 257442"/>
                <a:gd name="connsiteX0" fmla="*/ 6006672 w 6006672"/>
                <a:gd name="connsiteY0" fmla="*/ 0 h 257442"/>
                <a:gd name="connsiteX1" fmla="*/ 5951950 w 6006672"/>
                <a:gd name="connsiteY1" fmla="*/ 257442 h 257442"/>
                <a:gd name="connsiteX2" fmla="*/ 0 w 6006672"/>
                <a:gd name="connsiteY2" fmla="*/ 257442 h 257442"/>
                <a:gd name="connsiteX3" fmla="*/ 0 w 6006672"/>
                <a:gd name="connsiteY3" fmla="*/ 0 h 257442"/>
                <a:gd name="connsiteX0" fmla="*/ 6006673 w 6006673"/>
                <a:gd name="connsiteY0" fmla="*/ 0 h 257442"/>
                <a:gd name="connsiteX1" fmla="*/ 5951951 w 6006673"/>
                <a:gd name="connsiteY1" fmla="*/ 257442 h 257442"/>
                <a:gd name="connsiteX2" fmla="*/ 0 w 6006673"/>
                <a:gd name="connsiteY2" fmla="*/ 257442 h 257442"/>
                <a:gd name="connsiteX3" fmla="*/ 1 w 6006673"/>
                <a:gd name="connsiteY3" fmla="*/ 0 h 257442"/>
                <a:gd name="connsiteX0" fmla="*/ 6006673 w 6006673"/>
                <a:gd name="connsiteY0" fmla="*/ 0 h 257442"/>
                <a:gd name="connsiteX1" fmla="*/ 5951951 w 6006673"/>
                <a:gd name="connsiteY1" fmla="*/ 257442 h 257442"/>
                <a:gd name="connsiteX2" fmla="*/ 0 w 6006673"/>
                <a:gd name="connsiteY2" fmla="*/ 257442 h 257442"/>
                <a:gd name="connsiteX3" fmla="*/ 1 w 6006673"/>
                <a:gd name="connsiteY3" fmla="*/ 0 h 257442"/>
                <a:gd name="connsiteX0" fmla="*/ 6174987 w 6174987"/>
                <a:gd name="connsiteY0" fmla="*/ 0 h 257442"/>
                <a:gd name="connsiteX1" fmla="*/ 5951951 w 6174987"/>
                <a:gd name="connsiteY1" fmla="*/ 257442 h 257442"/>
                <a:gd name="connsiteX2" fmla="*/ 0 w 6174987"/>
                <a:gd name="connsiteY2" fmla="*/ 257442 h 257442"/>
                <a:gd name="connsiteX3" fmla="*/ 1 w 6174987"/>
                <a:gd name="connsiteY3" fmla="*/ 0 h 257442"/>
                <a:gd name="connsiteX0" fmla="*/ 6174987 w 6174987"/>
                <a:gd name="connsiteY0" fmla="*/ 0 h 257442"/>
                <a:gd name="connsiteX1" fmla="*/ 6120266 w 6174987"/>
                <a:gd name="connsiteY1" fmla="*/ 257442 h 257442"/>
                <a:gd name="connsiteX2" fmla="*/ 0 w 6174987"/>
                <a:gd name="connsiteY2" fmla="*/ 257442 h 257442"/>
                <a:gd name="connsiteX3" fmla="*/ 1 w 6174987"/>
                <a:gd name="connsiteY3" fmla="*/ 0 h 257442"/>
                <a:gd name="connsiteX0" fmla="*/ 6174987 w 6174987"/>
                <a:gd name="connsiteY0" fmla="*/ 0 h 257442"/>
                <a:gd name="connsiteX1" fmla="*/ 6120266 w 6174987"/>
                <a:gd name="connsiteY1" fmla="*/ 257442 h 257442"/>
                <a:gd name="connsiteX2" fmla="*/ 0 w 6174987"/>
                <a:gd name="connsiteY2" fmla="*/ 257442 h 257442"/>
                <a:gd name="connsiteX3" fmla="*/ 1 w 6174987"/>
                <a:gd name="connsiteY3" fmla="*/ 0 h 257442"/>
                <a:gd name="connsiteX0" fmla="*/ 6174987 w 6174987"/>
                <a:gd name="connsiteY0" fmla="*/ 0 h 257442"/>
                <a:gd name="connsiteX1" fmla="*/ 6120266 w 6174987"/>
                <a:gd name="connsiteY1" fmla="*/ 257442 h 257442"/>
                <a:gd name="connsiteX2" fmla="*/ 0 w 6174987"/>
                <a:gd name="connsiteY2" fmla="*/ 257442 h 257442"/>
                <a:gd name="connsiteX3" fmla="*/ 0 w 6174987"/>
                <a:gd name="connsiteY3" fmla="*/ 0 h 257442"/>
                <a:gd name="connsiteX0" fmla="*/ 6327273 w 6327273"/>
                <a:gd name="connsiteY0" fmla="*/ 0 h 257442"/>
                <a:gd name="connsiteX1" fmla="*/ 6120266 w 6327273"/>
                <a:gd name="connsiteY1" fmla="*/ 257442 h 257442"/>
                <a:gd name="connsiteX2" fmla="*/ 0 w 6327273"/>
                <a:gd name="connsiteY2" fmla="*/ 257442 h 257442"/>
                <a:gd name="connsiteX3" fmla="*/ 0 w 6327273"/>
                <a:gd name="connsiteY3" fmla="*/ 0 h 257442"/>
                <a:gd name="connsiteX0" fmla="*/ 6327273 w 6327273"/>
                <a:gd name="connsiteY0" fmla="*/ 0 h 257442"/>
                <a:gd name="connsiteX1" fmla="*/ 6272552 w 6327273"/>
                <a:gd name="connsiteY1" fmla="*/ 257442 h 257442"/>
                <a:gd name="connsiteX2" fmla="*/ 0 w 6327273"/>
                <a:gd name="connsiteY2" fmla="*/ 257442 h 257442"/>
                <a:gd name="connsiteX3" fmla="*/ 0 w 6327273"/>
                <a:gd name="connsiteY3" fmla="*/ 0 h 257442"/>
                <a:gd name="connsiteX0" fmla="*/ 6327273 w 6327273"/>
                <a:gd name="connsiteY0" fmla="*/ 0 h 257442"/>
                <a:gd name="connsiteX1" fmla="*/ 6272552 w 6327273"/>
                <a:gd name="connsiteY1" fmla="*/ 257442 h 257442"/>
                <a:gd name="connsiteX2" fmla="*/ 0 w 6327273"/>
                <a:gd name="connsiteY2" fmla="*/ 257442 h 257442"/>
                <a:gd name="connsiteX3" fmla="*/ 0 w 6327273"/>
                <a:gd name="connsiteY3" fmla="*/ 0 h 257442"/>
                <a:gd name="connsiteX0" fmla="*/ 6327273 w 6327273"/>
                <a:gd name="connsiteY0" fmla="*/ 0 h 257442"/>
                <a:gd name="connsiteX1" fmla="*/ 6272552 w 6327273"/>
                <a:gd name="connsiteY1" fmla="*/ 257442 h 257442"/>
                <a:gd name="connsiteX2" fmla="*/ 0 w 6327273"/>
                <a:gd name="connsiteY2" fmla="*/ 257442 h 257442"/>
                <a:gd name="connsiteX3" fmla="*/ 0 w 6327273"/>
                <a:gd name="connsiteY3" fmla="*/ 0 h 257442"/>
                <a:gd name="connsiteX0" fmla="*/ 6428262 w 6428262"/>
                <a:gd name="connsiteY0" fmla="*/ 0 h 257442"/>
                <a:gd name="connsiteX1" fmla="*/ 6272552 w 6428262"/>
                <a:gd name="connsiteY1" fmla="*/ 257442 h 257442"/>
                <a:gd name="connsiteX2" fmla="*/ 0 w 6428262"/>
                <a:gd name="connsiteY2" fmla="*/ 257442 h 257442"/>
                <a:gd name="connsiteX3" fmla="*/ 0 w 6428262"/>
                <a:gd name="connsiteY3" fmla="*/ 0 h 257442"/>
                <a:gd name="connsiteX0" fmla="*/ 6428262 w 6428262"/>
                <a:gd name="connsiteY0" fmla="*/ 0 h 257442"/>
                <a:gd name="connsiteX1" fmla="*/ 6373540 w 6428262"/>
                <a:gd name="connsiteY1" fmla="*/ 257442 h 257442"/>
                <a:gd name="connsiteX2" fmla="*/ 0 w 6428262"/>
                <a:gd name="connsiteY2" fmla="*/ 257442 h 257442"/>
                <a:gd name="connsiteX3" fmla="*/ 0 w 6428262"/>
                <a:gd name="connsiteY3" fmla="*/ 0 h 257442"/>
                <a:gd name="connsiteX0" fmla="*/ 6428263 w 6428263"/>
                <a:gd name="connsiteY0" fmla="*/ 0 h 257442"/>
                <a:gd name="connsiteX1" fmla="*/ 6373541 w 6428263"/>
                <a:gd name="connsiteY1" fmla="*/ 257442 h 257442"/>
                <a:gd name="connsiteX2" fmla="*/ 0 w 6428263"/>
                <a:gd name="connsiteY2" fmla="*/ 257442 h 257442"/>
                <a:gd name="connsiteX3" fmla="*/ 1 w 6428263"/>
                <a:gd name="connsiteY3" fmla="*/ 0 h 257442"/>
                <a:gd name="connsiteX0" fmla="*/ 6428263 w 6428263"/>
                <a:gd name="connsiteY0" fmla="*/ 0 h 257442"/>
                <a:gd name="connsiteX1" fmla="*/ 6373541 w 6428263"/>
                <a:gd name="connsiteY1" fmla="*/ 257442 h 257442"/>
                <a:gd name="connsiteX2" fmla="*/ 0 w 6428263"/>
                <a:gd name="connsiteY2" fmla="*/ 257442 h 257442"/>
                <a:gd name="connsiteX3" fmla="*/ 1 w 6428263"/>
                <a:gd name="connsiteY3" fmla="*/ 0 h 257442"/>
                <a:gd name="connsiteX0" fmla="*/ 5323793 w 6373541"/>
                <a:gd name="connsiteY0" fmla="*/ 0 h 257442"/>
                <a:gd name="connsiteX1" fmla="*/ 6373541 w 6373541"/>
                <a:gd name="connsiteY1" fmla="*/ 257442 h 257442"/>
                <a:gd name="connsiteX2" fmla="*/ 0 w 6373541"/>
                <a:gd name="connsiteY2" fmla="*/ 257442 h 257442"/>
                <a:gd name="connsiteX3" fmla="*/ 1 w 6373541"/>
                <a:gd name="connsiteY3" fmla="*/ 0 h 257442"/>
                <a:gd name="connsiteX0" fmla="*/ 5323793 w 5323793"/>
                <a:gd name="connsiteY0" fmla="*/ 0 h 257442"/>
                <a:gd name="connsiteX1" fmla="*/ 5269072 w 5323793"/>
                <a:gd name="connsiteY1" fmla="*/ 257442 h 257442"/>
                <a:gd name="connsiteX2" fmla="*/ 0 w 5323793"/>
                <a:gd name="connsiteY2" fmla="*/ 257442 h 257442"/>
                <a:gd name="connsiteX3" fmla="*/ 1 w 5323793"/>
                <a:gd name="connsiteY3" fmla="*/ 0 h 257442"/>
                <a:gd name="connsiteX0" fmla="*/ 5323793 w 5323793"/>
                <a:gd name="connsiteY0" fmla="*/ 0 h 257442"/>
                <a:gd name="connsiteX1" fmla="*/ 5269072 w 5323793"/>
                <a:gd name="connsiteY1" fmla="*/ 257442 h 257442"/>
                <a:gd name="connsiteX2" fmla="*/ 0 w 5323793"/>
                <a:gd name="connsiteY2" fmla="*/ 257442 h 257442"/>
                <a:gd name="connsiteX3" fmla="*/ 1 w 5323793"/>
                <a:gd name="connsiteY3" fmla="*/ 0 h 257442"/>
                <a:gd name="connsiteX0" fmla="*/ 5323793 w 5323793"/>
                <a:gd name="connsiteY0" fmla="*/ 0 h 257442"/>
                <a:gd name="connsiteX1" fmla="*/ 5269072 w 5323793"/>
                <a:gd name="connsiteY1" fmla="*/ 257442 h 257442"/>
                <a:gd name="connsiteX2" fmla="*/ 0 w 5323793"/>
                <a:gd name="connsiteY2" fmla="*/ 257442 h 257442"/>
                <a:gd name="connsiteX3" fmla="*/ 0 w 5323793"/>
                <a:gd name="connsiteY3" fmla="*/ 0 h 257442"/>
                <a:gd name="connsiteX0" fmla="*/ 942786 w 5269072"/>
                <a:gd name="connsiteY0" fmla="*/ 0 h 257442"/>
                <a:gd name="connsiteX1" fmla="*/ 5269072 w 5269072"/>
                <a:gd name="connsiteY1" fmla="*/ 257442 h 257442"/>
                <a:gd name="connsiteX2" fmla="*/ 0 w 5269072"/>
                <a:gd name="connsiteY2" fmla="*/ 257442 h 257442"/>
                <a:gd name="connsiteX3" fmla="*/ 0 w 5269072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0 w 942786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0 w 942786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0 w 942786"/>
                <a:gd name="connsiteY3" fmla="*/ 0 h 257442"/>
                <a:gd name="connsiteX0" fmla="*/ 1111101 w 1111101"/>
                <a:gd name="connsiteY0" fmla="*/ 0 h 257442"/>
                <a:gd name="connsiteX1" fmla="*/ 888065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279416 w 1279416"/>
                <a:gd name="connsiteY0" fmla="*/ 0 h 257442"/>
                <a:gd name="connsiteX1" fmla="*/ 1056380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6 w 1279416"/>
                <a:gd name="connsiteY0" fmla="*/ 0 h 257442"/>
                <a:gd name="connsiteX1" fmla="*/ 1224694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1 w 1279417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1 w 1279417"/>
                <a:gd name="connsiteY3" fmla="*/ 0 h 257442"/>
                <a:gd name="connsiteX0" fmla="*/ 1447732 w 1447732"/>
                <a:gd name="connsiteY0" fmla="*/ 0 h 257442"/>
                <a:gd name="connsiteX1" fmla="*/ 1224695 w 1447732"/>
                <a:gd name="connsiteY1" fmla="*/ 257442 h 257442"/>
                <a:gd name="connsiteX2" fmla="*/ 0 w 1447732"/>
                <a:gd name="connsiteY2" fmla="*/ 257442 h 257442"/>
                <a:gd name="connsiteX3" fmla="*/ 1 w 1447732"/>
                <a:gd name="connsiteY3" fmla="*/ 0 h 257442"/>
                <a:gd name="connsiteX0" fmla="*/ 1447732 w 1447732"/>
                <a:gd name="connsiteY0" fmla="*/ 0 h 257442"/>
                <a:gd name="connsiteX1" fmla="*/ 1393010 w 1447732"/>
                <a:gd name="connsiteY1" fmla="*/ 257442 h 257442"/>
                <a:gd name="connsiteX2" fmla="*/ 0 w 1447732"/>
                <a:gd name="connsiteY2" fmla="*/ 257442 h 257442"/>
                <a:gd name="connsiteX3" fmla="*/ 1 w 1447732"/>
                <a:gd name="connsiteY3" fmla="*/ 0 h 257442"/>
                <a:gd name="connsiteX0" fmla="*/ 1447733 w 1447733"/>
                <a:gd name="connsiteY0" fmla="*/ 0 h 257442"/>
                <a:gd name="connsiteX1" fmla="*/ 1393011 w 1447733"/>
                <a:gd name="connsiteY1" fmla="*/ 257442 h 257442"/>
                <a:gd name="connsiteX2" fmla="*/ 0 w 1447733"/>
                <a:gd name="connsiteY2" fmla="*/ 257442 h 257442"/>
                <a:gd name="connsiteX3" fmla="*/ 2 w 1447733"/>
                <a:gd name="connsiteY3" fmla="*/ 0 h 257442"/>
                <a:gd name="connsiteX0" fmla="*/ 1447733 w 1447733"/>
                <a:gd name="connsiteY0" fmla="*/ 0 h 257442"/>
                <a:gd name="connsiteX1" fmla="*/ 1393011 w 1447733"/>
                <a:gd name="connsiteY1" fmla="*/ 257442 h 257442"/>
                <a:gd name="connsiteX2" fmla="*/ 0 w 1447733"/>
                <a:gd name="connsiteY2" fmla="*/ 257442 h 257442"/>
                <a:gd name="connsiteX3" fmla="*/ 1 w 1447733"/>
                <a:gd name="connsiteY3" fmla="*/ 0 h 257442"/>
                <a:gd name="connsiteX0" fmla="*/ 1608032 w 1608032"/>
                <a:gd name="connsiteY0" fmla="*/ 0 h 257442"/>
                <a:gd name="connsiteX1" fmla="*/ 1393011 w 1608032"/>
                <a:gd name="connsiteY1" fmla="*/ 257442 h 257442"/>
                <a:gd name="connsiteX2" fmla="*/ 0 w 1608032"/>
                <a:gd name="connsiteY2" fmla="*/ 257442 h 257442"/>
                <a:gd name="connsiteX3" fmla="*/ 1 w 1608032"/>
                <a:gd name="connsiteY3" fmla="*/ 0 h 257442"/>
                <a:gd name="connsiteX0" fmla="*/ 1608032 w 1608032"/>
                <a:gd name="connsiteY0" fmla="*/ 0 h 257442"/>
                <a:gd name="connsiteX1" fmla="*/ 1553310 w 1608032"/>
                <a:gd name="connsiteY1" fmla="*/ 257442 h 257442"/>
                <a:gd name="connsiteX2" fmla="*/ 0 w 1608032"/>
                <a:gd name="connsiteY2" fmla="*/ 257442 h 257442"/>
                <a:gd name="connsiteX3" fmla="*/ 1 w 1608032"/>
                <a:gd name="connsiteY3" fmla="*/ 0 h 257442"/>
                <a:gd name="connsiteX0" fmla="*/ 1608033 w 1608033"/>
                <a:gd name="connsiteY0" fmla="*/ 0 h 257442"/>
                <a:gd name="connsiteX1" fmla="*/ 1553311 w 1608033"/>
                <a:gd name="connsiteY1" fmla="*/ 257442 h 257442"/>
                <a:gd name="connsiteX2" fmla="*/ 0 w 1608033"/>
                <a:gd name="connsiteY2" fmla="*/ 257442 h 257442"/>
                <a:gd name="connsiteX3" fmla="*/ 2 w 1608033"/>
                <a:gd name="connsiteY3" fmla="*/ 0 h 257442"/>
                <a:gd name="connsiteX0" fmla="*/ 1608033 w 1608033"/>
                <a:gd name="connsiteY0" fmla="*/ 0 h 257442"/>
                <a:gd name="connsiteX1" fmla="*/ 1553311 w 1608033"/>
                <a:gd name="connsiteY1" fmla="*/ 257442 h 257442"/>
                <a:gd name="connsiteX2" fmla="*/ 0 w 1608033"/>
                <a:gd name="connsiteY2" fmla="*/ 257442 h 257442"/>
                <a:gd name="connsiteX3" fmla="*/ 1 w 1608033"/>
                <a:gd name="connsiteY3" fmla="*/ 0 h 257442"/>
                <a:gd name="connsiteX0" fmla="*/ 1709021 w 1709021"/>
                <a:gd name="connsiteY0" fmla="*/ 0 h 257442"/>
                <a:gd name="connsiteX1" fmla="*/ 1553311 w 1709021"/>
                <a:gd name="connsiteY1" fmla="*/ 257442 h 257442"/>
                <a:gd name="connsiteX2" fmla="*/ 0 w 1709021"/>
                <a:gd name="connsiteY2" fmla="*/ 257442 h 257442"/>
                <a:gd name="connsiteX3" fmla="*/ 1 w 1709021"/>
                <a:gd name="connsiteY3" fmla="*/ 0 h 257442"/>
                <a:gd name="connsiteX0" fmla="*/ 1709021 w 1709021"/>
                <a:gd name="connsiteY0" fmla="*/ 0 h 257442"/>
                <a:gd name="connsiteX1" fmla="*/ 1654300 w 1709021"/>
                <a:gd name="connsiteY1" fmla="*/ 257442 h 257442"/>
                <a:gd name="connsiteX2" fmla="*/ 0 w 1709021"/>
                <a:gd name="connsiteY2" fmla="*/ 257442 h 257442"/>
                <a:gd name="connsiteX3" fmla="*/ 1 w 1709021"/>
                <a:gd name="connsiteY3" fmla="*/ 0 h 257442"/>
                <a:gd name="connsiteX0" fmla="*/ 1709021 w 1709021"/>
                <a:gd name="connsiteY0" fmla="*/ 0 h 257442"/>
                <a:gd name="connsiteX1" fmla="*/ 1654300 w 1709021"/>
                <a:gd name="connsiteY1" fmla="*/ 257442 h 257442"/>
                <a:gd name="connsiteX2" fmla="*/ 0 w 1709021"/>
                <a:gd name="connsiteY2" fmla="*/ 257442 h 257442"/>
                <a:gd name="connsiteX3" fmla="*/ 1 w 1709021"/>
                <a:gd name="connsiteY3" fmla="*/ 0 h 257442"/>
                <a:gd name="connsiteX0" fmla="*/ 1709021 w 1709021"/>
                <a:gd name="connsiteY0" fmla="*/ 0 h 257442"/>
                <a:gd name="connsiteX1" fmla="*/ 1654300 w 1709021"/>
                <a:gd name="connsiteY1" fmla="*/ 257442 h 257442"/>
                <a:gd name="connsiteX2" fmla="*/ 0 w 1709021"/>
                <a:gd name="connsiteY2" fmla="*/ 257442 h 257442"/>
                <a:gd name="connsiteX3" fmla="*/ 0 w 1709021"/>
                <a:gd name="connsiteY3" fmla="*/ 0 h 257442"/>
                <a:gd name="connsiteX0" fmla="*/ 1886955 w 1886955"/>
                <a:gd name="connsiteY0" fmla="*/ 0 h 257442"/>
                <a:gd name="connsiteX1" fmla="*/ 1654300 w 1886955"/>
                <a:gd name="connsiteY1" fmla="*/ 257442 h 257442"/>
                <a:gd name="connsiteX2" fmla="*/ 0 w 1886955"/>
                <a:gd name="connsiteY2" fmla="*/ 257442 h 257442"/>
                <a:gd name="connsiteX3" fmla="*/ 0 w 1886955"/>
                <a:gd name="connsiteY3" fmla="*/ 0 h 257442"/>
                <a:gd name="connsiteX0" fmla="*/ 1886955 w 1886955"/>
                <a:gd name="connsiteY0" fmla="*/ 0 h 257442"/>
                <a:gd name="connsiteX1" fmla="*/ 1832234 w 1886955"/>
                <a:gd name="connsiteY1" fmla="*/ 257442 h 257442"/>
                <a:gd name="connsiteX2" fmla="*/ 0 w 1886955"/>
                <a:gd name="connsiteY2" fmla="*/ 257442 h 257442"/>
                <a:gd name="connsiteX3" fmla="*/ 0 w 1886955"/>
                <a:gd name="connsiteY3" fmla="*/ 0 h 257442"/>
                <a:gd name="connsiteX0" fmla="*/ 1886955 w 1886955"/>
                <a:gd name="connsiteY0" fmla="*/ 0 h 257442"/>
                <a:gd name="connsiteX1" fmla="*/ 1832234 w 1886955"/>
                <a:gd name="connsiteY1" fmla="*/ 257442 h 257442"/>
                <a:gd name="connsiteX2" fmla="*/ 0 w 1886955"/>
                <a:gd name="connsiteY2" fmla="*/ 257442 h 257442"/>
                <a:gd name="connsiteX3" fmla="*/ 0 w 1886955"/>
                <a:gd name="connsiteY3" fmla="*/ 0 h 257442"/>
                <a:gd name="connsiteX0" fmla="*/ 1886955 w 1886955"/>
                <a:gd name="connsiteY0" fmla="*/ 0 h 257442"/>
                <a:gd name="connsiteX1" fmla="*/ 1832234 w 1886955"/>
                <a:gd name="connsiteY1" fmla="*/ 257442 h 257442"/>
                <a:gd name="connsiteX2" fmla="*/ 0 w 1886955"/>
                <a:gd name="connsiteY2" fmla="*/ 257442 h 257442"/>
                <a:gd name="connsiteX3" fmla="*/ 0 w 1886955"/>
                <a:gd name="connsiteY3" fmla="*/ 0 h 257442"/>
                <a:gd name="connsiteX0" fmla="*/ 2039240 w 2039240"/>
                <a:gd name="connsiteY0" fmla="*/ 0 h 257442"/>
                <a:gd name="connsiteX1" fmla="*/ 1832234 w 2039240"/>
                <a:gd name="connsiteY1" fmla="*/ 257442 h 257442"/>
                <a:gd name="connsiteX2" fmla="*/ 0 w 2039240"/>
                <a:gd name="connsiteY2" fmla="*/ 257442 h 257442"/>
                <a:gd name="connsiteX3" fmla="*/ 0 w 2039240"/>
                <a:gd name="connsiteY3" fmla="*/ 0 h 257442"/>
                <a:gd name="connsiteX0" fmla="*/ 2039240 w 2039240"/>
                <a:gd name="connsiteY0" fmla="*/ 0 h 257442"/>
                <a:gd name="connsiteX1" fmla="*/ 1984518 w 2039240"/>
                <a:gd name="connsiteY1" fmla="*/ 257442 h 257442"/>
                <a:gd name="connsiteX2" fmla="*/ 0 w 2039240"/>
                <a:gd name="connsiteY2" fmla="*/ 257442 h 257442"/>
                <a:gd name="connsiteX3" fmla="*/ 0 w 2039240"/>
                <a:gd name="connsiteY3" fmla="*/ 0 h 257442"/>
                <a:gd name="connsiteX0" fmla="*/ 2039241 w 2039241"/>
                <a:gd name="connsiteY0" fmla="*/ 0 h 257442"/>
                <a:gd name="connsiteX1" fmla="*/ 1984519 w 2039241"/>
                <a:gd name="connsiteY1" fmla="*/ 257442 h 257442"/>
                <a:gd name="connsiteX2" fmla="*/ 0 w 2039241"/>
                <a:gd name="connsiteY2" fmla="*/ 257442 h 257442"/>
                <a:gd name="connsiteX3" fmla="*/ 1 w 2039241"/>
                <a:gd name="connsiteY3" fmla="*/ 0 h 257442"/>
                <a:gd name="connsiteX0" fmla="*/ 2039241 w 2039241"/>
                <a:gd name="connsiteY0" fmla="*/ 0 h 257442"/>
                <a:gd name="connsiteX1" fmla="*/ 1984519 w 2039241"/>
                <a:gd name="connsiteY1" fmla="*/ 257442 h 257442"/>
                <a:gd name="connsiteX2" fmla="*/ 0 w 2039241"/>
                <a:gd name="connsiteY2" fmla="*/ 257442 h 257442"/>
                <a:gd name="connsiteX3" fmla="*/ 1 w 2039241"/>
                <a:gd name="connsiteY3" fmla="*/ 0 h 257442"/>
                <a:gd name="connsiteX0" fmla="*/ 2140229 w 2140229"/>
                <a:gd name="connsiteY0" fmla="*/ 0 h 257442"/>
                <a:gd name="connsiteX1" fmla="*/ 1984519 w 2140229"/>
                <a:gd name="connsiteY1" fmla="*/ 257442 h 257442"/>
                <a:gd name="connsiteX2" fmla="*/ 0 w 2140229"/>
                <a:gd name="connsiteY2" fmla="*/ 257442 h 257442"/>
                <a:gd name="connsiteX3" fmla="*/ 1 w 2140229"/>
                <a:gd name="connsiteY3" fmla="*/ 0 h 257442"/>
                <a:gd name="connsiteX0" fmla="*/ 2140229 w 2140229"/>
                <a:gd name="connsiteY0" fmla="*/ 0 h 257442"/>
                <a:gd name="connsiteX1" fmla="*/ 2085508 w 2140229"/>
                <a:gd name="connsiteY1" fmla="*/ 257442 h 257442"/>
                <a:gd name="connsiteX2" fmla="*/ 0 w 2140229"/>
                <a:gd name="connsiteY2" fmla="*/ 257442 h 257442"/>
                <a:gd name="connsiteX3" fmla="*/ 1 w 2140229"/>
                <a:gd name="connsiteY3" fmla="*/ 0 h 257442"/>
                <a:gd name="connsiteX0" fmla="*/ 2140229 w 2140229"/>
                <a:gd name="connsiteY0" fmla="*/ 0 h 257442"/>
                <a:gd name="connsiteX1" fmla="*/ 2085508 w 2140229"/>
                <a:gd name="connsiteY1" fmla="*/ 257442 h 257442"/>
                <a:gd name="connsiteX2" fmla="*/ 0 w 2140229"/>
                <a:gd name="connsiteY2" fmla="*/ 257442 h 257442"/>
                <a:gd name="connsiteX3" fmla="*/ 1 w 2140229"/>
                <a:gd name="connsiteY3" fmla="*/ 0 h 257442"/>
                <a:gd name="connsiteX0" fmla="*/ 2140229 w 2140229"/>
                <a:gd name="connsiteY0" fmla="*/ 0 h 257442"/>
                <a:gd name="connsiteX1" fmla="*/ 2085508 w 2140229"/>
                <a:gd name="connsiteY1" fmla="*/ 257442 h 257442"/>
                <a:gd name="connsiteX2" fmla="*/ 0 w 2140229"/>
                <a:gd name="connsiteY2" fmla="*/ 257442 h 257442"/>
                <a:gd name="connsiteX3" fmla="*/ 0 w 2140229"/>
                <a:gd name="connsiteY3" fmla="*/ 0 h 257442"/>
                <a:gd name="connsiteX0" fmla="*/ 2308544 w 2308544"/>
                <a:gd name="connsiteY0" fmla="*/ 0 h 257442"/>
                <a:gd name="connsiteX1" fmla="*/ 2085508 w 2308544"/>
                <a:gd name="connsiteY1" fmla="*/ 257442 h 257442"/>
                <a:gd name="connsiteX2" fmla="*/ 0 w 2308544"/>
                <a:gd name="connsiteY2" fmla="*/ 257442 h 257442"/>
                <a:gd name="connsiteX3" fmla="*/ 0 w 2308544"/>
                <a:gd name="connsiteY3" fmla="*/ 0 h 257442"/>
                <a:gd name="connsiteX0" fmla="*/ 2308544 w 2308544"/>
                <a:gd name="connsiteY0" fmla="*/ 0 h 257442"/>
                <a:gd name="connsiteX1" fmla="*/ 2253822 w 2308544"/>
                <a:gd name="connsiteY1" fmla="*/ 257442 h 257442"/>
                <a:gd name="connsiteX2" fmla="*/ 0 w 2308544"/>
                <a:gd name="connsiteY2" fmla="*/ 257442 h 257442"/>
                <a:gd name="connsiteX3" fmla="*/ 0 w 2308544"/>
                <a:gd name="connsiteY3" fmla="*/ 0 h 257442"/>
                <a:gd name="connsiteX0" fmla="*/ 2308545 w 2308545"/>
                <a:gd name="connsiteY0" fmla="*/ 0 h 257442"/>
                <a:gd name="connsiteX1" fmla="*/ 2253823 w 2308545"/>
                <a:gd name="connsiteY1" fmla="*/ 257442 h 257442"/>
                <a:gd name="connsiteX2" fmla="*/ 0 w 2308545"/>
                <a:gd name="connsiteY2" fmla="*/ 257442 h 257442"/>
                <a:gd name="connsiteX3" fmla="*/ 1 w 2308545"/>
                <a:gd name="connsiteY3" fmla="*/ 0 h 257442"/>
                <a:gd name="connsiteX0" fmla="*/ 2308545 w 2308545"/>
                <a:gd name="connsiteY0" fmla="*/ 0 h 257442"/>
                <a:gd name="connsiteX1" fmla="*/ 2253823 w 2308545"/>
                <a:gd name="connsiteY1" fmla="*/ 257442 h 257442"/>
                <a:gd name="connsiteX2" fmla="*/ 0 w 2308545"/>
                <a:gd name="connsiteY2" fmla="*/ 257442 h 257442"/>
                <a:gd name="connsiteX3" fmla="*/ 1 w 2308545"/>
                <a:gd name="connsiteY3" fmla="*/ 0 h 257442"/>
                <a:gd name="connsiteX0" fmla="*/ 2476860 w 2476860"/>
                <a:gd name="connsiteY0" fmla="*/ 0 h 257442"/>
                <a:gd name="connsiteX1" fmla="*/ 2253823 w 2476860"/>
                <a:gd name="connsiteY1" fmla="*/ 257442 h 257442"/>
                <a:gd name="connsiteX2" fmla="*/ 0 w 2476860"/>
                <a:gd name="connsiteY2" fmla="*/ 257442 h 257442"/>
                <a:gd name="connsiteX3" fmla="*/ 1 w 2476860"/>
                <a:gd name="connsiteY3" fmla="*/ 0 h 257442"/>
                <a:gd name="connsiteX0" fmla="*/ 2476860 w 2476860"/>
                <a:gd name="connsiteY0" fmla="*/ 0 h 257442"/>
                <a:gd name="connsiteX1" fmla="*/ 2422138 w 2476860"/>
                <a:gd name="connsiteY1" fmla="*/ 257442 h 257442"/>
                <a:gd name="connsiteX2" fmla="*/ 0 w 2476860"/>
                <a:gd name="connsiteY2" fmla="*/ 257442 h 257442"/>
                <a:gd name="connsiteX3" fmla="*/ 1 w 2476860"/>
                <a:gd name="connsiteY3" fmla="*/ 0 h 257442"/>
                <a:gd name="connsiteX0" fmla="*/ 2476861 w 2476861"/>
                <a:gd name="connsiteY0" fmla="*/ 0 h 257442"/>
                <a:gd name="connsiteX1" fmla="*/ 2422139 w 2476861"/>
                <a:gd name="connsiteY1" fmla="*/ 257442 h 257442"/>
                <a:gd name="connsiteX2" fmla="*/ 0 w 2476861"/>
                <a:gd name="connsiteY2" fmla="*/ 257442 h 257442"/>
                <a:gd name="connsiteX3" fmla="*/ 2 w 2476861"/>
                <a:gd name="connsiteY3" fmla="*/ 0 h 257442"/>
                <a:gd name="connsiteX0" fmla="*/ 2476861 w 2476861"/>
                <a:gd name="connsiteY0" fmla="*/ 0 h 257442"/>
                <a:gd name="connsiteX1" fmla="*/ 2422139 w 2476861"/>
                <a:gd name="connsiteY1" fmla="*/ 257442 h 257442"/>
                <a:gd name="connsiteX2" fmla="*/ 0 w 2476861"/>
                <a:gd name="connsiteY2" fmla="*/ 257442 h 257442"/>
                <a:gd name="connsiteX3" fmla="*/ 1 w 2476861"/>
                <a:gd name="connsiteY3" fmla="*/ 0 h 257442"/>
                <a:gd name="connsiteX0" fmla="*/ 2637160 w 2637160"/>
                <a:gd name="connsiteY0" fmla="*/ 0 h 257442"/>
                <a:gd name="connsiteX1" fmla="*/ 2422139 w 2637160"/>
                <a:gd name="connsiteY1" fmla="*/ 257442 h 257442"/>
                <a:gd name="connsiteX2" fmla="*/ 0 w 2637160"/>
                <a:gd name="connsiteY2" fmla="*/ 257442 h 257442"/>
                <a:gd name="connsiteX3" fmla="*/ 1 w 2637160"/>
                <a:gd name="connsiteY3" fmla="*/ 0 h 257442"/>
                <a:gd name="connsiteX0" fmla="*/ 2637160 w 2637160"/>
                <a:gd name="connsiteY0" fmla="*/ 0 h 257442"/>
                <a:gd name="connsiteX1" fmla="*/ 2582438 w 2637160"/>
                <a:gd name="connsiteY1" fmla="*/ 257442 h 257442"/>
                <a:gd name="connsiteX2" fmla="*/ 0 w 2637160"/>
                <a:gd name="connsiteY2" fmla="*/ 257442 h 257442"/>
                <a:gd name="connsiteX3" fmla="*/ 1 w 2637160"/>
                <a:gd name="connsiteY3" fmla="*/ 0 h 257442"/>
                <a:gd name="connsiteX0" fmla="*/ 2637161 w 2637161"/>
                <a:gd name="connsiteY0" fmla="*/ 0 h 257442"/>
                <a:gd name="connsiteX1" fmla="*/ 2582439 w 2637161"/>
                <a:gd name="connsiteY1" fmla="*/ 257442 h 257442"/>
                <a:gd name="connsiteX2" fmla="*/ 0 w 2637161"/>
                <a:gd name="connsiteY2" fmla="*/ 257442 h 257442"/>
                <a:gd name="connsiteX3" fmla="*/ 2 w 2637161"/>
                <a:gd name="connsiteY3" fmla="*/ 0 h 257442"/>
                <a:gd name="connsiteX0" fmla="*/ 2637161 w 2637161"/>
                <a:gd name="connsiteY0" fmla="*/ 0 h 257442"/>
                <a:gd name="connsiteX1" fmla="*/ 2582439 w 2637161"/>
                <a:gd name="connsiteY1" fmla="*/ 257442 h 257442"/>
                <a:gd name="connsiteX2" fmla="*/ 0 w 2637161"/>
                <a:gd name="connsiteY2" fmla="*/ 257442 h 257442"/>
                <a:gd name="connsiteX3" fmla="*/ 1 w 2637161"/>
                <a:gd name="connsiteY3" fmla="*/ 0 h 257442"/>
                <a:gd name="connsiteX0" fmla="*/ 2789445 w 2789445"/>
                <a:gd name="connsiteY0" fmla="*/ 0 h 257442"/>
                <a:gd name="connsiteX1" fmla="*/ 2582439 w 2789445"/>
                <a:gd name="connsiteY1" fmla="*/ 257442 h 257442"/>
                <a:gd name="connsiteX2" fmla="*/ 0 w 2789445"/>
                <a:gd name="connsiteY2" fmla="*/ 257442 h 257442"/>
                <a:gd name="connsiteX3" fmla="*/ 1 w 2789445"/>
                <a:gd name="connsiteY3" fmla="*/ 0 h 257442"/>
                <a:gd name="connsiteX0" fmla="*/ 2789445 w 2789445"/>
                <a:gd name="connsiteY0" fmla="*/ 0 h 257442"/>
                <a:gd name="connsiteX1" fmla="*/ 2734724 w 2789445"/>
                <a:gd name="connsiteY1" fmla="*/ 257442 h 257442"/>
                <a:gd name="connsiteX2" fmla="*/ 0 w 2789445"/>
                <a:gd name="connsiteY2" fmla="*/ 257442 h 257442"/>
                <a:gd name="connsiteX3" fmla="*/ 1 w 2789445"/>
                <a:gd name="connsiteY3" fmla="*/ 0 h 257442"/>
                <a:gd name="connsiteX0" fmla="*/ 2789445 w 2789445"/>
                <a:gd name="connsiteY0" fmla="*/ 0 h 257442"/>
                <a:gd name="connsiteX1" fmla="*/ 2734724 w 2789445"/>
                <a:gd name="connsiteY1" fmla="*/ 257442 h 257442"/>
                <a:gd name="connsiteX2" fmla="*/ 0 w 2789445"/>
                <a:gd name="connsiteY2" fmla="*/ 257442 h 257442"/>
                <a:gd name="connsiteX3" fmla="*/ 1 w 2789445"/>
                <a:gd name="connsiteY3" fmla="*/ 0 h 257442"/>
                <a:gd name="connsiteX0" fmla="*/ 2789445 w 2789445"/>
                <a:gd name="connsiteY0" fmla="*/ 0 h 257442"/>
                <a:gd name="connsiteX1" fmla="*/ 2734724 w 2789445"/>
                <a:gd name="connsiteY1" fmla="*/ 257442 h 257442"/>
                <a:gd name="connsiteX2" fmla="*/ 0 w 2789445"/>
                <a:gd name="connsiteY2" fmla="*/ 257442 h 257442"/>
                <a:gd name="connsiteX3" fmla="*/ 0 w 2789445"/>
                <a:gd name="connsiteY3" fmla="*/ 0 h 257442"/>
                <a:gd name="connsiteX0" fmla="*/ 2964621 w 2964621"/>
                <a:gd name="connsiteY0" fmla="*/ 0 h 257442"/>
                <a:gd name="connsiteX1" fmla="*/ 2734724 w 2964621"/>
                <a:gd name="connsiteY1" fmla="*/ 257442 h 257442"/>
                <a:gd name="connsiteX2" fmla="*/ 0 w 2964621"/>
                <a:gd name="connsiteY2" fmla="*/ 257442 h 257442"/>
                <a:gd name="connsiteX3" fmla="*/ 0 w 2964621"/>
                <a:gd name="connsiteY3" fmla="*/ 0 h 257442"/>
                <a:gd name="connsiteX0" fmla="*/ 2964621 w 2964621"/>
                <a:gd name="connsiteY0" fmla="*/ 0 h 257442"/>
                <a:gd name="connsiteX1" fmla="*/ 2909900 w 2964621"/>
                <a:gd name="connsiteY1" fmla="*/ 257442 h 257442"/>
                <a:gd name="connsiteX2" fmla="*/ 0 w 2964621"/>
                <a:gd name="connsiteY2" fmla="*/ 257442 h 257442"/>
                <a:gd name="connsiteX3" fmla="*/ 0 w 2964621"/>
                <a:gd name="connsiteY3" fmla="*/ 0 h 257442"/>
                <a:gd name="connsiteX0" fmla="*/ 2964621 w 2964621"/>
                <a:gd name="connsiteY0" fmla="*/ 0 h 257442"/>
                <a:gd name="connsiteX1" fmla="*/ 2909900 w 2964621"/>
                <a:gd name="connsiteY1" fmla="*/ 257442 h 257442"/>
                <a:gd name="connsiteX2" fmla="*/ 0 w 2964621"/>
                <a:gd name="connsiteY2" fmla="*/ 257442 h 257442"/>
                <a:gd name="connsiteX3" fmla="*/ 0 w 2964621"/>
                <a:gd name="connsiteY3" fmla="*/ 0 h 257442"/>
                <a:gd name="connsiteX0" fmla="*/ 2964621 w 2964621"/>
                <a:gd name="connsiteY0" fmla="*/ 0 h 257442"/>
                <a:gd name="connsiteX1" fmla="*/ 2909900 w 2964621"/>
                <a:gd name="connsiteY1" fmla="*/ 257442 h 257442"/>
                <a:gd name="connsiteX2" fmla="*/ 0 w 2964621"/>
                <a:gd name="connsiteY2" fmla="*/ 257442 h 257442"/>
                <a:gd name="connsiteX3" fmla="*/ 0 w 2964621"/>
                <a:gd name="connsiteY3" fmla="*/ 0 h 257442"/>
                <a:gd name="connsiteX0" fmla="*/ 3150570 w 3150570"/>
                <a:gd name="connsiteY0" fmla="*/ 0 h 257442"/>
                <a:gd name="connsiteX1" fmla="*/ 2909900 w 3150570"/>
                <a:gd name="connsiteY1" fmla="*/ 257442 h 257442"/>
                <a:gd name="connsiteX2" fmla="*/ 0 w 3150570"/>
                <a:gd name="connsiteY2" fmla="*/ 257442 h 257442"/>
                <a:gd name="connsiteX3" fmla="*/ 0 w 3150570"/>
                <a:gd name="connsiteY3" fmla="*/ 0 h 257442"/>
                <a:gd name="connsiteX0" fmla="*/ 3150570 w 3150570"/>
                <a:gd name="connsiteY0" fmla="*/ 0 h 257442"/>
                <a:gd name="connsiteX1" fmla="*/ 3095848 w 3150570"/>
                <a:gd name="connsiteY1" fmla="*/ 257442 h 257442"/>
                <a:gd name="connsiteX2" fmla="*/ 0 w 3150570"/>
                <a:gd name="connsiteY2" fmla="*/ 257442 h 257442"/>
                <a:gd name="connsiteX3" fmla="*/ 0 w 3150570"/>
                <a:gd name="connsiteY3" fmla="*/ 0 h 257442"/>
                <a:gd name="connsiteX0" fmla="*/ 3150571 w 3150571"/>
                <a:gd name="connsiteY0" fmla="*/ 0 h 257442"/>
                <a:gd name="connsiteX1" fmla="*/ 3095849 w 3150571"/>
                <a:gd name="connsiteY1" fmla="*/ 257442 h 257442"/>
                <a:gd name="connsiteX2" fmla="*/ 0 w 3150571"/>
                <a:gd name="connsiteY2" fmla="*/ 257442 h 257442"/>
                <a:gd name="connsiteX3" fmla="*/ 1 w 3150571"/>
                <a:gd name="connsiteY3" fmla="*/ 0 h 257442"/>
                <a:gd name="connsiteX0" fmla="*/ 3150571 w 3150571"/>
                <a:gd name="connsiteY0" fmla="*/ 0 h 257442"/>
                <a:gd name="connsiteX1" fmla="*/ 3095849 w 3150571"/>
                <a:gd name="connsiteY1" fmla="*/ 257442 h 257442"/>
                <a:gd name="connsiteX2" fmla="*/ 0 w 3150571"/>
                <a:gd name="connsiteY2" fmla="*/ 257442 h 257442"/>
                <a:gd name="connsiteX3" fmla="*/ 1 w 3150571"/>
                <a:gd name="connsiteY3" fmla="*/ 0 h 257442"/>
                <a:gd name="connsiteX0" fmla="*/ 3310870 w 3310870"/>
                <a:gd name="connsiteY0" fmla="*/ 0 h 257442"/>
                <a:gd name="connsiteX1" fmla="*/ 3095849 w 3310870"/>
                <a:gd name="connsiteY1" fmla="*/ 257442 h 257442"/>
                <a:gd name="connsiteX2" fmla="*/ 0 w 3310870"/>
                <a:gd name="connsiteY2" fmla="*/ 257442 h 257442"/>
                <a:gd name="connsiteX3" fmla="*/ 1 w 3310870"/>
                <a:gd name="connsiteY3" fmla="*/ 0 h 257442"/>
                <a:gd name="connsiteX0" fmla="*/ 3310870 w 3310870"/>
                <a:gd name="connsiteY0" fmla="*/ 0 h 257442"/>
                <a:gd name="connsiteX1" fmla="*/ 3256148 w 3310870"/>
                <a:gd name="connsiteY1" fmla="*/ 257442 h 257442"/>
                <a:gd name="connsiteX2" fmla="*/ 0 w 3310870"/>
                <a:gd name="connsiteY2" fmla="*/ 257442 h 257442"/>
                <a:gd name="connsiteX3" fmla="*/ 1 w 3310870"/>
                <a:gd name="connsiteY3" fmla="*/ 0 h 257442"/>
                <a:gd name="connsiteX0" fmla="*/ 3310871 w 3310871"/>
                <a:gd name="connsiteY0" fmla="*/ 0 h 257442"/>
                <a:gd name="connsiteX1" fmla="*/ 3256149 w 3310871"/>
                <a:gd name="connsiteY1" fmla="*/ 257442 h 257442"/>
                <a:gd name="connsiteX2" fmla="*/ 0 w 3310871"/>
                <a:gd name="connsiteY2" fmla="*/ 257442 h 257442"/>
                <a:gd name="connsiteX3" fmla="*/ 2 w 3310871"/>
                <a:gd name="connsiteY3" fmla="*/ 0 h 257442"/>
                <a:gd name="connsiteX0" fmla="*/ 3310871 w 3310871"/>
                <a:gd name="connsiteY0" fmla="*/ 0 h 257442"/>
                <a:gd name="connsiteX1" fmla="*/ 3256149 w 3310871"/>
                <a:gd name="connsiteY1" fmla="*/ 257442 h 257442"/>
                <a:gd name="connsiteX2" fmla="*/ 0 w 3310871"/>
                <a:gd name="connsiteY2" fmla="*/ 257442 h 257442"/>
                <a:gd name="connsiteX3" fmla="*/ 1 w 3310871"/>
                <a:gd name="connsiteY3" fmla="*/ 0 h 257442"/>
                <a:gd name="connsiteX0" fmla="*/ 3479186 w 3479186"/>
                <a:gd name="connsiteY0" fmla="*/ 0 h 257442"/>
                <a:gd name="connsiteX1" fmla="*/ 3256149 w 3479186"/>
                <a:gd name="connsiteY1" fmla="*/ 257442 h 257442"/>
                <a:gd name="connsiteX2" fmla="*/ 0 w 3479186"/>
                <a:gd name="connsiteY2" fmla="*/ 257442 h 257442"/>
                <a:gd name="connsiteX3" fmla="*/ 1 w 3479186"/>
                <a:gd name="connsiteY3" fmla="*/ 0 h 257442"/>
                <a:gd name="connsiteX0" fmla="*/ 3479186 w 3479186"/>
                <a:gd name="connsiteY0" fmla="*/ 0 h 257442"/>
                <a:gd name="connsiteX1" fmla="*/ 3424464 w 3479186"/>
                <a:gd name="connsiteY1" fmla="*/ 257442 h 257442"/>
                <a:gd name="connsiteX2" fmla="*/ 0 w 3479186"/>
                <a:gd name="connsiteY2" fmla="*/ 257442 h 257442"/>
                <a:gd name="connsiteX3" fmla="*/ 1 w 3479186"/>
                <a:gd name="connsiteY3" fmla="*/ 0 h 257442"/>
                <a:gd name="connsiteX0" fmla="*/ 3479187 w 3479187"/>
                <a:gd name="connsiteY0" fmla="*/ 0 h 257442"/>
                <a:gd name="connsiteX1" fmla="*/ 3424465 w 3479187"/>
                <a:gd name="connsiteY1" fmla="*/ 257442 h 257442"/>
                <a:gd name="connsiteX2" fmla="*/ 0 w 3479187"/>
                <a:gd name="connsiteY2" fmla="*/ 257442 h 257442"/>
                <a:gd name="connsiteX3" fmla="*/ 2 w 3479187"/>
                <a:gd name="connsiteY3" fmla="*/ 0 h 257442"/>
                <a:gd name="connsiteX0" fmla="*/ 3479187 w 3479187"/>
                <a:gd name="connsiteY0" fmla="*/ 0 h 257442"/>
                <a:gd name="connsiteX1" fmla="*/ 3424465 w 3479187"/>
                <a:gd name="connsiteY1" fmla="*/ 257442 h 257442"/>
                <a:gd name="connsiteX2" fmla="*/ 0 w 3479187"/>
                <a:gd name="connsiteY2" fmla="*/ 257442 h 257442"/>
                <a:gd name="connsiteX3" fmla="*/ 1 w 3479187"/>
                <a:gd name="connsiteY3" fmla="*/ 0 h 257442"/>
                <a:gd name="connsiteX0" fmla="*/ 3639486 w 3639486"/>
                <a:gd name="connsiteY0" fmla="*/ 0 h 257442"/>
                <a:gd name="connsiteX1" fmla="*/ 3424465 w 3639486"/>
                <a:gd name="connsiteY1" fmla="*/ 257442 h 257442"/>
                <a:gd name="connsiteX2" fmla="*/ 0 w 3639486"/>
                <a:gd name="connsiteY2" fmla="*/ 257442 h 257442"/>
                <a:gd name="connsiteX3" fmla="*/ 1 w 3639486"/>
                <a:gd name="connsiteY3" fmla="*/ 0 h 257442"/>
                <a:gd name="connsiteX0" fmla="*/ 3639486 w 3639486"/>
                <a:gd name="connsiteY0" fmla="*/ 0 h 257442"/>
                <a:gd name="connsiteX1" fmla="*/ 3584764 w 3639486"/>
                <a:gd name="connsiteY1" fmla="*/ 257442 h 257442"/>
                <a:gd name="connsiteX2" fmla="*/ 0 w 3639486"/>
                <a:gd name="connsiteY2" fmla="*/ 257442 h 257442"/>
                <a:gd name="connsiteX3" fmla="*/ 1 w 3639486"/>
                <a:gd name="connsiteY3" fmla="*/ 0 h 257442"/>
                <a:gd name="connsiteX0" fmla="*/ 3639487 w 3639487"/>
                <a:gd name="connsiteY0" fmla="*/ 0 h 257442"/>
                <a:gd name="connsiteX1" fmla="*/ 3584765 w 3639487"/>
                <a:gd name="connsiteY1" fmla="*/ 257442 h 257442"/>
                <a:gd name="connsiteX2" fmla="*/ 0 w 3639487"/>
                <a:gd name="connsiteY2" fmla="*/ 257442 h 257442"/>
                <a:gd name="connsiteX3" fmla="*/ 2 w 3639487"/>
                <a:gd name="connsiteY3" fmla="*/ 0 h 257442"/>
                <a:gd name="connsiteX0" fmla="*/ 3639487 w 3639487"/>
                <a:gd name="connsiteY0" fmla="*/ 0 h 257442"/>
                <a:gd name="connsiteX1" fmla="*/ 3584765 w 3639487"/>
                <a:gd name="connsiteY1" fmla="*/ 257442 h 257442"/>
                <a:gd name="connsiteX2" fmla="*/ 0 w 3639487"/>
                <a:gd name="connsiteY2" fmla="*/ 257442 h 257442"/>
                <a:gd name="connsiteX3" fmla="*/ 1 w 3639487"/>
                <a:gd name="connsiteY3" fmla="*/ 0 h 257442"/>
                <a:gd name="connsiteX0" fmla="*/ 3740475 w 3740475"/>
                <a:gd name="connsiteY0" fmla="*/ 0 h 257442"/>
                <a:gd name="connsiteX1" fmla="*/ 3584765 w 3740475"/>
                <a:gd name="connsiteY1" fmla="*/ 257442 h 257442"/>
                <a:gd name="connsiteX2" fmla="*/ 0 w 3740475"/>
                <a:gd name="connsiteY2" fmla="*/ 257442 h 257442"/>
                <a:gd name="connsiteX3" fmla="*/ 1 w 3740475"/>
                <a:gd name="connsiteY3" fmla="*/ 0 h 257442"/>
                <a:gd name="connsiteX0" fmla="*/ 3740475 w 3740475"/>
                <a:gd name="connsiteY0" fmla="*/ 0 h 257442"/>
                <a:gd name="connsiteX1" fmla="*/ 3685754 w 3740475"/>
                <a:gd name="connsiteY1" fmla="*/ 257442 h 257442"/>
                <a:gd name="connsiteX2" fmla="*/ 0 w 3740475"/>
                <a:gd name="connsiteY2" fmla="*/ 257442 h 257442"/>
                <a:gd name="connsiteX3" fmla="*/ 1 w 3740475"/>
                <a:gd name="connsiteY3" fmla="*/ 0 h 257442"/>
                <a:gd name="connsiteX0" fmla="*/ 3740475 w 3740475"/>
                <a:gd name="connsiteY0" fmla="*/ 0 h 257442"/>
                <a:gd name="connsiteX1" fmla="*/ 3685754 w 3740475"/>
                <a:gd name="connsiteY1" fmla="*/ 257442 h 257442"/>
                <a:gd name="connsiteX2" fmla="*/ 0 w 3740475"/>
                <a:gd name="connsiteY2" fmla="*/ 257442 h 257442"/>
                <a:gd name="connsiteX3" fmla="*/ 1 w 3740475"/>
                <a:gd name="connsiteY3" fmla="*/ 0 h 257442"/>
                <a:gd name="connsiteX0" fmla="*/ 3740475 w 3740475"/>
                <a:gd name="connsiteY0" fmla="*/ 0 h 257442"/>
                <a:gd name="connsiteX1" fmla="*/ 3685754 w 3740475"/>
                <a:gd name="connsiteY1" fmla="*/ 257442 h 257442"/>
                <a:gd name="connsiteX2" fmla="*/ 0 w 3740475"/>
                <a:gd name="connsiteY2" fmla="*/ 257442 h 257442"/>
                <a:gd name="connsiteX3" fmla="*/ 0 w 3740475"/>
                <a:gd name="connsiteY3" fmla="*/ 0 h 257442"/>
                <a:gd name="connsiteX0" fmla="*/ 3908790 w 3908790"/>
                <a:gd name="connsiteY0" fmla="*/ 0 h 257442"/>
                <a:gd name="connsiteX1" fmla="*/ 3685754 w 3908790"/>
                <a:gd name="connsiteY1" fmla="*/ 257442 h 257442"/>
                <a:gd name="connsiteX2" fmla="*/ 0 w 3908790"/>
                <a:gd name="connsiteY2" fmla="*/ 257442 h 257442"/>
                <a:gd name="connsiteX3" fmla="*/ 0 w 3908790"/>
                <a:gd name="connsiteY3" fmla="*/ 0 h 257442"/>
                <a:gd name="connsiteX0" fmla="*/ 3908790 w 3908790"/>
                <a:gd name="connsiteY0" fmla="*/ 0 h 257442"/>
                <a:gd name="connsiteX1" fmla="*/ 3854068 w 3908790"/>
                <a:gd name="connsiteY1" fmla="*/ 257442 h 257442"/>
                <a:gd name="connsiteX2" fmla="*/ 0 w 3908790"/>
                <a:gd name="connsiteY2" fmla="*/ 257442 h 257442"/>
                <a:gd name="connsiteX3" fmla="*/ 0 w 3908790"/>
                <a:gd name="connsiteY3" fmla="*/ 0 h 257442"/>
                <a:gd name="connsiteX0" fmla="*/ 3908791 w 3908791"/>
                <a:gd name="connsiteY0" fmla="*/ 0 h 257442"/>
                <a:gd name="connsiteX1" fmla="*/ 3854069 w 3908791"/>
                <a:gd name="connsiteY1" fmla="*/ 257442 h 257442"/>
                <a:gd name="connsiteX2" fmla="*/ 0 w 3908791"/>
                <a:gd name="connsiteY2" fmla="*/ 257442 h 257442"/>
                <a:gd name="connsiteX3" fmla="*/ 1 w 3908791"/>
                <a:gd name="connsiteY3" fmla="*/ 0 h 257442"/>
                <a:gd name="connsiteX0" fmla="*/ 3908791 w 3908791"/>
                <a:gd name="connsiteY0" fmla="*/ 0 h 257442"/>
                <a:gd name="connsiteX1" fmla="*/ 3854069 w 3908791"/>
                <a:gd name="connsiteY1" fmla="*/ 257442 h 257442"/>
                <a:gd name="connsiteX2" fmla="*/ 0 w 3908791"/>
                <a:gd name="connsiteY2" fmla="*/ 257442 h 257442"/>
                <a:gd name="connsiteX3" fmla="*/ 1 w 3908791"/>
                <a:gd name="connsiteY3" fmla="*/ 0 h 257442"/>
                <a:gd name="connsiteX0" fmla="*/ 4069091 w 4069091"/>
                <a:gd name="connsiteY0" fmla="*/ 0 h 257442"/>
                <a:gd name="connsiteX1" fmla="*/ 3854069 w 4069091"/>
                <a:gd name="connsiteY1" fmla="*/ 257442 h 257442"/>
                <a:gd name="connsiteX2" fmla="*/ 0 w 4069091"/>
                <a:gd name="connsiteY2" fmla="*/ 257442 h 257442"/>
                <a:gd name="connsiteX3" fmla="*/ 1 w 4069091"/>
                <a:gd name="connsiteY3" fmla="*/ 0 h 257442"/>
                <a:gd name="connsiteX0" fmla="*/ 4069091 w 4069091"/>
                <a:gd name="connsiteY0" fmla="*/ 0 h 257442"/>
                <a:gd name="connsiteX1" fmla="*/ 4014370 w 4069091"/>
                <a:gd name="connsiteY1" fmla="*/ 257442 h 257442"/>
                <a:gd name="connsiteX2" fmla="*/ 0 w 4069091"/>
                <a:gd name="connsiteY2" fmla="*/ 257442 h 257442"/>
                <a:gd name="connsiteX3" fmla="*/ 1 w 4069091"/>
                <a:gd name="connsiteY3" fmla="*/ 0 h 257442"/>
                <a:gd name="connsiteX0" fmla="*/ 4069091 w 4069091"/>
                <a:gd name="connsiteY0" fmla="*/ 0 h 257442"/>
                <a:gd name="connsiteX1" fmla="*/ 4014370 w 4069091"/>
                <a:gd name="connsiteY1" fmla="*/ 257442 h 257442"/>
                <a:gd name="connsiteX2" fmla="*/ 0 w 4069091"/>
                <a:gd name="connsiteY2" fmla="*/ 257442 h 257442"/>
                <a:gd name="connsiteX3" fmla="*/ 1 w 4069091"/>
                <a:gd name="connsiteY3" fmla="*/ 0 h 257442"/>
                <a:gd name="connsiteX0" fmla="*/ 4069091 w 4069091"/>
                <a:gd name="connsiteY0" fmla="*/ 0 h 257442"/>
                <a:gd name="connsiteX1" fmla="*/ 4014370 w 4069091"/>
                <a:gd name="connsiteY1" fmla="*/ 257442 h 257442"/>
                <a:gd name="connsiteX2" fmla="*/ 0 w 4069091"/>
                <a:gd name="connsiteY2" fmla="*/ 257442 h 257442"/>
                <a:gd name="connsiteX3" fmla="*/ 0 w 4069091"/>
                <a:gd name="connsiteY3" fmla="*/ 0 h 257442"/>
                <a:gd name="connsiteX0" fmla="*/ 4167323 w 4167323"/>
                <a:gd name="connsiteY0" fmla="*/ 0 h 257442"/>
                <a:gd name="connsiteX1" fmla="*/ 4014370 w 4167323"/>
                <a:gd name="connsiteY1" fmla="*/ 257442 h 257442"/>
                <a:gd name="connsiteX2" fmla="*/ 0 w 4167323"/>
                <a:gd name="connsiteY2" fmla="*/ 257442 h 257442"/>
                <a:gd name="connsiteX3" fmla="*/ 0 w 4167323"/>
                <a:gd name="connsiteY3" fmla="*/ 0 h 257442"/>
                <a:gd name="connsiteX0" fmla="*/ 4167323 w 4167323"/>
                <a:gd name="connsiteY0" fmla="*/ 0 h 257442"/>
                <a:gd name="connsiteX1" fmla="*/ 4112602 w 4167323"/>
                <a:gd name="connsiteY1" fmla="*/ 257442 h 257442"/>
                <a:gd name="connsiteX2" fmla="*/ 0 w 4167323"/>
                <a:gd name="connsiteY2" fmla="*/ 257442 h 257442"/>
                <a:gd name="connsiteX3" fmla="*/ 0 w 4167323"/>
                <a:gd name="connsiteY3" fmla="*/ 0 h 257442"/>
                <a:gd name="connsiteX0" fmla="*/ 4167323 w 4167323"/>
                <a:gd name="connsiteY0" fmla="*/ 0 h 257442"/>
                <a:gd name="connsiteX1" fmla="*/ 4112602 w 4167323"/>
                <a:gd name="connsiteY1" fmla="*/ 257442 h 257442"/>
                <a:gd name="connsiteX2" fmla="*/ 0 w 4167323"/>
                <a:gd name="connsiteY2" fmla="*/ 257442 h 257442"/>
                <a:gd name="connsiteX3" fmla="*/ 0 w 4167323"/>
                <a:gd name="connsiteY3" fmla="*/ 0 h 257442"/>
                <a:gd name="connsiteX0" fmla="*/ 4167323 w 4167323"/>
                <a:gd name="connsiteY0" fmla="*/ 0 h 257442"/>
                <a:gd name="connsiteX1" fmla="*/ 4112602 w 4167323"/>
                <a:gd name="connsiteY1" fmla="*/ 257442 h 257442"/>
                <a:gd name="connsiteX2" fmla="*/ 0 w 4167323"/>
                <a:gd name="connsiteY2" fmla="*/ 257442 h 257442"/>
                <a:gd name="connsiteX3" fmla="*/ 0 w 4167323"/>
                <a:gd name="connsiteY3" fmla="*/ 0 h 257442"/>
                <a:gd name="connsiteX0" fmla="*/ 4268311 w 4268311"/>
                <a:gd name="connsiteY0" fmla="*/ 0 h 257442"/>
                <a:gd name="connsiteX1" fmla="*/ 4112602 w 4268311"/>
                <a:gd name="connsiteY1" fmla="*/ 257442 h 257442"/>
                <a:gd name="connsiteX2" fmla="*/ 0 w 4268311"/>
                <a:gd name="connsiteY2" fmla="*/ 257442 h 257442"/>
                <a:gd name="connsiteX3" fmla="*/ 0 w 4268311"/>
                <a:gd name="connsiteY3" fmla="*/ 0 h 257442"/>
                <a:gd name="connsiteX0" fmla="*/ 4268311 w 4268311"/>
                <a:gd name="connsiteY0" fmla="*/ 0 h 257442"/>
                <a:gd name="connsiteX1" fmla="*/ 4213590 w 4268311"/>
                <a:gd name="connsiteY1" fmla="*/ 257442 h 257442"/>
                <a:gd name="connsiteX2" fmla="*/ 0 w 4268311"/>
                <a:gd name="connsiteY2" fmla="*/ 257442 h 257442"/>
                <a:gd name="connsiteX3" fmla="*/ 0 w 4268311"/>
                <a:gd name="connsiteY3" fmla="*/ 0 h 257442"/>
                <a:gd name="connsiteX0" fmla="*/ 4268311 w 4268311"/>
                <a:gd name="connsiteY0" fmla="*/ 0 h 257442"/>
                <a:gd name="connsiteX1" fmla="*/ 4213590 w 4268311"/>
                <a:gd name="connsiteY1" fmla="*/ 257442 h 257442"/>
                <a:gd name="connsiteX2" fmla="*/ 0 w 4268311"/>
                <a:gd name="connsiteY2" fmla="*/ 257442 h 257442"/>
                <a:gd name="connsiteX3" fmla="*/ 0 w 4268311"/>
                <a:gd name="connsiteY3" fmla="*/ 0 h 257442"/>
                <a:gd name="connsiteX0" fmla="*/ 4268311 w 4268311"/>
                <a:gd name="connsiteY0" fmla="*/ 0 h 257442"/>
                <a:gd name="connsiteX1" fmla="*/ 4213590 w 4268311"/>
                <a:gd name="connsiteY1" fmla="*/ 257442 h 257442"/>
                <a:gd name="connsiteX2" fmla="*/ 0 w 4268311"/>
                <a:gd name="connsiteY2" fmla="*/ 257442 h 257442"/>
                <a:gd name="connsiteX3" fmla="*/ 0 w 4268311"/>
                <a:gd name="connsiteY3" fmla="*/ 0 h 257442"/>
                <a:gd name="connsiteX0" fmla="*/ 4436627 w 4436627"/>
                <a:gd name="connsiteY0" fmla="*/ 0 h 257442"/>
                <a:gd name="connsiteX1" fmla="*/ 4213590 w 4436627"/>
                <a:gd name="connsiteY1" fmla="*/ 257442 h 257442"/>
                <a:gd name="connsiteX2" fmla="*/ 0 w 4436627"/>
                <a:gd name="connsiteY2" fmla="*/ 257442 h 257442"/>
                <a:gd name="connsiteX3" fmla="*/ 0 w 4436627"/>
                <a:gd name="connsiteY3" fmla="*/ 0 h 257442"/>
                <a:gd name="connsiteX0" fmla="*/ 4436627 w 4436627"/>
                <a:gd name="connsiteY0" fmla="*/ 0 h 257442"/>
                <a:gd name="connsiteX1" fmla="*/ 4381906 w 4436627"/>
                <a:gd name="connsiteY1" fmla="*/ 257442 h 257442"/>
                <a:gd name="connsiteX2" fmla="*/ 0 w 4436627"/>
                <a:gd name="connsiteY2" fmla="*/ 257442 h 257442"/>
                <a:gd name="connsiteX3" fmla="*/ 0 w 4436627"/>
                <a:gd name="connsiteY3" fmla="*/ 0 h 257442"/>
                <a:gd name="connsiteX0" fmla="*/ 4436627 w 4436627"/>
                <a:gd name="connsiteY0" fmla="*/ 0 h 257442"/>
                <a:gd name="connsiteX1" fmla="*/ 4381906 w 4436627"/>
                <a:gd name="connsiteY1" fmla="*/ 257442 h 257442"/>
                <a:gd name="connsiteX2" fmla="*/ 0 w 4436627"/>
                <a:gd name="connsiteY2" fmla="*/ 257442 h 257442"/>
                <a:gd name="connsiteX3" fmla="*/ 0 w 4436627"/>
                <a:gd name="connsiteY3" fmla="*/ 0 h 257442"/>
                <a:gd name="connsiteX0" fmla="*/ 4436627 w 4436627"/>
                <a:gd name="connsiteY0" fmla="*/ 0 h 257442"/>
                <a:gd name="connsiteX1" fmla="*/ 4381906 w 4436627"/>
                <a:gd name="connsiteY1" fmla="*/ 257442 h 257442"/>
                <a:gd name="connsiteX2" fmla="*/ 0 w 4436627"/>
                <a:gd name="connsiteY2" fmla="*/ 257442 h 257442"/>
                <a:gd name="connsiteX3" fmla="*/ 0 w 4436627"/>
                <a:gd name="connsiteY3" fmla="*/ 0 h 257442"/>
                <a:gd name="connsiteX0" fmla="*/ 4604942 w 4604942"/>
                <a:gd name="connsiteY0" fmla="*/ 0 h 257442"/>
                <a:gd name="connsiteX1" fmla="*/ 4381906 w 4604942"/>
                <a:gd name="connsiteY1" fmla="*/ 257442 h 257442"/>
                <a:gd name="connsiteX2" fmla="*/ 0 w 4604942"/>
                <a:gd name="connsiteY2" fmla="*/ 257442 h 257442"/>
                <a:gd name="connsiteX3" fmla="*/ 0 w 4604942"/>
                <a:gd name="connsiteY3" fmla="*/ 0 h 257442"/>
                <a:gd name="connsiteX0" fmla="*/ 4604942 w 4604942"/>
                <a:gd name="connsiteY0" fmla="*/ 0 h 257442"/>
                <a:gd name="connsiteX1" fmla="*/ 4550220 w 4604942"/>
                <a:gd name="connsiteY1" fmla="*/ 257442 h 257442"/>
                <a:gd name="connsiteX2" fmla="*/ 0 w 4604942"/>
                <a:gd name="connsiteY2" fmla="*/ 257442 h 257442"/>
                <a:gd name="connsiteX3" fmla="*/ 0 w 4604942"/>
                <a:gd name="connsiteY3" fmla="*/ 0 h 257442"/>
                <a:gd name="connsiteX0" fmla="*/ 4604943 w 4604943"/>
                <a:gd name="connsiteY0" fmla="*/ 0 h 257442"/>
                <a:gd name="connsiteX1" fmla="*/ 4550221 w 4604943"/>
                <a:gd name="connsiteY1" fmla="*/ 257442 h 257442"/>
                <a:gd name="connsiteX2" fmla="*/ 0 w 4604943"/>
                <a:gd name="connsiteY2" fmla="*/ 257442 h 257442"/>
                <a:gd name="connsiteX3" fmla="*/ 1 w 4604943"/>
                <a:gd name="connsiteY3" fmla="*/ 0 h 257442"/>
                <a:gd name="connsiteX0" fmla="*/ 4604943 w 4604943"/>
                <a:gd name="connsiteY0" fmla="*/ 0 h 257442"/>
                <a:gd name="connsiteX1" fmla="*/ 4550221 w 4604943"/>
                <a:gd name="connsiteY1" fmla="*/ 257442 h 257442"/>
                <a:gd name="connsiteX2" fmla="*/ 0 w 4604943"/>
                <a:gd name="connsiteY2" fmla="*/ 257442 h 257442"/>
                <a:gd name="connsiteX3" fmla="*/ 1 w 4604943"/>
                <a:gd name="connsiteY3" fmla="*/ 0 h 257442"/>
                <a:gd name="connsiteX0" fmla="*/ 4773258 w 4773258"/>
                <a:gd name="connsiteY0" fmla="*/ 0 h 257442"/>
                <a:gd name="connsiteX1" fmla="*/ 4550221 w 4773258"/>
                <a:gd name="connsiteY1" fmla="*/ 257442 h 257442"/>
                <a:gd name="connsiteX2" fmla="*/ 0 w 4773258"/>
                <a:gd name="connsiteY2" fmla="*/ 257442 h 257442"/>
                <a:gd name="connsiteX3" fmla="*/ 1 w 4773258"/>
                <a:gd name="connsiteY3" fmla="*/ 0 h 257442"/>
                <a:gd name="connsiteX0" fmla="*/ 4773258 w 4773258"/>
                <a:gd name="connsiteY0" fmla="*/ 0 h 257442"/>
                <a:gd name="connsiteX1" fmla="*/ 4718536 w 4773258"/>
                <a:gd name="connsiteY1" fmla="*/ 257442 h 257442"/>
                <a:gd name="connsiteX2" fmla="*/ 0 w 4773258"/>
                <a:gd name="connsiteY2" fmla="*/ 257442 h 257442"/>
                <a:gd name="connsiteX3" fmla="*/ 1 w 4773258"/>
                <a:gd name="connsiteY3" fmla="*/ 0 h 257442"/>
                <a:gd name="connsiteX0" fmla="*/ 4773259 w 4773259"/>
                <a:gd name="connsiteY0" fmla="*/ 0 h 257442"/>
                <a:gd name="connsiteX1" fmla="*/ 4718537 w 4773259"/>
                <a:gd name="connsiteY1" fmla="*/ 257442 h 257442"/>
                <a:gd name="connsiteX2" fmla="*/ 0 w 4773259"/>
                <a:gd name="connsiteY2" fmla="*/ 257442 h 257442"/>
                <a:gd name="connsiteX3" fmla="*/ 2 w 4773259"/>
                <a:gd name="connsiteY3" fmla="*/ 0 h 257442"/>
                <a:gd name="connsiteX0" fmla="*/ 4773259 w 4773259"/>
                <a:gd name="connsiteY0" fmla="*/ 0 h 257442"/>
                <a:gd name="connsiteX1" fmla="*/ 4718537 w 4773259"/>
                <a:gd name="connsiteY1" fmla="*/ 257442 h 257442"/>
                <a:gd name="connsiteX2" fmla="*/ 0 w 4773259"/>
                <a:gd name="connsiteY2" fmla="*/ 257442 h 257442"/>
                <a:gd name="connsiteX3" fmla="*/ 1 w 4773259"/>
                <a:gd name="connsiteY3" fmla="*/ 0 h 257442"/>
                <a:gd name="connsiteX0" fmla="*/ 4933558 w 4933558"/>
                <a:gd name="connsiteY0" fmla="*/ 0 h 257442"/>
                <a:gd name="connsiteX1" fmla="*/ 4718537 w 4933558"/>
                <a:gd name="connsiteY1" fmla="*/ 257442 h 257442"/>
                <a:gd name="connsiteX2" fmla="*/ 0 w 4933558"/>
                <a:gd name="connsiteY2" fmla="*/ 257442 h 257442"/>
                <a:gd name="connsiteX3" fmla="*/ 1 w 4933558"/>
                <a:gd name="connsiteY3" fmla="*/ 0 h 257442"/>
                <a:gd name="connsiteX0" fmla="*/ 4933558 w 4933558"/>
                <a:gd name="connsiteY0" fmla="*/ 0 h 257442"/>
                <a:gd name="connsiteX1" fmla="*/ 4878836 w 4933558"/>
                <a:gd name="connsiteY1" fmla="*/ 257442 h 257442"/>
                <a:gd name="connsiteX2" fmla="*/ 0 w 4933558"/>
                <a:gd name="connsiteY2" fmla="*/ 257442 h 257442"/>
                <a:gd name="connsiteX3" fmla="*/ 1 w 4933558"/>
                <a:gd name="connsiteY3" fmla="*/ 0 h 257442"/>
                <a:gd name="connsiteX0" fmla="*/ 4933559 w 4933559"/>
                <a:gd name="connsiteY0" fmla="*/ 0 h 257442"/>
                <a:gd name="connsiteX1" fmla="*/ 4878837 w 4933559"/>
                <a:gd name="connsiteY1" fmla="*/ 257442 h 257442"/>
                <a:gd name="connsiteX2" fmla="*/ 0 w 4933559"/>
                <a:gd name="connsiteY2" fmla="*/ 257442 h 257442"/>
                <a:gd name="connsiteX3" fmla="*/ 2 w 4933559"/>
                <a:gd name="connsiteY3" fmla="*/ 0 h 257442"/>
                <a:gd name="connsiteX0" fmla="*/ 4933559 w 4933559"/>
                <a:gd name="connsiteY0" fmla="*/ 0 h 257442"/>
                <a:gd name="connsiteX1" fmla="*/ 4878837 w 4933559"/>
                <a:gd name="connsiteY1" fmla="*/ 257442 h 257442"/>
                <a:gd name="connsiteX2" fmla="*/ 0 w 4933559"/>
                <a:gd name="connsiteY2" fmla="*/ 257442 h 257442"/>
                <a:gd name="connsiteX3" fmla="*/ 1 w 4933559"/>
                <a:gd name="connsiteY3" fmla="*/ 0 h 257442"/>
                <a:gd name="connsiteX0" fmla="*/ 5085843 w 5085843"/>
                <a:gd name="connsiteY0" fmla="*/ 0 h 257442"/>
                <a:gd name="connsiteX1" fmla="*/ 4878837 w 5085843"/>
                <a:gd name="connsiteY1" fmla="*/ 257442 h 257442"/>
                <a:gd name="connsiteX2" fmla="*/ 0 w 5085843"/>
                <a:gd name="connsiteY2" fmla="*/ 257442 h 257442"/>
                <a:gd name="connsiteX3" fmla="*/ 1 w 5085843"/>
                <a:gd name="connsiteY3" fmla="*/ 0 h 257442"/>
                <a:gd name="connsiteX0" fmla="*/ 5085843 w 5085843"/>
                <a:gd name="connsiteY0" fmla="*/ 0 h 257442"/>
                <a:gd name="connsiteX1" fmla="*/ 5031122 w 5085843"/>
                <a:gd name="connsiteY1" fmla="*/ 257442 h 257442"/>
                <a:gd name="connsiteX2" fmla="*/ 0 w 5085843"/>
                <a:gd name="connsiteY2" fmla="*/ 257442 h 257442"/>
                <a:gd name="connsiteX3" fmla="*/ 1 w 5085843"/>
                <a:gd name="connsiteY3" fmla="*/ 0 h 257442"/>
                <a:gd name="connsiteX0" fmla="*/ 5085843 w 5085843"/>
                <a:gd name="connsiteY0" fmla="*/ 0 h 257442"/>
                <a:gd name="connsiteX1" fmla="*/ 5031122 w 5085843"/>
                <a:gd name="connsiteY1" fmla="*/ 257442 h 257442"/>
                <a:gd name="connsiteX2" fmla="*/ 0 w 5085843"/>
                <a:gd name="connsiteY2" fmla="*/ 257442 h 257442"/>
                <a:gd name="connsiteX3" fmla="*/ 1 w 5085843"/>
                <a:gd name="connsiteY3" fmla="*/ 0 h 257442"/>
                <a:gd name="connsiteX0" fmla="*/ 5085843 w 5085843"/>
                <a:gd name="connsiteY0" fmla="*/ 0 h 257442"/>
                <a:gd name="connsiteX1" fmla="*/ 5031122 w 5085843"/>
                <a:gd name="connsiteY1" fmla="*/ 257442 h 257442"/>
                <a:gd name="connsiteX2" fmla="*/ 0 w 5085843"/>
                <a:gd name="connsiteY2" fmla="*/ 257442 h 257442"/>
                <a:gd name="connsiteX3" fmla="*/ 0 w 5085843"/>
                <a:gd name="connsiteY3" fmla="*/ 0 h 257442"/>
                <a:gd name="connsiteX0" fmla="*/ 5254159 w 5254159"/>
                <a:gd name="connsiteY0" fmla="*/ 0 h 257442"/>
                <a:gd name="connsiteX1" fmla="*/ 5031122 w 5254159"/>
                <a:gd name="connsiteY1" fmla="*/ 257442 h 257442"/>
                <a:gd name="connsiteX2" fmla="*/ 0 w 5254159"/>
                <a:gd name="connsiteY2" fmla="*/ 257442 h 257442"/>
                <a:gd name="connsiteX3" fmla="*/ 0 w 5254159"/>
                <a:gd name="connsiteY3" fmla="*/ 0 h 257442"/>
                <a:gd name="connsiteX0" fmla="*/ 5254159 w 5254159"/>
                <a:gd name="connsiteY0" fmla="*/ 0 h 257442"/>
                <a:gd name="connsiteX1" fmla="*/ 5199438 w 5254159"/>
                <a:gd name="connsiteY1" fmla="*/ 257442 h 257442"/>
                <a:gd name="connsiteX2" fmla="*/ 0 w 5254159"/>
                <a:gd name="connsiteY2" fmla="*/ 257442 h 257442"/>
                <a:gd name="connsiteX3" fmla="*/ 0 w 5254159"/>
                <a:gd name="connsiteY3" fmla="*/ 0 h 257442"/>
                <a:gd name="connsiteX0" fmla="*/ 5254159 w 5254159"/>
                <a:gd name="connsiteY0" fmla="*/ 0 h 257442"/>
                <a:gd name="connsiteX1" fmla="*/ 5199438 w 5254159"/>
                <a:gd name="connsiteY1" fmla="*/ 257442 h 257442"/>
                <a:gd name="connsiteX2" fmla="*/ 0 w 5254159"/>
                <a:gd name="connsiteY2" fmla="*/ 257442 h 257442"/>
                <a:gd name="connsiteX3" fmla="*/ 0 w 5254159"/>
                <a:gd name="connsiteY3" fmla="*/ 0 h 257442"/>
                <a:gd name="connsiteX0" fmla="*/ 5254159 w 5254159"/>
                <a:gd name="connsiteY0" fmla="*/ 0 h 257442"/>
                <a:gd name="connsiteX1" fmla="*/ 5199438 w 5254159"/>
                <a:gd name="connsiteY1" fmla="*/ 257442 h 257442"/>
                <a:gd name="connsiteX2" fmla="*/ 0 w 5254159"/>
                <a:gd name="connsiteY2" fmla="*/ 257442 h 257442"/>
                <a:gd name="connsiteX3" fmla="*/ 0 w 5254159"/>
                <a:gd name="connsiteY3" fmla="*/ 0 h 257442"/>
                <a:gd name="connsiteX0" fmla="*/ 5408752 w 5408752"/>
                <a:gd name="connsiteY0" fmla="*/ 0 h 257442"/>
                <a:gd name="connsiteX1" fmla="*/ 5199438 w 5408752"/>
                <a:gd name="connsiteY1" fmla="*/ 257442 h 257442"/>
                <a:gd name="connsiteX2" fmla="*/ 0 w 5408752"/>
                <a:gd name="connsiteY2" fmla="*/ 257442 h 257442"/>
                <a:gd name="connsiteX3" fmla="*/ 0 w 5408752"/>
                <a:gd name="connsiteY3" fmla="*/ 0 h 257442"/>
                <a:gd name="connsiteX0" fmla="*/ 5408752 w 5408752"/>
                <a:gd name="connsiteY0" fmla="*/ 0 h 257442"/>
                <a:gd name="connsiteX1" fmla="*/ 5354030 w 5408752"/>
                <a:gd name="connsiteY1" fmla="*/ 257442 h 257442"/>
                <a:gd name="connsiteX2" fmla="*/ 0 w 5408752"/>
                <a:gd name="connsiteY2" fmla="*/ 257442 h 257442"/>
                <a:gd name="connsiteX3" fmla="*/ 0 w 5408752"/>
                <a:gd name="connsiteY3" fmla="*/ 0 h 257442"/>
                <a:gd name="connsiteX0" fmla="*/ 5408753 w 5408753"/>
                <a:gd name="connsiteY0" fmla="*/ 0 h 257442"/>
                <a:gd name="connsiteX1" fmla="*/ 5354031 w 5408753"/>
                <a:gd name="connsiteY1" fmla="*/ 257442 h 257442"/>
                <a:gd name="connsiteX2" fmla="*/ 0 w 5408753"/>
                <a:gd name="connsiteY2" fmla="*/ 257442 h 257442"/>
                <a:gd name="connsiteX3" fmla="*/ 1 w 5408753"/>
                <a:gd name="connsiteY3" fmla="*/ 0 h 257442"/>
                <a:gd name="connsiteX0" fmla="*/ 5408753 w 5408753"/>
                <a:gd name="connsiteY0" fmla="*/ 0 h 257442"/>
                <a:gd name="connsiteX1" fmla="*/ 5354031 w 5408753"/>
                <a:gd name="connsiteY1" fmla="*/ 257442 h 257442"/>
                <a:gd name="connsiteX2" fmla="*/ 0 w 5408753"/>
                <a:gd name="connsiteY2" fmla="*/ 257442 h 257442"/>
                <a:gd name="connsiteX3" fmla="*/ 1 w 5408753"/>
                <a:gd name="connsiteY3" fmla="*/ 0 h 257442"/>
                <a:gd name="connsiteX0" fmla="*/ 942786 w 5354031"/>
                <a:gd name="connsiteY0" fmla="*/ 0 h 257442"/>
                <a:gd name="connsiteX1" fmla="*/ 5354031 w 5354031"/>
                <a:gd name="connsiteY1" fmla="*/ 257442 h 257442"/>
                <a:gd name="connsiteX2" fmla="*/ 0 w 5354031"/>
                <a:gd name="connsiteY2" fmla="*/ 257442 h 257442"/>
                <a:gd name="connsiteX3" fmla="*/ 1 w 5354031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1 w 942786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1 w 942786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0 w 942786"/>
                <a:gd name="connsiteY3" fmla="*/ 0 h 257442"/>
                <a:gd name="connsiteX0" fmla="*/ 1111101 w 1111101"/>
                <a:gd name="connsiteY0" fmla="*/ 0 h 257442"/>
                <a:gd name="connsiteX1" fmla="*/ 888065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289034 w 1289034"/>
                <a:gd name="connsiteY0" fmla="*/ 0 h 257442"/>
                <a:gd name="connsiteX1" fmla="*/ 1056380 w 1289034"/>
                <a:gd name="connsiteY1" fmla="*/ 257442 h 257442"/>
                <a:gd name="connsiteX2" fmla="*/ 0 w 1289034"/>
                <a:gd name="connsiteY2" fmla="*/ 257442 h 257442"/>
                <a:gd name="connsiteX3" fmla="*/ 0 w 1289034"/>
                <a:gd name="connsiteY3" fmla="*/ 0 h 257442"/>
                <a:gd name="connsiteX0" fmla="*/ 1289034 w 1289034"/>
                <a:gd name="connsiteY0" fmla="*/ 0 h 257442"/>
                <a:gd name="connsiteX1" fmla="*/ 1234312 w 1289034"/>
                <a:gd name="connsiteY1" fmla="*/ 257442 h 257442"/>
                <a:gd name="connsiteX2" fmla="*/ 0 w 1289034"/>
                <a:gd name="connsiteY2" fmla="*/ 257442 h 257442"/>
                <a:gd name="connsiteX3" fmla="*/ 0 w 1289034"/>
                <a:gd name="connsiteY3" fmla="*/ 0 h 257442"/>
                <a:gd name="connsiteX0" fmla="*/ 1289035 w 1289035"/>
                <a:gd name="connsiteY0" fmla="*/ 0 h 257442"/>
                <a:gd name="connsiteX1" fmla="*/ 1234313 w 1289035"/>
                <a:gd name="connsiteY1" fmla="*/ 257442 h 257442"/>
                <a:gd name="connsiteX2" fmla="*/ 0 w 1289035"/>
                <a:gd name="connsiteY2" fmla="*/ 257442 h 257442"/>
                <a:gd name="connsiteX3" fmla="*/ 1 w 1289035"/>
                <a:gd name="connsiteY3" fmla="*/ 0 h 257442"/>
                <a:gd name="connsiteX0" fmla="*/ 1289035 w 1289035"/>
                <a:gd name="connsiteY0" fmla="*/ 0 h 257442"/>
                <a:gd name="connsiteX1" fmla="*/ 1234313 w 1289035"/>
                <a:gd name="connsiteY1" fmla="*/ 257442 h 257442"/>
                <a:gd name="connsiteX2" fmla="*/ 0 w 1289035"/>
                <a:gd name="connsiteY2" fmla="*/ 257442 h 257442"/>
                <a:gd name="connsiteX3" fmla="*/ 1 w 1289035"/>
                <a:gd name="connsiteY3" fmla="*/ 0 h 257442"/>
                <a:gd name="connsiteX0" fmla="*/ 1457351 w 1457351"/>
                <a:gd name="connsiteY0" fmla="*/ 0 h 257442"/>
                <a:gd name="connsiteX1" fmla="*/ 1234313 w 1457351"/>
                <a:gd name="connsiteY1" fmla="*/ 257442 h 257442"/>
                <a:gd name="connsiteX2" fmla="*/ 0 w 1457351"/>
                <a:gd name="connsiteY2" fmla="*/ 257442 h 257442"/>
                <a:gd name="connsiteX3" fmla="*/ 1 w 1457351"/>
                <a:gd name="connsiteY3" fmla="*/ 0 h 257442"/>
                <a:gd name="connsiteX0" fmla="*/ 1457351 w 1457351"/>
                <a:gd name="connsiteY0" fmla="*/ 0 h 257442"/>
                <a:gd name="connsiteX1" fmla="*/ 1402630 w 1457351"/>
                <a:gd name="connsiteY1" fmla="*/ 257442 h 257442"/>
                <a:gd name="connsiteX2" fmla="*/ 0 w 1457351"/>
                <a:gd name="connsiteY2" fmla="*/ 257442 h 257442"/>
                <a:gd name="connsiteX3" fmla="*/ 1 w 1457351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1 w 1457351"/>
                <a:gd name="connsiteY0" fmla="*/ 0 h 257442"/>
                <a:gd name="connsiteX1" fmla="*/ 1402630 w 1457351"/>
                <a:gd name="connsiteY1" fmla="*/ 257442 h 257442"/>
                <a:gd name="connsiteX2" fmla="*/ 1 w 1457351"/>
                <a:gd name="connsiteY2" fmla="*/ 257442 h 257442"/>
                <a:gd name="connsiteX3" fmla="*/ 0 w 1457351"/>
                <a:gd name="connsiteY3" fmla="*/ 0 h 257442"/>
                <a:gd name="connsiteX0" fmla="*/ 1617651 w 1617651"/>
                <a:gd name="connsiteY0" fmla="*/ 0 h 257442"/>
                <a:gd name="connsiteX1" fmla="*/ 1402630 w 1617651"/>
                <a:gd name="connsiteY1" fmla="*/ 257442 h 257442"/>
                <a:gd name="connsiteX2" fmla="*/ 1 w 1617651"/>
                <a:gd name="connsiteY2" fmla="*/ 257442 h 257442"/>
                <a:gd name="connsiteX3" fmla="*/ 0 w 1617651"/>
                <a:gd name="connsiteY3" fmla="*/ 0 h 257442"/>
                <a:gd name="connsiteX0" fmla="*/ 1617651 w 1617651"/>
                <a:gd name="connsiteY0" fmla="*/ 0 h 257442"/>
                <a:gd name="connsiteX1" fmla="*/ 1562930 w 1617651"/>
                <a:gd name="connsiteY1" fmla="*/ 257442 h 257442"/>
                <a:gd name="connsiteX2" fmla="*/ 1 w 1617651"/>
                <a:gd name="connsiteY2" fmla="*/ 257442 h 257442"/>
                <a:gd name="connsiteX3" fmla="*/ 0 w 1617651"/>
                <a:gd name="connsiteY3" fmla="*/ 0 h 257442"/>
                <a:gd name="connsiteX0" fmla="*/ 1617651 w 1617651"/>
                <a:gd name="connsiteY0" fmla="*/ 0 h 257442"/>
                <a:gd name="connsiteX1" fmla="*/ 1562930 w 1617651"/>
                <a:gd name="connsiteY1" fmla="*/ 257442 h 257442"/>
                <a:gd name="connsiteX2" fmla="*/ 1 w 1617651"/>
                <a:gd name="connsiteY2" fmla="*/ 257442 h 257442"/>
                <a:gd name="connsiteX3" fmla="*/ 0 w 1617651"/>
                <a:gd name="connsiteY3" fmla="*/ 0 h 257442"/>
                <a:gd name="connsiteX0" fmla="*/ 1617650 w 1617650"/>
                <a:gd name="connsiteY0" fmla="*/ 0 h 257442"/>
                <a:gd name="connsiteX1" fmla="*/ 1562929 w 1617650"/>
                <a:gd name="connsiteY1" fmla="*/ 257442 h 257442"/>
                <a:gd name="connsiteX2" fmla="*/ 0 w 1617650"/>
                <a:gd name="connsiteY2" fmla="*/ 257442 h 257442"/>
                <a:gd name="connsiteX3" fmla="*/ 0 w 1617650"/>
                <a:gd name="connsiteY3" fmla="*/ 0 h 257442"/>
                <a:gd name="connsiteX0" fmla="*/ 1785964 w 1785964"/>
                <a:gd name="connsiteY0" fmla="*/ 0 h 257442"/>
                <a:gd name="connsiteX1" fmla="*/ 1562929 w 1785964"/>
                <a:gd name="connsiteY1" fmla="*/ 257442 h 257442"/>
                <a:gd name="connsiteX2" fmla="*/ 0 w 1785964"/>
                <a:gd name="connsiteY2" fmla="*/ 257442 h 257442"/>
                <a:gd name="connsiteX3" fmla="*/ 0 w 1785964"/>
                <a:gd name="connsiteY3" fmla="*/ 0 h 257442"/>
                <a:gd name="connsiteX0" fmla="*/ 1785964 w 1785964"/>
                <a:gd name="connsiteY0" fmla="*/ 0 h 257442"/>
                <a:gd name="connsiteX1" fmla="*/ 1731243 w 1785964"/>
                <a:gd name="connsiteY1" fmla="*/ 257442 h 257442"/>
                <a:gd name="connsiteX2" fmla="*/ 0 w 1785964"/>
                <a:gd name="connsiteY2" fmla="*/ 257442 h 257442"/>
                <a:gd name="connsiteX3" fmla="*/ 0 w 1785964"/>
                <a:gd name="connsiteY3" fmla="*/ 0 h 257442"/>
                <a:gd name="connsiteX0" fmla="*/ 1785965 w 1785965"/>
                <a:gd name="connsiteY0" fmla="*/ 0 h 257442"/>
                <a:gd name="connsiteX1" fmla="*/ 1731244 w 1785965"/>
                <a:gd name="connsiteY1" fmla="*/ 257442 h 257442"/>
                <a:gd name="connsiteX2" fmla="*/ 0 w 1785965"/>
                <a:gd name="connsiteY2" fmla="*/ 257442 h 257442"/>
                <a:gd name="connsiteX3" fmla="*/ 1 w 1785965"/>
                <a:gd name="connsiteY3" fmla="*/ 0 h 257442"/>
                <a:gd name="connsiteX0" fmla="*/ 1785965 w 1785965"/>
                <a:gd name="connsiteY0" fmla="*/ 0 h 257442"/>
                <a:gd name="connsiteX1" fmla="*/ 1731244 w 1785965"/>
                <a:gd name="connsiteY1" fmla="*/ 257442 h 257442"/>
                <a:gd name="connsiteX2" fmla="*/ 0 w 1785965"/>
                <a:gd name="connsiteY2" fmla="*/ 257442 h 257442"/>
                <a:gd name="connsiteX3" fmla="*/ 1 w 1785965"/>
                <a:gd name="connsiteY3" fmla="*/ 0 h 257442"/>
                <a:gd name="connsiteX0" fmla="*/ 1954282 w 1954282"/>
                <a:gd name="connsiteY0" fmla="*/ 0 h 257442"/>
                <a:gd name="connsiteX1" fmla="*/ 1731244 w 1954282"/>
                <a:gd name="connsiteY1" fmla="*/ 257442 h 257442"/>
                <a:gd name="connsiteX2" fmla="*/ 0 w 1954282"/>
                <a:gd name="connsiteY2" fmla="*/ 257442 h 257442"/>
                <a:gd name="connsiteX3" fmla="*/ 1 w 1954282"/>
                <a:gd name="connsiteY3" fmla="*/ 0 h 257442"/>
                <a:gd name="connsiteX0" fmla="*/ 1954282 w 1954282"/>
                <a:gd name="connsiteY0" fmla="*/ 0 h 257442"/>
                <a:gd name="connsiteX1" fmla="*/ 1899560 w 1954282"/>
                <a:gd name="connsiteY1" fmla="*/ 257442 h 257442"/>
                <a:gd name="connsiteX2" fmla="*/ 0 w 1954282"/>
                <a:gd name="connsiteY2" fmla="*/ 257442 h 257442"/>
                <a:gd name="connsiteX3" fmla="*/ 1 w 1954282"/>
                <a:gd name="connsiteY3" fmla="*/ 0 h 257442"/>
                <a:gd name="connsiteX0" fmla="*/ 1954282 w 1954282"/>
                <a:gd name="connsiteY0" fmla="*/ 0 h 257442"/>
                <a:gd name="connsiteX1" fmla="*/ 1899560 w 1954282"/>
                <a:gd name="connsiteY1" fmla="*/ 257442 h 257442"/>
                <a:gd name="connsiteX2" fmla="*/ 0 w 1954282"/>
                <a:gd name="connsiteY2" fmla="*/ 257442 h 257442"/>
                <a:gd name="connsiteX3" fmla="*/ 1 w 1954282"/>
                <a:gd name="connsiteY3" fmla="*/ 0 h 257442"/>
                <a:gd name="connsiteX0" fmla="*/ 1954282 w 1954282"/>
                <a:gd name="connsiteY0" fmla="*/ 0 h 257442"/>
                <a:gd name="connsiteX1" fmla="*/ 1899560 w 1954282"/>
                <a:gd name="connsiteY1" fmla="*/ 257442 h 257442"/>
                <a:gd name="connsiteX2" fmla="*/ 0 w 1954282"/>
                <a:gd name="connsiteY2" fmla="*/ 257442 h 257442"/>
                <a:gd name="connsiteX3" fmla="*/ 0 w 1954282"/>
                <a:gd name="connsiteY3" fmla="*/ 0 h 257442"/>
                <a:gd name="connsiteX0" fmla="*/ 2122596 w 2122596"/>
                <a:gd name="connsiteY0" fmla="*/ 0 h 257442"/>
                <a:gd name="connsiteX1" fmla="*/ 1899560 w 2122596"/>
                <a:gd name="connsiteY1" fmla="*/ 257442 h 257442"/>
                <a:gd name="connsiteX2" fmla="*/ 0 w 2122596"/>
                <a:gd name="connsiteY2" fmla="*/ 257442 h 257442"/>
                <a:gd name="connsiteX3" fmla="*/ 0 w 2122596"/>
                <a:gd name="connsiteY3" fmla="*/ 0 h 257442"/>
                <a:gd name="connsiteX0" fmla="*/ 2122596 w 2122596"/>
                <a:gd name="connsiteY0" fmla="*/ 0 h 257442"/>
                <a:gd name="connsiteX1" fmla="*/ 2067875 w 2122596"/>
                <a:gd name="connsiteY1" fmla="*/ 257442 h 257442"/>
                <a:gd name="connsiteX2" fmla="*/ 0 w 2122596"/>
                <a:gd name="connsiteY2" fmla="*/ 257442 h 257442"/>
                <a:gd name="connsiteX3" fmla="*/ 0 w 2122596"/>
                <a:gd name="connsiteY3" fmla="*/ 0 h 257442"/>
                <a:gd name="connsiteX0" fmla="*/ 2122596 w 2122596"/>
                <a:gd name="connsiteY0" fmla="*/ 0 h 257442"/>
                <a:gd name="connsiteX1" fmla="*/ 2067875 w 2122596"/>
                <a:gd name="connsiteY1" fmla="*/ 257442 h 257442"/>
                <a:gd name="connsiteX2" fmla="*/ 0 w 2122596"/>
                <a:gd name="connsiteY2" fmla="*/ 257442 h 257442"/>
                <a:gd name="connsiteX3" fmla="*/ 0 w 2122596"/>
                <a:gd name="connsiteY3" fmla="*/ 0 h 257442"/>
                <a:gd name="connsiteX0" fmla="*/ 2122596 w 2122596"/>
                <a:gd name="connsiteY0" fmla="*/ 0 h 257442"/>
                <a:gd name="connsiteX1" fmla="*/ 2067875 w 2122596"/>
                <a:gd name="connsiteY1" fmla="*/ 257442 h 257442"/>
                <a:gd name="connsiteX2" fmla="*/ 0 w 2122596"/>
                <a:gd name="connsiteY2" fmla="*/ 257442 h 257442"/>
                <a:gd name="connsiteX3" fmla="*/ 0 w 2122596"/>
                <a:gd name="connsiteY3" fmla="*/ 0 h 257442"/>
                <a:gd name="connsiteX0" fmla="*/ 2290912 w 2290912"/>
                <a:gd name="connsiteY0" fmla="*/ 0 h 257442"/>
                <a:gd name="connsiteX1" fmla="*/ 2067875 w 2290912"/>
                <a:gd name="connsiteY1" fmla="*/ 257442 h 257442"/>
                <a:gd name="connsiteX2" fmla="*/ 0 w 2290912"/>
                <a:gd name="connsiteY2" fmla="*/ 257442 h 257442"/>
                <a:gd name="connsiteX3" fmla="*/ 0 w 2290912"/>
                <a:gd name="connsiteY3" fmla="*/ 0 h 257442"/>
                <a:gd name="connsiteX0" fmla="*/ 2290912 w 2290912"/>
                <a:gd name="connsiteY0" fmla="*/ 0 h 257442"/>
                <a:gd name="connsiteX1" fmla="*/ 2236191 w 2290912"/>
                <a:gd name="connsiteY1" fmla="*/ 257442 h 257442"/>
                <a:gd name="connsiteX2" fmla="*/ 0 w 2290912"/>
                <a:gd name="connsiteY2" fmla="*/ 257442 h 257442"/>
                <a:gd name="connsiteX3" fmla="*/ 0 w 2290912"/>
                <a:gd name="connsiteY3" fmla="*/ 0 h 257442"/>
                <a:gd name="connsiteX0" fmla="*/ 2290912 w 2290912"/>
                <a:gd name="connsiteY0" fmla="*/ 0 h 257442"/>
                <a:gd name="connsiteX1" fmla="*/ 2236191 w 2290912"/>
                <a:gd name="connsiteY1" fmla="*/ 257442 h 257442"/>
                <a:gd name="connsiteX2" fmla="*/ 0 w 2290912"/>
                <a:gd name="connsiteY2" fmla="*/ 257442 h 257442"/>
                <a:gd name="connsiteX3" fmla="*/ 0 w 2290912"/>
                <a:gd name="connsiteY3" fmla="*/ 0 h 257442"/>
                <a:gd name="connsiteX0" fmla="*/ 2290912 w 2290912"/>
                <a:gd name="connsiteY0" fmla="*/ 0 h 257442"/>
                <a:gd name="connsiteX1" fmla="*/ 2236191 w 2290912"/>
                <a:gd name="connsiteY1" fmla="*/ 257442 h 257442"/>
                <a:gd name="connsiteX2" fmla="*/ 0 w 2290912"/>
                <a:gd name="connsiteY2" fmla="*/ 257442 h 257442"/>
                <a:gd name="connsiteX3" fmla="*/ 0 w 2290912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90912" h="257442">
                  <a:moveTo>
                    <a:pt x="2290912" y="0"/>
                  </a:moveTo>
                  <a:lnTo>
                    <a:pt x="2236191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6" name="btfpRunningAgenda2LevelTextLeft567338">
              <a:extLst>
                <a:ext uri="{FF2B5EF4-FFF2-40B4-BE49-F238E27FC236}">
                  <a16:creationId xmlns:a16="http://schemas.microsoft.com/office/drawing/2014/main" id="{7A26EC88-E48D-4FED-91AC-60DD3A3E094B}"/>
                </a:ext>
              </a:extLst>
            </p:cNvPr>
            <p:cNvSpPr txBox="1"/>
            <p:nvPr/>
          </p:nvSpPr>
          <p:spPr bwMode="gray">
            <a:xfrm>
              <a:off x="0" y="944429"/>
              <a:ext cx="2236191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Scorecard</a:t>
              </a:r>
            </a:p>
          </p:txBody>
        </p:sp>
      </p:grpSp>
      <p:grpSp>
        <p:nvGrpSpPr>
          <p:cNvPr id="6" name="btfpIcon419780">
            <a:extLst>
              <a:ext uri="{FF2B5EF4-FFF2-40B4-BE49-F238E27FC236}">
                <a16:creationId xmlns:a16="http://schemas.microsoft.com/office/drawing/2014/main" id="{E44A639F-6D89-4272-BF4C-5C9D17A2C709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352934" y="3340498"/>
            <a:ext cx="547733" cy="547733"/>
            <a:chOff x="729034" y="2380293"/>
            <a:chExt cx="1081088" cy="1081088"/>
          </a:xfrm>
        </p:grpSpPr>
        <p:sp>
          <p:nvSpPr>
            <p:cNvPr id="5" name="btfpIconCircle419780">
              <a:extLst>
                <a:ext uri="{FF2B5EF4-FFF2-40B4-BE49-F238E27FC236}">
                  <a16:creationId xmlns:a16="http://schemas.microsoft.com/office/drawing/2014/main" id="{54BB7EA9-7BDE-418F-95E8-C07E7E6AA103}"/>
                </a:ext>
              </a:extLst>
            </p:cNvPr>
            <p:cNvSpPr>
              <a:spLocks/>
            </p:cNvSpPr>
            <p:nvPr/>
          </p:nvSpPr>
          <p:spPr bwMode="gray">
            <a:xfrm>
              <a:off x="729034" y="2380293"/>
              <a:ext cx="1081088" cy="1081088"/>
            </a:xfrm>
            <a:prstGeom prst="ellipse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pic>
          <p:nvPicPr>
            <p:cNvPr id="4" name="btfpIconLines419780">
              <a:extLst>
                <a:ext uri="{FF2B5EF4-FFF2-40B4-BE49-F238E27FC236}">
                  <a16:creationId xmlns:a16="http://schemas.microsoft.com/office/drawing/2014/main" id="{8B432DBF-ADD2-4C3F-89B8-1312784556DD}"/>
                </a:ext>
              </a:extLst>
            </p:cNvPr>
            <p:cNvPicPr>
              <a:picLocks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9034" y="2380293"/>
              <a:ext cx="1081088" cy="1081088"/>
            </a:xfrm>
            <a:prstGeom prst="rect">
              <a:avLst/>
            </a:prstGeom>
          </p:spPr>
        </p:pic>
      </p:grpSp>
      <p:grpSp>
        <p:nvGrpSpPr>
          <p:cNvPr id="23" name="btfpIcon550007">
            <a:extLst>
              <a:ext uri="{FF2B5EF4-FFF2-40B4-BE49-F238E27FC236}">
                <a16:creationId xmlns:a16="http://schemas.microsoft.com/office/drawing/2014/main" id="{C7518551-E6DC-41ED-99E0-AF551F1AD5FE}"/>
              </a:ext>
            </a:extLst>
          </p:cNvPr>
          <p:cNvGrpSpPr>
            <a:grpSpLocks noChangeAspect="1"/>
          </p:cNvGrpSpPr>
          <p:nvPr>
            <p:custDataLst>
              <p:tags r:id="rId5"/>
            </p:custDataLst>
          </p:nvPr>
        </p:nvGrpSpPr>
        <p:grpSpPr>
          <a:xfrm>
            <a:off x="352934" y="2385781"/>
            <a:ext cx="540544" cy="540544"/>
            <a:chOff x="-425377" y="5674938"/>
            <a:chExt cx="2592243" cy="2592241"/>
          </a:xfrm>
        </p:grpSpPr>
        <p:sp>
          <p:nvSpPr>
            <p:cNvPr id="22" name="btfpIconCircle550007">
              <a:extLst>
                <a:ext uri="{FF2B5EF4-FFF2-40B4-BE49-F238E27FC236}">
                  <a16:creationId xmlns:a16="http://schemas.microsoft.com/office/drawing/2014/main" id="{22A5801A-B04C-4707-A8BA-EED54D324722}"/>
                </a:ext>
              </a:extLst>
            </p:cNvPr>
            <p:cNvSpPr>
              <a:spLocks/>
            </p:cNvSpPr>
            <p:nvPr/>
          </p:nvSpPr>
          <p:spPr bwMode="gray">
            <a:xfrm>
              <a:off x="-425377" y="5674938"/>
              <a:ext cx="2592243" cy="2592241"/>
            </a:xfrm>
            <a:prstGeom prst="ellipse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pic>
          <p:nvPicPr>
            <p:cNvPr id="12" name="btfpIconLines550007">
              <a:extLst>
                <a:ext uri="{FF2B5EF4-FFF2-40B4-BE49-F238E27FC236}">
                  <a16:creationId xmlns:a16="http://schemas.microsoft.com/office/drawing/2014/main" id="{EE60ED80-AA78-4E94-831B-5BC27170AB06}"/>
                </a:ext>
              </a:extLst>
            </p:cNvPr>
            <p:cNvPicPr>
              <a:picLocks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425377" y="5674938"/>
              <a:ext cx="2592243" cy="2592241"/>
            </a:xfrm>
            <a:prstGeom prst="rect">
              <a:avLst/>
            </a:prstGeom>
          </p:spPr>
        </p:pic>
      </p:grpSp>
      <p:grpSp>
        <p:nvGrpSpPr>
          <p:cNvPr id="27" name="btfpIcon366851">
            <a:extLst>
              <a:ext uri="{FF2B5EF4-FFF2-40B4-BE49-F238E27FC236}">
                <a16:creationId xmlns:a16="http://schemas.microsoft.com/office/drawing/2014/main" id="{33BCDEBF-F875-497D-8CB3-30C9A3B62E78}"/>
              </a:ext>
            </a:extLst>
          </p:cNvPr>
          <p:cNvGrpSpPr>
            <a:grpSpLocks noChangeAspect="1"/>
          </p:cNvGrpSpPr>
          <p:nvPr>
            <p:custDataLst>
              <p:tags r:id="rId6"/>
            </p:custDataLst>
          </p:nvPr>
        </p:nvGrpSpPr>
        <p:grpSpPr>
          <a:xfrm>
            <a:off x="352934" y="3995053"/>
            <a:ext cx="540544" cy="540544"/>
            <a:chOff x="76366" y="6304927"/>
            <a:chExt cx="1588759" cy="1588759"/>
          </a:xfrm>
        </p:grpSpPr>
        <p:sp>
          <p:nvSpPr>
            <p:cNvPr id="26" name="btfpIconCircle366851">
              <a:extLst>
                <a:ext uri="{FF2B5EF4-FFF2-40B4-BE49-F238E27FC236}">
                  <a16:creationId xmlns:a16="http://schemas.microsoft.com/office/drawing/2014/main" id="{A3362723-7C7A-43A8-B9D4-01F09E6F8AF2}"/>
                </a:ext>
              </a:extLst>
            </p:cNvPr>
            <p:cNvSpPr>
              <a:spLocks/>
            </p:cNvSpPr>
            <p:nvPr/>
          </p:nvSpPr>
          <p:spPr bwMode="gray">
            <a:xfrm>
              <a:off x="76366" y="6304927"/>
              <a:ext cx="1588759" cy="1588759"/>
            </a:xfrm>
            <a:prstGeom prst="ellipse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pic>
          <p:nvPicPr>
            <p:cNvPr id="25" name="btfpIconLines366851">
              <a:extLst>
                <a:ext uri="{FF2B5EF4-FFF2-40B4-BE49-F238E27FC236}">
                  <a16:creationId xmlns:a16="http://schemas.microsoft.com/office/drawing/2014/main" id="{8E86790F-4ABE-458C-AF1D-7EFF751644E5}"/>
                </a:ext>
              </a:extLst>
            </p:cNvPr>
            <p:cNvPicPr>
              <a:picLocks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366" y="6304927"/>
              <a:ext cx="1588759" cy="1588759"/>
            </a:xfrm>
            <a:prstGeom prst="rect">
              <a:avLst/>
            </a:prstGeom>
          </p:spPr>
        </p:pic>
      </p:grpSp>
      <p:grpSp>
        <p:nvGrpSpPr>
          <p:cNvPr id="31" name="btfpIcon240320">
            <a:extLst>
              <a:ext uri="{FF2B5EF4-FFF2-40B4-BE49-F238E27FC236}">
                <a16:creationId xmlns:a16="http://schemas.microsoft.com/office/drawing/2014/main" id="{3D614409-34AB-4D4A-8830-045D734FDC46}"/>
              </a:ext>
            </a:extLst>
          </p:cNvPr>
          <p:cNvGrpSpPr>
            <a:grpSpLocks noChangeAspect="1"/>
          </p:cNvGrpSpPr>
          <p:nvPr>
            <p:custDataLst>
              <p:tags r:id="rId7"/>
            </p:custDataLst>
          </p:nvPr>
        </p:nvGrpSpPr>
        <p:grpSpPr>
          <a:xfrm>
            <a:off x="360123" y="4992335"/>
            <a:ext cx="540544" cy="540545"/>
            <a:chOff x="218557" y="6447116"/>
            <a:chExt cx="1304378" cy="1304380"/>
          </a:xfrm>
        </p:grpSpPr>
        <p:sp>
          <p:nvSpPr>
            <p:cNvPr id="30" name="btfpIconCircle240320">
              <a:extLst>
                <a:ext uri="{FF2B5EF4-FFF2-40B4-BE49-F238E27FC236}">
                  <a16:creationId xmlns:a16="http://schemas.microsoft.com/office/drawing/2014/main" id="{BE8B3520-F4BF-47AA-86AA-7DACFDC7CC1B}"/>
                </a:ext>
              </a:extLst>
            </p:cNvPr>
            <p:cNvSpPr>
              <a:spLocks/>
            </p:cNvSpPr>
            <p:nvPr/>
          </p:nvSpPr>
          <p:spPr bwMode="gray">
            <a:xfrm>
              <a:off x="218557" y="6447118"/>
              <a:ext cx="1304378" cy="1304378"/>
            </a:xfrm>
            <a:prstGeom prst="ellipse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pic>
          <p:nvPicPr>
            <p:cNvPr id="29" name="btfpIconLines240320">
              <a:extLst>
                <a:ext uri="{FF2B5EF4-FFF2-40B4-BE49-F238E27FC236}">
                  <a16:creationId xmlns:a16="http://schemas.microsoft.com/office/drawing/2014/main" id="{B249B373-5910-4428-B0AF-5C373CF76FB5}"/>
                </a:ext>
              </a:extLst>
            </p:cNvPr>
            <p:cNvPicPr>
              <a:picLocks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8557" y="6447116"/>
              <a:ext cx="1304378" cy="1304378"/>
            </a:xfrm>
            <a:prstGeom prst="rect">
              <a:avLst/>
            </a:prstGeom>
          </p:spPr>
        </p:pic>
      </p:grpSp>
      <p:sp>
        <p:nvSpPr>
          <p:cNvPr id="40" name="Rectangle 39">
            <a:extLst>
              <a:ext uri="{FF2B5EF4-FFF2-40B4-BE49-F238E27FC236}">
                <a16:creationId xmlns:a16="http://schemas.microsoft.com/office/drawing/2014/main" id="{CB6697B8-D59C-4577-A0C4-93A60A812B02}"/>
              </a:ext>
            </a:extLst>
          </p:cNvPr>
          <p:cNvSpPr/>
          <p:nvPr/>
        </p:nvSpPr>
        <p:spPr bwMode="gray">
          <a:xfrm>
            <a:off x="9649088" y="1561001"/>
            <a:ext cx="2212712" cy="4339081"/>
          </a:xfrm>
          <a:prstGeom prst="rect">
            <a:avLst/>
          </a:prstGeom>
          <a:noFill/>
          <a:ln w="190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sp>
        <p:nvSpPr>
          <p:cNvPr id="7" name="btfpCallout974076">
            <a:extLst>
              <a:ext uri="{FF2B5EF4-FFF2-40B4-BE49-F238E27FC236}">
                <a16:creationId xmlns:a16="http://schemas.microsoft.com/office/drawing/2014/main" id="{0CD18901-64EB-4EB5-B02A-6BFAB829CD18}"/>
              </a:ext>
            </a:extLst>
          </p:cNvPr>
          <p:cNvSpPr/>
          <p:nvPr/>
        </p:nvSpPr>
        <p:spPr bwMode="gray">
          <a:xfrm>
            <a:off x="4610100" y="1642161"/>
            <a:ext cx="1099225" cy="375366"/>
          </a:xfrm>
          <a:prstGeom prst="wedgeRectCallout">
            <a:avLst>
              <a:gd name="adj1" fmla="val 76008"/>
              <a:gd name="adj2" fmla="val -7182"/>
            </a:avLst>
          </a:prstGeom>
          <a:solidFill>
            <a:srgbClr val="FFFFFF"/>
          </a:solidFill>
          <a:ln w="19050">
            <a:solidFill>
              <a:srgbClr val="5C5C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indent="0">
              <a:spcBef>
                <a:spcPts val="0"/>
              </a:spcBef>
              <a:buNone/>
            </a:pPr>
            <a:r>
              <a:rPr lang="en-US" sz="1000">
                <a:solidFill>
                  <a:srgbClr val="5C5C5C"/>
                </a:solidFill>
              </a:rPr>
              <a:t>Target data basis availability</a:t>
            </a:r>
          </a:p>
        </p:txBody>
      </p:sp>
      <p:grpSp>
        <p:nvGrpSpPr>
          <p:cNvPr id="54" name="btfpStatusSticker119421">
            <a:extLst>
              <a:ext uri="{FF2B5EF4-FFF2-40B4-BE49-F238E27FC236}">
                <a16:creationId xmlns:a16="http://schemas.microsoft.com/office/drawing/2014/main" id="{C41A67C0-E7E2-DC5B-7E11-8EB3CA2B4C06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10100356" y="955344"/>
            <a:ext cx="1761444" cy="235611"/>
            <a:chOff x="-2280176" y="876300"/>
            <a:chExt cx="1761444" cy="235611"/>
          </a:xfrm>
        </p:grpSpPr>
        <p:sp>
          <p:nvSpPr>
            <p:cNvPr id="55" name="btfpStatusStickerText119421">
              <a:extLst>
                <a:ext uri="{FF2B5EF4-FFF2-40B4-BE49-F238E27FC236}">
                  <a16:creationId xmlns:a16="http://schemas.microsoft.com/office/drawing/2014/main" id="{34C1E0C4-AA4F-20D1-090C-E0EC1390D2D0}"/>
                </a:ext>
              </a:extLst>
            </p:cNvPr>
            <p:cNvSpPr txBox="1"/>
            <p:nvPr/>
          </p:nvSpPr>
          <p:spPr bwMode="gray">
            <a:xfrm>
              <a:off x="-2280176" y="876300"/>
              <a:ext cx="1761444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preliminary</a:t>
              </a:r>
            </a:p>
          </p:txBody>
        </p:sp>
        <p:cxnSp>
          <p:nvCxnSpPr>
            <p:cNvPr id="56" name="btfpStatusStickerLine119421">
              <a:extLst>
                <a:ext uri="{FF2B5EF4-FFF2-40B4-BE49-F238E27FC236}">
                  <a16:creationId xmlns:a16="http://schemas.microsoft.com/office/drawing/2014/main" id="{03A8E5D8-6096-83F3-1F70-B2C96641EC41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2280176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9" name="btfpNotesBox949558">
            <a:extLst>
              <a:ext uri="{FF2B5EF4-FFF2-40B4-BE49-F238E27FC236}">
                <a16:creationId xmlns:a16="http://schemas.microsoft.com/office/drawing/2014/main" id="{5644D02E-AC24-AA7B-5614-D0A505ED70F0}"/>
              </a:ext>
            </a:extLst>
          </p:cNvPr>
          <p:cNvSpPr txBox="1"/>
          <p:nvPr>
            <p:custDataLst>
              <p:tags r:id="rId9"/>
            </p:custDataLst>
          </p:nvPr>
        </p:nvSpPr>
        <p:spPr bwMode="gray">
          <a:xfrm>
            <a:off x="330199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Note: Please refer to ‘</a:t>
            </a:r>
            <a:r>
              <a:rPr lang="en-US" sz="800" dirty="0" err="1">
                <a:solidFill>
                  <a:srgbClr val="000000"/>
                </a:solidFill>
              </a:rPr>
              <a:t>OPEXEngine</a:t>
            </a:r>
            <a:r>
              <a:rPr lang="en-US" sz="800" dirty="0">
                <a:solidFill>
                  <a:srgbClr val="000000"/>
                </a:solidFill>
              </a:rPr>
              <a:t>: Key definition’ slide for details on the above metrics; (1) ACV based on Target’s 10-K filing for 2024, representing over 80% of total ACV for Target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Source: </a:t>
            </a:r>
            <a:r>
              <a:rPr lang="en-US" sz="800" dirty="0" err="1">
                <a:solidFill>
                  <a:srgbClr val="000000"/>
                </a:solidFill>
              </a:rPr>
              <a:t>OPEXEngine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8" name="btfpCallout974076">
            <a:extLst>
              <a:ext uri="{FF2B5EF4-FFF2-40B4-BE49-F238E27FC236}">
                <a16:creationId xmlns:a16="http://schemas.microsoft.com/office/drawing/2014/main" id="{A10CF8E0-61EF-F10E-CA55-059047AB953C}"/>
              </a:ext>
            </a:extLst>
          </p:cNvPr>
          <p:cNvSpPr/>
          <p:nvPr/>
        </p:nvSpPr>
        <p:spPr bwMode="gray">
          <a:xfrm>
            <a:off x="4148138" y="4799894"/>
            <a:ext cx="2127925" cy="294206"/>
          </a:xfrm>
          <a:prstGeom prst="wedgeRectCallout">
            <a:avLst>
              <a:gd name="adj1" fmla="val 55350"/>
              <a:gd name="adj2" fmla="val 4149"/>
            </a:avLst>
          </a:prstGeom>
          <a:solidFill>
            <a:srgbClr val="FFFFFF"/>
          </a:solidFill>
          <a:ln w="19050">
            <a:solidFill>
              <a:srgbClr val="5C5C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indent="0">
              <a:spcBef>
                <a:spcPts val="0"/>
              </a:spcBef>
              <a:buNone/>
            </a:pPr>
            <a:r>
              <a:rPr lang="en-US" sz="800">
                <a:solidFill>
                  <a:srgbClr val="5C5C5C"/>
                </a:solidFill>
              </a:rPr>
              <a:t>Negative Rule of 40 represents cash burn to drive growth (-</a:t>
            </a:r>
            <a:r>
              <a:rPr lang="en-US" sz="800" err="1">
                <a:solidFill>
                  <a:srgbClr val="5C5C5C"/>
                </a:solidFill>
              </a:rPr>
              <a:t>ive</a:t>
            </a:r>
            <a:r>
              <a:rPr lang="en-US" sz="800">
                <a:solidFill>
                  <a:srgbClr val="5C5C5C"/>
                </a:solidFill>
              </a:rPr>
              <a:t> EBITDA, +</a:t>
            </a:r>
            <a:r>
              <a:rPr lang="en-US" sz="800" err="1">
                <a:solidFill>
                  <a:srgbClr val="5C5C5C"/>
                </a:solidFill>
              </a:rPr>
              <a:t>ive</a:t>
            </a:r>
            <a:r>
              <a:rPr lang="en-US" sz="800">
                <a:solidFill>
                  <a:srgbClr val="5C5C5C"/>
                </a:solidFill>
              </a:rPr>
              <a:t> growth) 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B66AA21D-94A4-1B1B-6646-67D4F8731876}"/>
              </a:ext>
            </a:extLst>
          </p:cNvPr>
          <p:cNvSpPr/>
          <p:nvPr/>
        </p:nvSpPr>
        <p:spPr bwMode="gray">
          <a:xfrm>
            <a:off x="6054052" y="1679137"/>
            <a:ext cx="990600" cy="304800"/>
          </a:xfrm>
          <a:prstGeom prst="rect">
            <a:avLst/>
          </a:prstGeom>
          <a:solidFill>
            <a:srgbClr val="CC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200" b="1">
                <a:solidFill>
                  <a:srgbClr val="FFFFFF"/>
                </a:solidFill>
              </a:rPr>
              <a:t>Target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29EA0AA3-4446-D2B3-76FC-7F488049393F}"/>
              </a:ext>
            </a:extLst>
          </p:cNvPr>
          <p:cNvSpPr txBox="1"/>
          <p:nvPr/>
        </p:nvSpPr>
        <p:spPr bwMode="gray">
          <a:xfrm rot="3048423">
            <a:off x="11431924" y="190878"/>
            <a:ext cx="914400" cy="257369"/>
          </a:xfrm>
          <a:prstGeom prst="rect">
            <a:avLst/>
          </a:prstGeom>
          <a:solidFill>
            <a:srgbClr val="CC0000"/>
          </a:solidFill>
        </p:spPr>
        <p:txBody>
          <a:bodyPr wrap="square" lIns="36000" tIns="36000" rIns="36000" bIns="36000" rtlCol="0">
            <a:spAutoFit/>
          </a:bodyPr>
          <a:lstStyle/>
          <a:p>
            <a:pPr marL="0" indent="0" algn="ctr">
              <a:buNone/>
            </a:pPr>
            <a:r>
              <a:rPr lang="en-US" sz="1200">
                <a:solidFill>
                  <a:srgbClr val="FFFFFF"/>
                </a:solidFill>
              </a:rPr>
              <a:t>SAMP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2677907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6793BE8B-12AE-7EE6-B506-076F3717498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84" imgH="486" progId="TCLayout.ActiveDocument.1">
                  <p:embed/>
                </p:oleObj>
              </mc:Choice>
              <mc:Fallback>
                <p:oleObj name="think-cell Slide" r:id="rId7" imgW="484" imgH="48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793BE8B-12AE-7EE6-B506-076F371749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Red and black diagonal lines">
            <a:extLst>
              <a:ext uri="{FF2B5EF4-FFF2-40B4-BE49-F238E27FC236}">
                <a16:creationId xmlns:a16="http://schemas.microsoft.com/office/drawing/2014/main" id="{3E034C3A-5735-8DB0-32D2-661876CCEC6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-3360"/>
            <a:ext cx="12191999" cy="843464"/>
          </a:xfrm>
          <a:prstGeom prst="rect">
            <a:avLst/>
          </a:prstGeom>
        </p:spPr>
      </p:pic>
      <p:grpSp>
        <p:nvGrpSpPr>
          <p:cNvPr id="22" name="btfpRunningAgenda2Level429779">
            <a:extLst>
              <a:ext uri="{FF2B5EF4-FFF2-40B4-BE49-F238E27FC236}">
                <a16:creationId xmlns:a16="http://schemas.microsoft.com/office/drawing/2014/main" id="{70B47618-323A-23C8-CFD6-3A3B17F723AB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0" y="944429"/>
            <a:ext cx="4011897" cy="257443"/>
            <a:chOff x="0" y="876300"/>
            <a:chExt cx="4011897" cy="257443"/>
          </a:xfrm>
        </p:grpSpPr>
        <p:sp>
          <p:nvSpPr>
            <p:cNvPr id="23" name="btfpRunningAgenda2LevelBarLeft429779">
              <a:extLst>
                <a:ext uri="{FF2B5EF4-FFF2-40B4-BE49-F238E27FC236}">
                  <a16:creationId xmlns:a16="http://schemas.microsoft.com/office/drawing/2014/main" id="{52F059CB-D4BA-AFEB-2299-8ACCA2808CDD}"/>
                </a:ext>
              </a:extLst>
            </p:cNvPr>
            <p:cNvSpPr/>
            <p:nvPr/>
          </p:nvSpPr>
          <p:spPr bwMode="gray">
            <a:xfrm>
              <a:off x="0" y="876300"/>
              <a:ext cx="4011897" cy="257443"/>
            </a:xfrm>
            <a:custGeom>
              <a:avLst/>
              <a:gdLst/>
              <a:ahLst/>
              <a:cxnLst/>
              <a:rect l="0" t="0" r="0" b="0"/>
              <a:pathLst>
                <a:path w="4011897" h="257443">
                  <a:moveTo>
                    <a:pt x="0" y="0"/>
                  </a:moveTo>
                  <a:lnTo>
                    <a:pt x="4011896" y="0"/>
                  </a:lnTo>
                  <a:lnTo>
                    <a:pt x="3957175" y="257442"/>
                  </a:lnTo>
                  <a:lnTo>
                    <a:pt x="0" y="257442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24" name="btfpRunningAgenda2LevelTextLeft429779">
              <a:extLst>
                <a:ext uri="{FF2B5EF4-FFF2-40B4-BE49-F238E27FC236}">
                  <a16:creationId xmlns:a16="http://schemas.microsoft.com/office/drawing/2014/main" id="{E943A018-3F17-45D5-EB3D-237BED3907CD}"/>
                </a:ext>
              </a:extLst>
            </p:cNvPr>
            <p:cNvSpPr txBox="1"/>
            <p:nvPr/>
          </p:nvSpPr>
          <p:spPr bwMode="gray">
            <a:xfrm>
              <a:off x="0" y="876300"/>
              <a:ext cx="3957175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Employee satisfaction</a:t>
              </a:r>
            </a:p>
          </p:txBody>
        </p:sp>
      </p:grpSp>
      <p:grpSp>
        <p:nvGrpSpPr>
          <p:cNvPr id="19" name="btfpColumnIndicatorGroup2">
            <a:extLst>
              <a:ext uri="{FF2B5EF4-FFF2-40B4-BE49-F238E27FC236}">
                <a16:creationId xmlns:a16="http://schemas.microsoft.com/office/drawing/2014/main" id="{B3288A59-CFA1-4075-A29B-8C40C8030438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7" name="btfpColumnGapBlocker550441">
              <a:extLst>
                <a:ext uri="{FF2B5EF4-FFF2-40B4-BE49-F238E27FC236}">
                  <a16:creationId xmlns:a16="http://schemas.microsoft.com/office/drawing/2014/main" id="{59894CAA-19EF-4D55-AA6B-329E15C636C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5" name="btfpColumnGapBlocker260919">
              <a:extLst>
                <a:ext uri="{FF2B5EF4-FFF2-40B4-BE49-F238E27FC236}">
                  <a16:creationId xmlns:a16="http://schemas.microsoft.com/office/drawing/2014/main" id="{06517954-501A-4584-8032-C2FE6CE819C0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3" name="btfpColumnIndicator774121">
              <a:extLst>
                <a:ext uri="{FF2B5EF4-FFF2-40B4-BE49-F238E27FC236}">
                  <a16:creationId xmlns:a16="http://schemas.microsoft.com/office/drawing/2014/main" id="{49CAEE38-380D-42B2-AFC9-400C81B316C2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btfpColumnIndicator437924">
              <a:extLst>
                <a:ext uri="{FF2B5EF4-FFF2-40B4-BE49-F238E27FC236}">
                  <a16:creationId xmlns:a16="http://schemas.microsoft.com/office/drawing/2014/main" id="{8335A54E-B1EC-4B96-B5CF-71DB0716F348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" name="btfpColumnIndicatorGroup1">
            <a:extLst>
              <a:ext uri="{FF2B5EF4-FFF2-40B4-BE49-F238E27FC236}">
                <a16:creationId xmlns:a16="http://schemas.microsoft.com/office/drawing/2014/main" id="{D8DFA1BE-4D7C-4898-889F-5FC5E5507D43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6" name="btfpColumnGapBlocker341964">
              <a:extLst>
                <a:ext uri="{FF2B5EF4-FFF2-40B4-BE49-F238E27FC236}">
                  <a16:creationId xmlns:a16="http://schemas.microsoft.com/office/drawing/2014/main" id="{B37BB81A-2C98-4D21-87AB-3AA76419F241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4" name="btfpColumnGapBlocker725790">
              <a:extLst>
                <a:ext uri="{FF2B5EF4-FFF2-40B4-BE49-F238E27FC236}">
                  <a16:creationId xmlns:a16="http://schemas.microsoft.com/office/drawing/2014/main" id="{6D1EABB3-3180-4672-895F-A9B2F78C1929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1" name="btfpColumnIndicator247886">
              <a:extLst>
                <a:ext uri="{FF2B5EF4-FFF2-40B4-BE49-F238E27FC236}">
                  <a16:creationId xmlns:a16="http://schemas.microsoft.com/office/drawing/2014/main" id="{E6794069-0783-4EA9-A71B-F5D51998EEA3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btfpColumnIndicator941061">
              <a:extLst>
                <a:ext uri="{FF2B5EF4-FFF2-40B4-BE49-F238E27FC236}">
                  <a16:creationId xmlns:a16="http://schemas.microsoft.com/office/drawing/2014/main" id="{810DDBC8-D321-4935-BB40-835E8D3B175B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>
                <a:solidFill>
                  <a:schemeClr val="bg1"/>
                </a:solidFill>
              </a:rPr>
              <a:t>Competitor 5 leads the peer-set of Business &amp; IT consulting with average employee satisfaction (~4.6) across L5Y; Competitor 4 is a close second</a:t>
            </a:r>
          </a:p>
        </p:txBody>
      </p:sp>
      <p:sp>
        <p:nvSpPr>
          <p:cNvPr id="3" name="btfpLayoutConfig"/>
          <p:cNvSpPr txBox="1"/>
          <p:nvPr/>
        </p:nvSpPr>
        <p:spPr bwMode="gray">
          <a:xfrm>
            <a:off x="12700" y="12700"/>
            <a:ext cx="870999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0_132500354505446827 columns_1_131884207930599054 7_1_131891182327798234 11_1_131913788880960691 12_1_131914348867389279 </a:t>
            </a:r>
            <a:endParaRPr lang="en-US" sz="100" err="1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7" name="CompanyRatingChart2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aYhHdubK/b9WYMbiqTQFZNRdTaHJ1Coz+gznC5J29/l+uni9WCTqRMIgVGBy5FSCqTCP+Vdrf4pg20L7fH6DBHxckpk0S12L9wE7UCaEQI049f2+UcrUbLH1ih4z/0sftQZt6TTaB4qiVuhc+/1Qf5v53XKFQ+LZHEpur87Qdh69wPaLkzk20KG+aJU7W6B0+B5kd0/QRAsdrfhLkpekqgOCXLclfqRB7urF88vCzZTluSw4FjKIC0ku7ySMlEpJRg0cd1yWcj4wxWsU7Z439juL0UjtIMs+Jcdwk1Qut6+GzD6snCOv8c0KwDtJaiYigTyyXMg1hXRDRA1bskHisLmUFTd4hbsKl5+3oQUTMsMNWiFoJ+rs4aZF3gPWi3YHrWbrkX9NfRG4NsGLlicZSDJfURXuoFwp5yVtv75dVGX8OIv2J97fOcH64RfkSKIeRpqQbxW3GFJRjA4Z+OJEJV8tTJQSt4XnKabci2IgI43ldX9fAGYrFx3rpwJSv9pwpNuGu/XnhHt6XZn3n80CoqNa25TA4W8N4P+ALBMwoFmB2m+qeJhwdDKsRWBMm32ZDdqU/iCm5i2dy3BhzZzPEB/QTNI6B1C8GuGX8FQ+hl9Nx+Js+z6OB/edv+lsK2lhWJ6o5CplSLhnJPnEkhTts6KAIpq1VziSNQtTgQ0RYADA+AU/T3YP1882kWsSiOp84s8C+ToJ2MImMhsJen4WJYWXKlLyST126330v41zas/GFXfgmIjiTcZKHLbER9ZGgZJl3MvCIN92BgZ/o0XJA3STH6zPQ4ksHucv9jKpoB9pgbzfkVgYut4FmQFblHH++9lmPioEsCXC0s0AAjVU/332uj/Jsx0TFmGSGxebIzgYAj9aaH0oMkYGoOBpMffctAsYr0q4BpC46dhD8Gns2a54+UKL6W3CGAwBRZXFwQ3wnD20d2IFyqm6DdIg3mfWIvb/VavWRgKqeLomQ0rGETNPswlSyB4xnULmomNOIslk9S+BBtMs36YTdVOxZS/h6T2rdNUce7y3FNPCVmz6VUEGVloe8XHgMsdfXjQcGXfBN2F/XCsCBsWDbPxNdZAkrv08IROJiCCERRLxqgzj2nKDbwl8JZOdxyZyUoMFwOs8zVO3KN63NdIZoxWHY/1nmeNCX8MUJVhl7mSJLh/BxupdMQhcSEcY0Gu25fUQ8tCufr6FAXrTB1+e+3DA0cBAj2vDb6cJan45uMGkxt48ZEWprE4LrtG8Ld8GtnL7LoaQlSUdHhlHKIEl2HUfOWRhfbUaq4CP6p8YSwdC09TkEQmiuULJLtRAe3qpFABH/7keUTBsU/aPwx4W3hjWmObyiDI5aTyF5WWzQyUUtEUT6u5Co5SJFJdHb14iTZFjccGprSyW2B3MGQN96t0u3aIW09v+YGLqV0mmDt82/4cpSq0IDrvZjNTHCzT9pHzzbk+KhFIWOlMBOQXBo7eCjR/snI/XZD+UDRetayaAQ4C8wv1RMquBk555FSamkpZyO1rfDTr0CsaYZj4T3SoiDSj9DiPTO/faynlnr1O8STagr3OniJCvdKOvrkWU7wdIn0NgDloTAeTmQqKMiRNFM/HAt0IXFkBskYttIiaNH/aOybqs1yjCPx2p5SWf3DvJ9Hy3+FpLE0ur7oxRJr7ARQUkhqG/qyac8RCZi44bCYYbglPkE9GlHMQcNaXWMvncUOLlKegnI5o/+uKXQXUIah4IDmRK4NeL0G9it04FRPUaaYYUNWthNgqpHzJtawF1yki1M9ZKaBZL5x5aDXYedJEZdKL0NC+oTyHwcycrbcVARpOCy3upb7VvEvoY40LBRuUzHM+zWkB/ZoWDC00hXlSn0AczDaByT5fa6PCDn8xnTeSTziUXJfbCytB+zzbFeWfVMUi9c0eQWClDZE5zfjMVTdwMzIT3qh9an8yXNZjXXPifaRKjtr71BjN1HlEUiYcobaDfxS0zRTvktynLKCnoIB0bOwu9razWb6j4OwqOp3DaDjWwMxgVyT3USeQSQcp73nVZvL6+sLpiIjQy2KbrfdPcA4ZZtPIop/tDslstxTVYRBZkJkzNuNbG5XRN+qnPb+vQojnL62fC2ZdO9IFlZW39uRRJE/9tvzuq0KFWmxf1oKXIWOunSzwdiHUGdRbL4zXshuDm/oHwAHbLrthjyaEHzFvVPaUQjKTXgH+jtCbWE1ciqAoShxlWy4Nf9gi/20GOVaZLf2Er7u7nXQdgYrYhq1Uh4xgyGTBiBl+U5MqQ2YtwCHGuAg/ie1Qqj4/X9LBh2i08sz4y/vDR8pbjA3TTOh4tDZW8d6mAIU+p6wn2dhKE1j71iURTVkrS5pwVRWBjZy7FcN8Hgn1aVcV0KPoqS0W32Yg/jYEk7NKNOrGKLLTqgrGv9QjZK5q37S5YDZBgB91ajUrSMozVzBzqExOZMxgjncE4tla+/oQNjB/v01kgp/YhvjLB3Tm1WhBdRlfeIlzMOm7b7hsz/0CZj/pv7d9InJ8s52XYNvZUP8KusoU+FqQPfAQ8eHznYkMlXdepVNf0R9EDp1cm2NtEwtI5bBkmMHZSCWKqu861XdnuZdDVtnoQMvO0GB58uJ095NWFEPnwgqzRaaYb37GeoRBGQNDXIR885+FFLGAQMqRFN5lF3itvyoG2aQLqnOQT/E19gL6FHoRHpi1GjbyxQRfLlnNxflBssdH8jqZNPi9insCau9xpQj1QwWu/1C8mAn0oFSb5UwUbfKjXCm6Fbhal+8xTtvzIpX51pmYvyhPvpGCDng4c712C+uJ9ekc5+IJscK4lRuwNGA26G9Ig2LHoyLc+oUPfS5dNEGg5Z9bYQXH2ng9+GayeymQmMjZujFQzxJomP16HGInERR/P2ekzuV6gIGvcXlc2GSycIE9guHvxCFGpyAHZbNZjAObLLiEk4LOh3i4vCEPnmGUtWjfmzEsgz6E/Cd94VPBoJvx9FOPMzoqnlRWDnsfggvT4l1pfEPzvBzM2W+9s90Px3tBcKI0cNP8GLqV26wzqur3xovXPRVM5YvW+ajFaeXVPLge2eScuHZdFgQoY0LEe/VXmIo+l8ziw/RQUpQUgzsUYQ//HuyDcy2JQbOQXaGH+2TLWVKX67tCOOCduhTxmX4GguT4HJQKC6eJgS9LQnJ1xCdulDFnsrjCI33W7QaLCVi+PVcrmeSL33S8Vr5EOPmL2tTaCN9uPWi5ELR+LEGQOJq9k26Gt2MJNwCMIhr76yMmJLZtQhA8N6NVKUaJaJdp+VJ90t+7/PiRW4MwuVvHx97jV/EVrAIq7Hcb1fkhGHv6oau3esDkDm3OOw1LVd0YLkH6Sw+XE24vqoUBGtO+YetRze+WWTRA9lUgUx5EQZmjE5m9rY2u+NQq1m/s6tdBWd+e8i3atM9tgAjWNUnaLjQ59hu4UInNRJ6rzDJNT6VLEOTPxnUqwXd5Ydd7yNCYkDt1W+0PnqoLid3Y2ptmXewKe2O3fJxajeohVaV4A7qFYN0SU5qZqX3S3UQtxffYkRTi4cv6ZtpvUWMVx20b221hJYoLTqAjSdwSuFbe6tPiqURNOX9eQ3/BoMWZcyxx6FJFghrQU/3Sg9BGc1KQ4yXl6/Yzm+jEbWQ0LDpSYZ+i2GJWsj7cRQp/3b7HaFjlkESC8FJky5xUA/0/03xSXGduC6h8HUGMQyKrfBxA6NT8o+0Sh8CaJ3Y/FjLSWNAPRsRKBmBnhAL914WxiJtDGgs3SpqGRvjVymiFv8LPFVTLRNWZn0ybw2wfJ6QYucj2H5ygLO5x3y6i5z7knvwozwHNAynj4gjPXsgLWNyUS06WLucQEQB4vVxQBpOLR37O++Q8yyJyqo4G3QvXSkIbOmX5AtFisw8UJFllP2MkcbE4hdlkTA4sevRS59tcpk5qH+idB04eoPpnIZISdcxUSF7NKZyqKXLfQlDbeyzzfYIRrRrTsPCrS6ZZiN2GzEFrRxbrTiPeWzwSyHdeAmjqi2Q9NvmVi3XtOqcB3lnaC3fPpG8e+JbCAISRH6gezogpsEL8x3uSrEUxYnWvFAEEpkAWuUVYEAWjxeRhaWMLq6EQCXNbdXJLF/hNeQnJ7e38eASbc2+ps2iKqhuFZchmwuWn0s3qC88wfkP1wM8/t4tfdZ+dTHok/AlMSk/0B/HygFAUBngTTdZKfWIA0yHT97v2FfULe3mPqmx1N1ClpS6bpq/grtrrLu2ZRe/WLA6JCEJmGm1PJZov0XdimBsFUFOx3LM8nb2NDuaxs4aFt0aScbYCa9va6r3NPpcSMA8qIw4v929JHr581zcv8/Oy35cFmTpgQf7BEZ5ynxrHpmo/myYKld101zgKU/kPdWkLhhxaM3sfsaEXpdWccf4JoEpZOB9zYeVggh+9wb2fD2S8EfGmNVxZ4yfSAljcS+o2bOUbYFjxX7dLIBVdPQkghzLN5A0gY6u4U89OkVNx3OJ9yPnPwwMlsDd9f03wibvPRe2cNa1R7mgpv7f+0VQI23ToNpIwuKhfXFqp55HITyU16NB9VL4uTZb3GfYILT54y0jFujOFPNhVSwctbK/UYivoYWJqrOjJgY7RZzQr923HlpVMdQQ8p9iD0Ucw+5Tbsqs+/6xP2Y+zdtjHXFutoU8slnlmCcuIYw9jw6aCgdcJm0fVdJEElwHppMh/uoqFAGmwnLYfpejW9q6mQekegUGExHS9aztf9iwvIGiOXiOyL9ozBH4ATf0oeWav7sim6JsybKTbr/3v1b37vQ+frBVcwXnXDO7tpolE0DBCqrZXIWpovIfRjvky+7fjhCuFxl8YkbWELrnnj7aGsCFDd6Sm5PJ+t4FY9UJilGSluDYL6SmFadOOU/ruzigeOL6NWdeQyI3k5R5+1MN4cE/NQAgbun+SAJhYLXsvda1z3Xl5ilOXu3ZynowNhwhFJp4wL0DLoCbW1D8ue3DeEr6/RNe7kmSCjRjEMkpYJ9qzvqtRv0yGTXQ9LuPQD49du7KzosPcjAlvY2LPUq4ISb1tyAGemDO05Hz+odmF1xFP8vX8Sb5uoe/GZp/mKXe2i3pgA61fSzMKBGdpWq/YwfMY+RoZFLPs0JxEN7TsYdTANWBUspsQVWxNRbCDo7wnRQ7Ibv66607crdtw9TPcf39lTmE9LJ6038WlJ9u2CkXdDFTIqu+J3TfKoLaXuQMHZx6Ny9/3o3TWwpLFBMG3PsgWmzKcFMgXQVWfPeo4m3lZbcul/3WSzwbONiwJJ5hzOEYK1fMfjS7fBuyIHyMBGoM8sFG9u0+VzgLE50Hureh4/hTNfmtxxZ+hfStmKcDKW4H0ru0+TCjOUupA167TjFYqJb5inYxWR9Pp+Rf3OCGFrIC88jcYkOr54jyHG7rBlqT49eLYupYc01/qztG/IxWBEGXmNTH8Sz4cX6t9SJOHhk3tY1FWlowhUpwBcWi9lLh3dVxA09NiqceUDjrnxtHCjd2L0G8ZHXg+3oojbM3/T8d/mrKB7isMzJGv0vjD/+R22+x1Sb2EqCX1cDI7VfgAcfjZDcSPk6l7CXVQn12kAlEiRZi8PQfa3jTTBj3FtUYFjYovRhi8yyf/AJ/3wMNvKpm+LuQcCKhLMt3+7zqhOc4j/RVJvRVFKynv7OLeY3s4FmSzECFLMGT0wZskzWiM/4gBvO4FxGdwde9P0cU6s3UTnbLHPwJbXh58UsJ1ZwbEa9YfxCiSdQh07ydLXknP45KTlVATyjIzZqGYXu3LSCgweARigWc5v6F9dGIUP0jyqFD08c4MjNPugNmHCEQ4LUz/h+eEDWCIuOryZIlnApBtxVf4cDMvs7GHBIGDzxwXRHvN565dHZiBn1YAVHTIMr/knn8ZPIvhvwRiEBNODCWbIaeCFCIdYBCjCmfuDuiD50W4FdOlSxhTm+X+t1uO9QJ+ikfLl1tSrxDkGGAUr9FWFa2CGPi3hcH748dRoV9vXknusErtcWSnazdU1ZCm14o9sLqlfHVlwJy0Ny3f1Qw+GWbhluPymzMVpB/7QphrASUVHOOZOxTqJ7k2/2Oe5mCIhFC528sq1bLaRh0x6seWCslihvcKcpr+/LTTudDFsp3LbzMKGBt/T3HWs+ijkjQonoKngBs4BmYdnJ+wQi/rw/Kd4SzSkwLAL7pmddw02eDFSX/LOngJBzjfGielTPngx05UwqXrfVI2Yi3K9m+yxD+kCCuNYnNVoj2WyBDurR9kItg0pmKs9nkMpS8u2EGDIgZnBARTSUDlD13DFVRca4zcvKu/C5ss6Lg9MALnG7QrfYMUS+aP4fssD2ElNFQcvULret2fW3dqqu6hnhJdfV8NTe+hKPv7PK2D72DhCzaZR+KnResfROrzeaXCRdkV6EGSvqsj7pNGxCXqnIsxRzxpxVH767VvBJyYkTw9Y9RXMxkZeQSAtKPgUitgEmiOJdyH+o+/rP/6M6OtfszfJ5UUIDwyyVPvmRO+V1FgBtxnoFl9hU+yig/W7+7/rgDT2RCuuSZrk2/dKK+fWMYn67200CbTpcK+0D4Q5G3p5kFUoEa1+Y3L9czCbdHK9JpphI3i9mhU+KQrnQJ5CH1J//DCLSyTj7ebn/tyjZwI5SashZp1f0S6DdLMx0wdcJxeRh4g3lGyXvAjwQwovuLB97z+EXTTC0oMKQ2JXYbSz/QNEdZc7yhRWlkUpcLrsRt7URGdOzX7P7mrKU0OT7pE44dMCuIn/giOl7Ff+iVAjbTu0Qg4bD5WEGhcGEwaW4pgidshVGwHQnSbREm64z+T8SPl6E2FU8e3ROhX05a/WaadZJ5V9Y6b3pfmhzGvMAQ0uSFdoObE7ZIBGjHTXKnxU6u12IKq6WLX4jRRVNe3Q+Vc29yg6SWRuk9oiKHaGv1hZX8kZAqet29F0Il9b5bfw5dLYDEcr/ZUCnrrYOsvPi/V/LKcPPXPH7grN+9/ZvQLHlB9m6X6+ty1JAk6DK7ZzUEII6GYUZVmyWG6YvKewYVBn/ytESWGImNMx4JzekBhHAEUWi0upiS08Jy8hTNfUB8wNrPYENkyqhrJURQkV9YQH+PyvfeWyM7MI55fnFtS5NEgq8yB8L9i4wgPKglfczLOCzjQiPo4S1lTDOJSGYX3DDyO7zfOCFtsL5V7pn8WKC/3y5+l7ZyVbE7aW9lJ5gPoVUBRcdVfAhawAi0+HCirklsfp+d5WyaTI/JfDbiLKWN+Rqe1qWhmxRR4rP2V6ghmxFd2ahQwn4ZZ1QbeLPuWPtz5vDqNpX2Njdo878WdXr0CHsOgaVrIWRQBjHL7sNbkhNeppaO1GWByGlWk589O7Mlcz+D3vpkcAvkzugGhIQEZ3AM9U8MfrQfCY/V3jdwq8RXRpWFUG3tOXxeEc6Mc6KguK5jopZQXZIaUDA0lLJuj+ZXNJHaDOcsMt6uqRz7pmxsjNCuDokF70ilqgWz8zBca8hXny/eVcxjaI3w3pi9THuGD5fBudJrHhJSHGipA0AeEQV+ZEvIS/zM49fUvpBlwaxRTCQ221fqJ9g6i1bGzLzwC1zAW5pbt/VxGH+UAm6HEF6KUAgub1MgHSVCjOV1neAqMdqRurqXYTDf/kocTygzxhDHi8kFA0mz03YyYlKvssR6oOghtc0IpMFiOITbZiIVb1714WwkEsvAV1hNAvVaPXlpA7/Vv96jPxenrg/T+JVsoO6tmfsabNfkH1r2WBeKelenxgMCflQMelWdYNNHY71+meJcKssIt2AL+Hy6hJ0iI7Ih396mVXk5NUivnSKRRUjytq7HSAM/c/sg+PTyRnr+EsMztT7YIonx4adJlYYZEOYOYb9JTTAJVsz/SS5bc8OB6C5EgHcJCaC8yPmA3dx/+lg6ehl8o8YmVfhNjlSQTbf5NaCS977KOXEYPNRofuQkPDDuM1epoHYeuUGU+IkPO2wbFBowUeuPaU7Zdj85Ea8EPF9/Fy51QMiBoSy5Sq3nQG5+Wt/VTH8pTl8NwFCiYyELPrrulYAvOERTQadQz27Q2oe2UdZJ8L/LXk9REAQCxaGm4USnj/uzaamnRwFVMQsf3K9/oUGkUdFa8Z0dLB07qMmdwjScg5CDZirsJfg67sw1bInNRyXZRnNxKExYvKOJKGmDO2qD3P4buelGCK/k9TxBlIxOkacPzsaaTKpKV40T98nxWa5A26wEp7GnBk+KsVgkL3FnjMHDT1qqIPBp3KMOCHy0Z0dA2v2FHW2ObrbrkZMeHKgXiobCLzdQ2dt0bnPat2LSaOeT4Pk7kPGNLQaelsfCFq/xYqrCBeNt06exvsVRZHEkGOlYnEc/cz/fOfEaP0k7jN0lFz0TpaeKLRsmPY2m0ov2kFsevWHDhveFAw+iSTTluVqBoM+JncNJuGO/RKu9mJVN5l/8SQ32UssKlsFSsK7lq+tkpBKRy7YqCL/yBTeYx9aPhOJ6FE3z4SZpfm/CItCbMwrSDSeh9PxC0bKePKcGJhobd+WEFHEZXDhVerPH90hLV5n/7vJiO+R7lyY35OlA+yvkU4+4qWfbIaGl4xletuJxqVFRZvCZS3LRmivSxV528TpHvwMvdt+FdiqyZwPlE1r2/LCLoMWegfxNvy9nMghjEremRk+R+/dqIVBgvCFD2CTKNtdOYN2HiWGiZXUVvrK4xi/9hl8Re8/kQI5rym5bSJrlGEUnHM038WHeSP7wK/DxAXeyrz0Ox8maQQSO5EOENm7DHHz6YnL7bzaL/EnIxsjFMtyRyvKoQACoUdhI/Yh9Ah+AcpxyJZA7/OlPHkhVfabmzN5xVbq07qgdcNWUw02U93j7QlS+Cn+yRw4Cn31bWx1ubZOrOltDemCohIPs8sGiHyc4LVtGwRbkApQDhd0eAIJcj2mJCVobV8VfdqQEnCQH+EQGULgqB5zFIiV4kvcn6HF5HrBu7LTlwMuEfg97Fnso5iJa4drnrOl44x5eg5PCHD5AabsxrM1nJz1gJhnO9sLncQPXP3VrkbIMK9tA0EVmiC/S0KCL4Vgimxg5hIjSGxvPheQkqY5Jy6hgCTDJ1jNayLbdbcG+mQk3czjuuFDiBo1ghApC+IRS3HQ1dRDgI22/W7aSZMxkCYZFgQz8MnevMoIeafzeMqKP5mRFezMnQP/O3IYNFYvDXalnTbZlkDeHBWxjfdOzE6z+FSS71GOw69BToQXmoEvEF+f/b7oIsYs3DI8Ml0ylSRp86g1zhpXcWJpXJw/fyiPY1lWRKTe6uGSrOJGLwFMPbOiqdDSK8EGORB1HYm92mDUVy065lQm+myk534kat/8oKgcxzuC7ttNTBKIQE1y6iTyKZ00ST9cl9sYULgJrBMLk278DPqnyi/5RLT7KQkKKByLdlaK+qEnuTMf15Dk5A8wD1JOzDp0HX//kU0gQCRC2rpjuKyDQIxvGfuRTsUXFkSYLS0fcWQ8PmKax71KXmaEsbJaaPlr/2WrT7AGJygf8bfXSwfBoVv28PLEbR7gb2pqUbywtzGyTzoTPrBIlKMFJ5qH/pMjp8MTOIzIAHesG81WnxIxM47sQ/0e6VMIqlPBjfnGPmeFSQi3xAfM0zzSqo8cYKsDrxy9haZXGLkFwQoCW07dAwtfVTsFO9x/4iVb1xN6+RnxE7+Az/oM9SxgNDnHpbdrLLGizg8qZWvGsK4v/T/F+WGA3TogOAfj/Urt5bQt9skQgHKHm61N7b1fUAIf6WdbBEJYNIhRwfM88MhP/hJST7nedP7KiCfUWJ+ZgM0yqutXq21R51eNXwIz1oLgtRfh4q3X3g9m4RsOC3Eqf/SExjXBEFJg3lZh5IPjo2ls8qeKlq0fk3ApAtQ/fnZnps8jXpxkD4JyF8g9K7TCEm9Yy5lR5BzmdiF0ALuAWuV3Y6XB3tDHrpOB8Yhc1YSE6+9rZLdAUAosN8+l/x5ISt6obBXxveQrHd9ss+UEERoVAj3lfwwf89uLCDEP3YPbcyV/4EYyCxZL3eBvEjtLfwlOK1wkHCndJUUpGK/HWi/IMjal23ILZSe7om1o5V8/J7xPvv94yjcfEbJ9Ws21iPI83iOcL9zHzq98QG76dKnTIHHFKiHKeilmWiyn6WeKAsPBhBY0X4gf+095J6zKE4ClJF9awLT7nb+twwuEEkVdn05F5+DWWZf/ieVuFe3mHDwplLlqS6tiBSuk6LO1igmn6O+T89K8B8TF+zGBcoz+1H96zs5DDP1oUM+WkXZdHO7JQOl0/TXNpMTDAtb6CJG5BGUgCt7WvFphdm3EfYpRLdFTfjC6WCyXO4zKhWXRdo44oN2prVIgTj0/maqcqAIOR/TiuztcHmgGtXdzfcIZzzlnXhadlf+FCdbuqjqx+ukB8+pg1dKLthdHWNrqqthdWM85WX9MLGBtEZil+YSOhYeTjnXBtthK1Vcct9RGumJpWqq/7VYFH38VxsMPT7Nsq78VrxcPNRKl6ImddR3Jf/h+q3Ql8kJ47Okedp1TSBofPMbF0S2Ah3xG0fuF8Np8zTNXx7+fMmyMDAmYTD/poYz5TS0sFPpltG+biQZXbhHhksBahh9oBtRkETYU05OFzw17kqxxKchpNhE1rW891Vy2au/9Hor1lAoCngdXqKawgHc46PH4cek6ai+0dvG7LlHqY8AhoT5OwGvlgm5qGRHd0SpQ0oV69gHAx2t5fyjpLHT6kOnAaPycuJUsZ8ljUjOmcQdqv8lD5DMm2GlS9X2NkZNT1wCcXlQkUqVWvQ46fhCU1NMYA8Oni6OytgDuLDfXnxqYStUXjPvYEhYbBx+18dA0kYlLdipJDuGLmzBk2X3aBE1tavDrWgJGPjZZ8CCeEC/iMnS2Hn122zUwcLvVmNkn4JI8S/nmSrhGA8dMwVy55bgj7d+qgFS5ldrzcYSwSsEDzhTUiJkfTy1rmqaF20MfEw+NQLttw55NgJ89/WDy+N0XHgQ6ed4Gq/RKunv58BmQTexn0xm4hmPZK/TcVUZAMq4nk+iNGuGQI89KutbaZPTYdBIEQ8FPKHlueHy6bYV51ExjOFLgmqUo+KeIJLWmHX5GJRr168WroFYr4UvkIfb2SaEV37zJDmkp7A2y1JnaIx/vlkArshsjD9SZmHFpe1SCH9uX28Vqkduuj/NxJd4Smv8wu+7uLujRXlkewtZFySj9CKhBpwaYW3QYWwq1FTuEHdStEhTqrN/Nj4P64ooLEdRdQk/wvgcO1EWfto7cR98H4v7E1HJxIk8FzxzlAAl2jGVDhbUf7AthQgIrnRFdUS+Fs0jqnuFx7J/VKqpEYKCZmN/mePCk1lC7Pj8T+/1ySzKmXiM3mCdsmhhu4Lyc7g4D81g7hYE/AzR0ZMakIeqQVJzPpNpfz0C1dmfAl8BuqJb2GheQTzhe+IwvOrMAuBAtF60MXshi1vzrDxB+mjZtxAP3pRHRjwi0G3hTIG65ubbYcwfrEluSOBZAo79g/LrsDt3LaCpiGDO7clL8uCsnKxtwH6+XcbI0XWSooyZgU7VU5g6ANjABcXoeJ6fRjikfjy1nlzNfCssYmVGpG6OCTzlbAMThxkFYmdywntnTeWD7M33J9o1RCDCXtaCSF/uf6hzmhdbNTEzs19O3CM86cvY71868AovKPCdwiLfWKPyPwZchNy4JF9XjMsMo5Xdc3/nG1NoHoCn7df2fzhT3JgBpcXJ/6TsQ9Df2qb7x+JokZylycOmQTGT7sOniZ7M0B535HcrcU6NTi8Pa+rlDHpz5BctiOfHaWK4FW50Zjmb0dckcPYRqiHXjtvXFWzFOwpN4ABD6k1FjarfMUIW4pOqaswlt5U/PhJK8osKXsUs4fxfWp8WJp5bNO4AFcUEgYQHcTY53lwsjwZdYSTa3Uxlszd8isDz3EZxbgTV4R2mkwcbTsD/ELxYntgezBbp5hEFcuYni/bAGkHwxT0odPaR3RrPNQvcie5Kr1+YU2FPjk5ex3MTxpi697jsGrL6PcPsUGnQs8hAGtBX5lS/9FD1Oc3fSGHmaYFooTOYYZ0DHBhFVnTP/ReHII+s8GjamRv1Fq7j7NtmcFuImGIqhR7NtmoBwn/3KYNCsf2/I8ioot4f0XDWBC7gzgSRspVhw4+znwrY9DrSewgJobUi0Fp7TqaGwM7QI2URFq3wrwClJJKCoiKD8je/7lK+Xh488kCA+QIcU96PSbHJzWFzaRoM9YqbJVNKw59CH43a+tFCyzCtj2WYnHFOzhs3P/+WFc5GpyxVm3ylJwIOsJqd8616WpD0sv5I2fBjpXPvimh8bZ7qgE+D0IIlPdADUYKLOUvgdZ8SsMuib7BYIY+Q1AtHTEYdykT5AdH1vHuF+aREG3OmLVIYu5TFAmVspXc5fwgWWg7veLhNl5ayyJ++xZ5Osu6HIBKjnDBnIge8UpUYrw3WgvBb/6fPL6iCCan9SFi5BuUWPI5U2gGHFRodMDzC/KPOZ/oh17bKdzmzk3Tqh5BJuwHqzrm4w/mFriRyaFrZdfclZTabprdyDXRJxT380tj38if6qr9kgng6nbV5uEl0krqT73lEDvZghAW/aUuCB/LVf3Yn0/Bb798kSRWZnf/Vnjlsx+aCc4aJ8Ik5fxQNWyBGrri6sxFQvLXFHaEkAYNjupfG0val2F+LNdgUQmWZziMcibnuWM2QR96rGvlrobSXoZvRCT3Fu6hezkgaZxYwgy5joxnMjeBZ2GnfjnMBsHAnmKXv13Y3G1tZz131XTMbO2gH5xDUjjxSvrc/7GeupFyUMl7IPlwEKc63G4y70NIuA/etXQwsh7AotYJ/sY5UYfRbZb7s2wECdGnfO16Mfh+zkrGU3C47nC4Ry25oNn9DHteN1CDLaU3CfW9PVSR6dLBR5+uJeMBNCMejkHyPwcULQv0QYu+uCN9Nb+ZcKxko3RVhMUMciV87DmBTbFuT35tFYuT7tVdPs5Csh/t7fh1XvlvqrpoJBVqnhub7nMUfoKsG1YFMqKZhS00GgXdasnRVjTJzPCBZ1aMgTXE3gPW1UsmycClscsI2N8Hl25p5nCBot8j3cM2tuQmtfiuXWImrna3jvhHqWSJDJVt1vW7Aklgo3U2dthvIssPKpiviiLhu4ISX7jY4YwbE5pujO1KAMd/x7c4Rwm8fF5NLyIp/8Sxu2xOpKvPFC27QNS5dfkcA9g0dmD4zGQJyvAVpq8y2nNqhLYUqSN/eG9ldnnKfJ3nE/eMmE+zOTrabJ8WsU/K8wIwL1vWAXFDhTiRvmxZc0bkdR7fCPOMQw1wuLgsBAt14lMdn7AZigNUiFWm/WFaq4j7eQkB8KKzjMQ5kcAZOeCX+yC6PfVqaO+PN9Wsu2vI5IqOhVo3fdrJejLrXSauxaZ7HSOtM8pkkBgJBv2lvIHYkyWAz1g017cvkWUD3vidvgap3x0OtQ2r8ajE1h8VUX62/743y06ifdpQCyRKBQ8oX0WMx3Di5PREuVKx1ahBmSvf7jdls+Ig2y3iHyg1XC0Om1jnBNcmh+xEI3fesX4hC80a/kXJBHk0qNgogMBlRCUL6jqn0togvn0wmFWC2Z5l+nOmEM5LJ84OFuGNLxCnJ9mjqUMJO814KABD3h+fBYKHy6qfj2szQsShLWQTKvEehXGovr+W1gBwSn42P+Lk6tayj7yTcCJ5bOwQCf+YoxIOMGHujwn0LNxZcFMr+9ZbwSLErXGAPUOVOMtWN7NVAK+SzQoQHF0ayXRxc0ArOxhJENsaSU/6tkBkg92sXhxdYwyNP46SD8dAZ4BeVhs0DNm8/I2/JBso0zaaW1tV0PTORx/oTojNQwf46Z3tQkECLKEZjyS85fpXsmPmjK+o7zhWv6VuEKiwcyUY5CLn07oDQaxvS3RMAVdo9C4/V4ielk16TAdxMhDCW3Ik7sM3ABiNYQMbZnU1obrCVS3w2fw14MZ0RoI4rdUnIAVSfVCQ74HJG/IUOWuNqXZ4wc6hhxevc5ikuoasar1paXbbmqatRtPZ47RfVil9L8pGFQfsGje4j513WUlqd02peMawfgLSeEi4wG1WGeT4u55aIhLMiNGhlWYWlQiROV+jxqVTwCYJ+fLa6sRjDODwrG+OogjIkSHm7pYi2QKkgGACYVVozUWuAMZB+UcXexykiKx9iCN8d/BTZlqA3NyYXgjtovUAYwXgHh20jDZHwZRxg0e6hC+kE4cm9o/rwskGpRzpQohAD3jcgrataX1avoHjsY72YH2SY8j4jpfucnJ2M5f60zCZXdjKFfibpdgjRD43Kj7onZIebYe6UP+9H35IwdgHpjZaIWRQAn0XvtibMHw0ZnL9UKZc68w8vWXvQPgJzzdGzsr9RM8U7KwFXGEbkBBcOTeb3mhrufZyxg8UMSIbxH7ny0bnulsza/AoNd7EuOVI3fnVmr44QaqNh3YQJ6xNoBdNH/yt13LVOf9NUbJ0H7zeiAYHGXDEE1aheokTFouyWSsIEhlCRxe5bwIYxbCEWLANwuqchbVMtupGPGS1FwJ98yXlfqk7CyZ6SNlKXZzcnkpJ/T/zs/jKWQYhdfg2Z1lJixt7l3T22hTk5O17LzEq2BIoMZtBW/SmPNrpyRcqszBvpstLZgz/j5eBF72JkMiSU+YWh0f9EFzEoD4zVaCfl2bOYj4lhTdoHNJS5Nm1QJhA6Kh7rD1EEKtq+qQEznqubOhTnmeXF4vJxZL4ybPMXJTi4muqmreQWOvwj1z2n6pBKxVhgTcBy/rwrTJh2ZJuD69V76ZM7bgcmfcPAnzZzJWishCMdxEU47y0vOTHH6jIOis12JpCNZDnChQaLzBmVxw4hlGKzUdrcPiddNSXRj3/28MWornIjVAJ3f430qUnyiaCP/N4kwWDPsflwi0o13RlFwaE1GFEYA7X3geDHHKdKNHFFVzEoCBgLlo2sAxaD2Nbx/BFaQjCGvYVODCNX+voCGh4Efns66ais20I79kkA+VgzdV6K8TQmjkm6HmFkTuXhgOOHu0AWwpuqgl3PKHwR1GuQEbK6Otv0cCCzwi/bBSCNHTkzjQeG1oa0GLunojhoowg0/42fpEO7+bbGjMTUv46QKVMb5VV4bpcTLF69+i+B5JMSFhgA33iPU/XY2dsgctH5VV51NSNmCMQ9YpxaxxyaM4PvF8yeylO8eEaCwS3FNtvTCzyXV4JHDSCVrfkZ096pX2nBpw6FUEwDf3ZQ6el0nkrhepBqN+k56imxI9Gi9m3/2XC+9/4dtbNB460gp6L8n6vQSpeI6J/H16dikkEEQrpPgp8oNDes9kKYgKLwUkXBROXL2y3qsTTVPz2CL/gknFlcdYkmnukyx2yvp9KnZfmxpOvQU7iKwv2FON+HihWEwhUNQFAZ3sOoNqlI5b3DFqwZodtfTSKOnRJdXxV1tPRW7DhIsnm6wj2RxEdv0xj4SeMvc70kxvksXosfPoYKdGYlogqhkr/EouGFb/3cIvVBaOGGXCHPaSSPa59NH8Vv9PdFbUQVL86b5ePgMI5vLPKLioCUz5mQ6EBsF4rAVrgGdux0adbVeiQZNNz7j4MxWHWfGfOUBdo4Mq5HtIwrkv+kzGnKkKTCDxYxYROkzoz2bSF11RqnlzuyHaujECZfllrnptuiGdSbD5O/8PNlbcTX66sRNGnQwYhm5XoV3i3wvHOfvo+iS4T9wBE2tTYOnvlbGIlwx5hEcxct9Q6kWzLgqtHdEZWX2UmaKEfcX7wuHsS52dPYStwfF0p7kWEgIP4GNL3pAeawr+ivZTl9B3SRJ8TnkZ/m37sGlYm9kHatbRq05O+1gQ1guRt9JLAL9rQdoLhmqCQLhQZ5Y1nVHTRVWg3CZZjqjapiqx0big1TGLstvP7PHEattmwxnJcgxwPvc2SE9ZNQNCllPzV4geXY10L7+RPq14GBlH9b+yXwkJho7Uh+56nb7fVOp1F9wGBlTIH3c1pZIZVf1aRY9a/9eGhecFuBA3Lx9FVjcCRo1izY6CsFTFYSBg/AJcSsBcnojYXAad1fISOZ7NHgmuCY3GwWzARSxPDE15wK9IIPBazOc/8ntqnk6Ywkav3TNOb/NkjUTOptjJzN4zb4VPYC3QnszDqoobAOxnHui56lUsmJb9pMst3RKSyvU53hzXacPI2kjXYYNnyHbgwgeFvuaIj41ZBBeC4o96+ENp/Ycgr5pyyqUhdS/Ihq4y4IiXIyT6H5HPVLyrclEVyUYche31rGnzsJml7oQK+aUAFitDlmfjdQrbP8egHm+sewsQ5Rri5CsnRo9f/FN7y1jBU35oC8RdZl+gFT1CCfsBV/qjxm4WEwWBoLg4pIO+vRi3V+rASza3gRl+y+x7Rc+s3PD3jsErASd737d8EGOnCLumZ7GcZ4THIbQHebL4Aj25nnUUoqHl4B6Le77iA3Li0Mv1VtQnzdD/ehNX5fFgbIeqdUpC6K6MOXlRiJVc93ZdMgx/CBpV180pucZrmwfbyDvGL3tDIDZVA+NZ7fzsyvrTMFleqHYk971YkFnUST8sA/hQ2udY5y8MaYfCUJVC0olT1vOOYvU8A29UuDY57OcB+YY/SJN4jTWR7PZoaocH2t6ithFr4ADVqLrWCfq6hRVTgq9n+AkVB5Ipq0G9RYUm6IWD9/nhiNx0Dqkwexs1iTNrwvld5CJnmV9r/oSHNDLz5UY+JmrdgAxaU5zBWdPfE9sIpnvohlvOnkWHjgrLKYKO0EybRx62FWfQ7sVkQzJDPbYh6XhxA8vGeeQipq0EQpGwvwGDsaA5H+qd+J2DMWxbQYjSUvE5ZLztRQ3CNrjVpd42rQ1ZexZiMFF216fbZDjwhwjyrM6QEHuB80MTCLpkpJ4Z2tZMLgW736R9SoV/dV0IC46gu0Mopi/qNoF2PxflKkXZ47Hnyns7Uj2SA+HKuqpiBdKFDefBnolTVKMyatDh4mZ3dnn9gQnbnWI6nIA/1Xqsd90DzP6/vhhVhtyM1teCs0GCBYkWJ4Zz2N/ymNPJOYBDDYT0Ew2Qt1Gd2RhjVw3Wh2DVjWYbTBlqr594nhV6SXPHtZ/Q4wNKBAsdUfgWMG9naOIdEH/2bu6HkpSR9hWOBe6eStnGydp+D40bRZnkw8MWwuF3T801GoaPkiPlrdeNt86wK5OJgICyCL4x/haGG0+bdF1AEPu2aW5VGd2ii7ISDqHvGzVRZf0/37y10xvH/St4sPQ/LQ5UhYp/a9AulLOrn+ghX7LjAuq72AFDEPMRYm3obog8J4rwfHY/3JLjTUyantKrfW8ysQAYRufAkv7quQu5fYRsCNtkLYqGjXtHD47sY+jC86cLHbaIlv0m3ErfeCw/P++tGj6zAsAV2nx6vZhRY5MFzk3q15RknFFvAlkSnI0iK9DR5s9+MdnJJUu6m7+19iwSLPGzclIYzDqsuVq0BtsRyk8xPkKFExrV2BbhxvYuYcbeOkxUDPuE7zVbDt20ItJTbaurovttHJWs4KMPMLuGGbGm1INwTWpsC7Uu7hTrIoRkZIBqnJapDzLMx84U2FNecurMf1w6XRDIjRxMyMLLsS9Jcw9b+FZGd0/BJiPzRfrqL9XgI/nypSIS/DY3Om5w7CIGrK/czwp4g8/CcWIV0qSh2D6fEpYpYg7pgwJQSYG/WAS3mhQvIRScdyV6Y3OjRUaC2JScuSqpDfAYOhr6ucsh0hGcxTIZ8MQtEaDKQWIpm8e+SQezydfBuw1p5xJyA6i9ikDCKOe67qIt+MqOSAjbh8yWE0IlGH4OPgONskHzGt8WP3+C4cbUXtTOVHo+w7wJa90Iw2BqyeZk+ss31o9TjGfEo7bJRxYDnTItd2o495Z+H88eqxjmou/b9EKO3K+E3W/PcBlpGcMAJJMAbWdanI2hjOcPDkrKvu/ybRoPaWdhXPy/gSDNd0X2cobgJR/Mlm1DMWU1EEIgARtT2HnBEirdO0MFLfrk+3AqIADNK6Zxe8WPy/EE/uJEj05F+TJRCuuek2TpSRtKCI5V1FwwyiOrAz9lEGk7JlKXFgzTA/0AFS6OW+b4B4SmB8IpWGE0A2UoezSEBfWIAe8sFUib3eW8VURcLrhSbAA0JA9QkkyLHFCfxU/c7uI0A0URRzgQKEGlCYuYaUKd8YYF3q01AtiqDGepdUrqlmD0XoiLDNtGk1nFkg+TGO2owlfW1d/fTGAm02vfTb0cqvkGRA+8s5MCPHYvdGIGBjIOiGwqylOECGXxJKtVEOolKfl7iiTIt8KKwnVPcBqMX0npGg8OP9bIT95V0ZoQ268pjBsvqMN245Xl2fHrwhsBkhkof9Vr/BZIF9iJn8U/Lc5ArFIucJTIlM7OAGkCi/BNXCS+mHIFAefRYbJPeWxYvCBN2CqdLDoGGcuOSOnehGvsM6sIxgs5U99KmndSsGrd4M5EdH1mzQagUkWcsLbrUlLFC5k+6Nq9xhlTfDO0/yxry3sUX6fD8z9c84A0ki0hfHDi3dIrohcvMzaI5F7vaxnqPytf4GJ5mR7fQ/s4OAcgp4owoxJ0lIw0h/jLderKlLTezOAPiPo5K9WULBDJK4VKgaj1ivUJA0pFEwR9v7GXAVxrtU/H0hvSHxk9Dn70LlqvrvifVgjGqXobexMPqNy/Va9wm73Nm6hEof9ZgklPjUR/mDhlKdyPP0W0i1ZalvODrYL6pPQuzBat3DvvouFmig9NvvDOraESCPkS5PjwAPkPID6jfL3FTtsEmV5napVveUIa954GPqwNYkXJ1anozXMmUNk2dsNLLGwNwYo6ThmTnevi42egu1V4HypS6Lss6QOUlK9DpDOUsQIhty4Sl6gUZBCSduSg1WXpushTpFMRGmakXfLOLyOWx4cEeo0cvilUfrx8hx2yI0DSBrFY9SQNJqII5ajihl+UpyWnC13uHy96pgXbCl8YswJbIHgjdRNYl5IhaeFaiAS4oRoGgviP025pTAGmtpQdKOaFMmd42X+/ejpGOQr4hH2LwoGlmWvIK3vqWRIy9pXg6EB6c5NLnfccWSuZZCXWXLoHjJTluLsDLVlWwnWNXPUjddxHo8Ga1cCvp5B97dNLVM2mlXDm0P2RJIgB28pDoT83YDBieVGfFt5tihIk1sGaK1D8N4RAX1AsyusKCKkCixiYM/Q4z77itdf0J9GPbBfKG4PYr+nZtL8qvMioIPieqN+FPE6U9tRQFdyPbvCkzVy1WRAJSmRsaGuNhFgLQfhun0exYKJwRt3K5cB8C6CJ1Al7WJRkrbgmp3obmz3twHVPdWHtK6vtULXHWFaJD/h47RQ31G188r2I/RlUQhhnafRgZWx/3RVYOtLaOXhfJ++zP6zYckp2yuOUo7wIEp9IaCVR8+4Ph0HM28bh/Luu91i/LOJOCChOSSyWrYQh1RNG0YC4WLY4PleBDKafjLI+38u67bnbPZP3p1/DL7IDVhtJfY08lKn/Oi3vVCCve3bhiDR4Prw7O6bQFXi6OfYChYqcGBetFHzzuQgjoFp5dqP5bgG4wDUTj82szSY5AugxSF5B/mPMFWdZxmPDsVpoqpNlqlB8flKK1xMrTgTepYYlcySHiO2nw/QG2wA1sGq8PQRqGwHRhbMDVfqK2qBALgjASgIgfBNaKz5tiiDKxMPgTYSSgUmWwlCmLmEhXIIX+1f4593GzpPKUrn43kHZQtFrTt+NKx0NXwFe/wkzlBbOl/3s6ysuaZMoGUVnYn3FyyWOotQ5hr2B7hr0Chv8v8Hu6rmmq7f2Ywj5rXEaGwEReFzsYXN67lb5YVQpvVW6krb+ihGqPC0VxofI4ov3G06GHYKTu3Rwc2JHNYjvus9E0HbZPDvXsRaw2kpFyKnWJpcKbazdG6cJlVAG9dM04Q+m2D4o1ddj+ZmDewhVns+l89RsmieVsa8FAGn1dlHbKdR7WdJLrwNnlZFTO8j3LVZeDdP6xNPmZ9PD5H3t26SHMWXDlcDPi7J4ld32oBpFSYR+EO5Als3kcXXJMzSe2LAqtHey6WV/ts907P24wblHIaxDj9nCehWkwLcIAr9O5ZEUk/lzOkjCbOknomMStaDajTljuB6ZL6Ow6rsB/rT1rcTfNVSSv7rvaRaiyPa+NTgeI5RklM21bTMmA5CwaLfKeu8CTLCPVazKEU3/P7OwaB+5gbzFSehXVNJFw2CNdWmdcXZLLS3yZJnjyFK99EdrGEBzW71VInAKM8SF25gJIHdRJ080SCI5DUgznkJSOXHLQBPjAMwDvPre8b6MJtMp+RtfwTXOhH0c/evv0AiFrVsP9zJR/ibrcni9klaRgk8ZojIeAReKN4yKOrNro1FoVsHVNUdN8tSh5jYLXBxSOYyam/HiPrIJOZ3YGzIzm79ThPCsxCwFwpkl9nPDlKYfb9CAGYKPYKYKocBmMsD4N3UXloS0E6X7bk4A6pgT6krb8zCoDi4iSIGoLGubxWhqKK2K2HWIX7uFJRLn35VsGAEfSdz+jx/qTKsoEFrUuSGb6xDIorp/+Kj9wOP+xZ7XKSVqZgIPTEYb/JhU3hW6RmJrl58c4MfFJCyQnbqjVR2Sd/hjvxAxGdCIFyzVNF+QfLbiAie6fHVa5Qdu7D4UhQL/yq3rfa5URfUqEfdejdJHJ7Py511U7Vx4/vJqUVlcQUnD+5IgANRUcbB4EjyNrpjExyKZalD/DT/qtHvrVKDwF3vD+jVRKwXoaVSaqPMhJ/HsNzvMaNKHpCXPEKe0M6koCpi1X2bN3H9RBwaoN/SbDDfJMEGrvNpLzVZNHmtyQiev5sZz5w0mCSbewqJmiGnrlaRJ/6J+lGcBBcNoLHBmPwVN8Qi0wEojEpMAHqp1vtWHeUlshg238AgJ0DpWRIG9yIMa7Y30wf3l0GVXfvqrNAdqyW1Age4bdvP2ovDL30ksNxU/NTPVoV06ZRO/Ms6ZOvdkTlJPBSsd2JrJasWpICmJYjr7DO5fp3bFwdQi5dQAss/VR7WXKcxZMmbB5GYXFyZZl4IoXWx2hmMTaKpoKxfLK8ZSmmOuj2d4ydLuw8AwJ/UPZtw1Y73L2H/TYoaIVtL0TXbQUU9ifYdGvfHryt+fLAIe1bnmgzBTrM9O44QpBlPJh2mEMMfBKYmHV00Qv+EZTnG6FUxWcgybsBscY15CH3JejLuvEKnGoHzDb3WymKhJWwTzHXxWlC/8ppl4Wz909BSbP7lDsR8jZDHccGlFjI36VYKr/repMvCccXC73MnUPuZPl+zVsvtuGAQ4Epa+rlGYA5tF/CaTQaEEPbumXfJAwACdsD6oiwLZoyauqOKQ+S/941nLBiU9icW6WITusq54ACLMb+8qKzCeu/+kHtrB6PttPXuQioU931Y8TVQ4fE/okQZoVWnhCWVeqYDRRpnVQs7bZ+oiz/cS016O9Yv7EgHI/UEsyKp8vwwz9/tPcIvaEx4dSrQbB+KBJHX0bjd5I4gafmkubbUyC6VvfTUikvhJ3BmNz7lmgaqJpfwwY/k4dtmmIG6CgmC1ygUYZKWFm8pbbg0L1eyIIe+V0Mdqih+fHzRNkNT2Zg/u8e3jCQTACl9RkLudemyvM057VM7k+JC/24OshhO4kfYk0cVZrP3tqXbaecrutNACXOXPCZd1Qgno1cxfXgbAjgBDSI950zvHd6/AAVzEO5t9gPAwtY3KTdEYhkprdyiElB0J1SXYnthOuCKmlR8wvxVgg9GCNoauZqp9np33JG3LcAc/MwBOU1tFosAv1yfY8B218wjSoO2tDqs0mGmMrAuZ7vPMcNtS8mChVIZynVc7NHg8DDvdJccLA53X7rR5nSV8kFi8bH7QO9PaIzGz4MVi8Md/d6O/Ms8u+5gGdSsVp/nSImKRPHMkFdZnweFitPf7QYkfdlZrLddhPmnAuqvdxXfZpfmlKHfSW/MTg3y4Qk1lF7RDiKLA1ZMTvrX9CvomJJYqaUN59RLoYZ/z7Nm6Ty7qTQ5PLLPWuIEhkrYxZpSImnzUv83OoChhg7t+YlZ2F8ZZ4dbnbp7cVVc+In23Lp7JVheQxWAlhrY8qt/ZIPpKm4TJ0Bpcy3i358qWU4emJqWRVwaxxjCyYT7tSCEN3iecLjVpSw6iMZJy9pVJtPagCA5cQJLmF8GGg6cUiUXj9GvWhiCcxKRt+7hd2I/cWgzLBG10VYHBYTXU1t9TNaNfFEGk25x7xsaxGaXwrWy9eMnrLrLVgaXsZtuOB/rMWIxKCpXQOH9zkKg96z3dLBc2MNzyhR10jjlEVXiRGhjjorpkIMTYe6WbQ9TNwKGisGs8Bq1BHG9c/yvnt6lrdqQ5FIhqLifaNmWGWcu99v57NF8TLss9+HLlR4bqlbMcqoKK4JVdPryscAn0j5lEBNo95zNmDR5wQrJ4FhJoKlAP6EZtw83zEpuVRhUu+zhb00squSb6Epvq0dJEwf8VWiR0gy3ES74WiDc7FfTkKJfoYw2fImfbx8Ttetp37vQbwTFECWZaCsU2E6wAO4KC1AKzeg61hp6vgSb3ceqHD8/ytJ569z+8nLo7rblRPhFRiq57vSksiN5LgEuYcI5fif/MVnKJ1OXZpXcC0TrmIQHY7uzYpA2EP8jJkYnAxF4XyvoN4gg68bV5E5jbmBzy9LTnCBDraCsQJdL6dl8iCxHciYLO16zAkif/RaRuNus7erfdy0wqn0SxVniMq9ZUrFG6lojCNcnbklvsfNm4xhI+TRmDFOlKPI4TTVMJstw7dG9qlVoMnlHiTy+xdzt1iKGN9AIg19l4vLTrjt08JiNkWi2I2EApXscf0uQ5e1JLSzJhUhrWiJYqyqFFtGYYonzYvwRbvMWcRJbcxSZqMfmCNTzVzq3jHBA30eyPA9XZC5neEXIWJ/FBIc4CX8OPj5H+o9eRJ0Q8BIsZ8J8xPi4KAYEL/Q+VZHynReuBdOPVsXSSupyRjHbFpAThBTO7Dhto5Dxd4SEx2mQF0wkath5lI4bTlC6WihezpnKj0rRd+zgTHQF7IYsxdttSJZNfjPJWwNiM5haGZSgzJ7CQ2e3tBv8RjRXawtm3ewE0s+tjC2+b+85uUnLea8/GwVzWxhMWH+Lu6QkTbp1RuAP+gwcLF7hANbMqXU/pbQ0xm6k7s7h5qtW+NIMJRNdwGXaQbYxSXMPyfPfMN9TtogUDIeOfD2fHO6Vq99r3S87sFtdEKh6f+iht7BJ2oZSgpOnydEKOyap+K50NF8NGIWKs/hYMaX5zxP9oBEMsCm1vLopIKSJOU6p/nPe+8zPZZpjLimqqOubMIT6yMEVEpgMo008g8FYnm6B8DEogBNNGWCoJfVMT/mItLJPrlTAb0nPDKfl52THgeUVTHyUvU/3CQLkg9oWBWM8Y7FkJ2zrq+jEo+hciHOmIIywNaoI05Q2O0JvE6JELHvnRFRRTJ+qHs74AKaaOpF2EfrNWIHcTX+89mrhZvY96Ne61UWsp0R10jNzI76ZdFvZGzPS5BDTdPbqNZJAqn/ssEvM9f4bZgkivGPtrUQfH+TbDcuoaK5TR2ojUMxXpcHSNXC8KFFG7ZqRlocqOv/yrxkv3wnMke6rotyOMtizttPM7AfHj2XO+AXN6gkpWrf14HdvhXGBT60qrz845AX4rpwd+jZ58oe1QRBALuGv06NbUQFgyfRdTafEmz8O+hFDi5M2YsJ++NrGw3Q4z28GyVBRb5zwIuwx0lu5XGxARAaO9x3U9vWEb8ZBvAaRqv9JcsAbjLuCLYRAGo2AiZ304E2uWc5WaPnlduTh9nkR6I5Sp2MA14smtIIMzlNWlLh+t4Rx5qfFIuTPGS7AbA9qBZ02snPhNmGuXprfmbXyGo5UNsLgYReMmRO6MSJaz78JX3zMlX5axr/dlzFB28R2U50dqNsHxO/tLSbRKhBxTZegKUdN2Gisnun7GcMwvSUvH3Yx4dcmbLO9GAVpMWwpJ2BnycCi6Cd+BVmNe0qhm1685kdjJznghogxS1pq50tqgsj5/2N612tHhnz9fNvraApo9MVqqAscRRO1cUAzAiV28SjnlAT562c6NKuio5LmcDYjWt6qect/7F2/qPK4jTqZbLrrbPdoUyqExHEbxKnH9AWfuHBqhxsz4Fiem6KKAtTLD4zYBC+sPGRggLjz079k2ciOY3ti6iUh+xUdC0Qo+zXUJpWdVfmc2Nxg9ZeiCmyM7bNQxKeNEBkZIAxgcOJIHCvFBQp7gG5iyciUmCJBPH/Jeuv0CrD/Dg50tRGHuALAUps1adTVt81NUIg0St/rcKb1m6KAI97JbY+BUi/RpAyj90mRnoDLMv3MCmzTqiYxGm99eoTYct+ctUOCIFkhWzANHyxrBrxnLQkUio3/xkkSQSukJA+AMb7RLtEvx58CVun+GmaXCxXBFU20e99SfhEUYB5qp6YEiO2p/mkOs+LsqOv5x0k653YbNA1VD8Q0I9jo0XZMO5Lz7fxnq9ePHkyF4bTqJBJ1L0wy/csp67L95GYN+BsBcFOk3SX/uQV0CTxFiuRXGF11x15VUNJT6Vao52a4gJqjB8YkTLa3EstfCQhu2hKqgyn0E/2K4mJ7SgunoKImzyyGilM74d2dF0hxxUKliAJua8F9nEx7UapKYKzle2qqpFLy+mNlgBPqfhS+cAA7IeiJGvFafZ8M/kr7oJC/W1jq4+kVHuK37L5Q9WptdzX7meuZq2UVs5I5AuTBr19M5yrH4CUE0AyijD6XeTbEfvlSPy2dnfkVD0fOt0tp0EZYpxn2MFEOQFO3U3aSNBBelB758qNIFMnGZCbL7r6vNcD0/Ck1V2vRz127mAq0UdODxxebd8zI9oMoC79LdXsyuOs4Fv5Zx+9jih0ZNTgjCpYK1D48k0IsYJm1GfOdOipJaDMCLyML+In7pOXUFQv97uOCXXe4js07crjkcGbWbLgEl7JBXQnvlY/5TDDyFvNrRVGLc2Yr+QoTGfzqhncBPADhQlTO7Ry8E9yKontkbKeMKDKzKrjPI7sdwWyoJrvC9Cs2y/6qVZFuRyQFBi191Cz1FDRVu+plL4sUmhyFON5dula30WglYaWSlONRRKOLqmjlfXEp7f5aOqdj7uoED8rEIcIZtthux2Uyq9q3xGvjXKjzQt+LxNKjYds8nl0I/lZ1hXYhIPfFIUP3utKnoOZctVetg8KoCQ5kSt/Sy+gtmfFFak8PaOFgs/gTO/phRnwNa74ksgDa36OLgcw39giKoC1h13peTgdRs/oSOldgGMiZ/aVB1rvuwrKc5GzDuU71y8LVpzxY1PQ5S2McRf8eAnFPpEr2dqk3BC/4RDClaBdYMF5oqb7QpnagZalrh+oHlHEzIuMdcQXKXRsPTpfzUAJTLe5wOMegog254uvt/OzEABYueSFUl6zX1+P3oHyG7qgwVgX0D2iOuAePVxOU0xXK7h0Q5qP0G48j5MStRw3KRuu829jfN89na3eLGbMLnSKYpoCnFDX1VucyJkiCgXDBUMOMLe9w+dLJYmACtRTrHg6GgIAJNPxTbrHPTzecK/jDVsAFR8UNk64aJQEqIZ0MASY4iAHgynCfyzlvFPGLpBuQQ5H4YAB8ljYOWR9i3JuHx/M9nZLa3lVwJLVKPyKOSyjwzcYhH56q5QRMslpczFZct2vHVbJTvfHifC01u8xcdSnYuc8AN4xqrmy94vHNy8Sk7zUCqAGMYxrUUsPuxjNYBQDOPmf4J1qqcqeMSgv+aQ1qiVasU1npPlz/49bNEGR/DP/K9ngsDQrlI0tnw8M9DYAB5R8rxtVy2PkzeZU8shuryyQNM1yyVTn73d/JFxx9AGkvLAowtGBbiST0Cn240EU1l5J07sETw6aXEQt9EKl0SRVOo8rzpogXUqRb7oGo9D3J2Ok4ADC/6fG5Z8djyVbURn0A4ZkAeBmWWnZ1SyGRObr9b8+Mmjfc0fw5kMe+4T63lLtnzwlsdxNF5UnqqjcbA5gmWkMky/QvPfHGNtI4+b4aKuQkiXBAMtH8KncV6h9tco2yVKtbp7PeueaEnCro6H7M2DBRCIyxWwWvAEcJVt5GrWATy0C0/4Qz6U0NB3gCvDl+1UOTLDG23mEpdy8bdGqWLGN0rutRIpZNK0PBxp4eccWnnOFFi81E9FPGRb5TnFOHpPLPArRnurRIPeppWq3BDvNC9hh0NyP5pa4X9XDQsuKxzIDa6jbxbMPfgTOO3XGJrnvJvXHxZuQz9Fs9iGKNYQEmI7dMx8XGkXXse3wceg8+4PROBRM4zpfyIozpn4fwi8yE+yuT+xAIm8kcM6mN9Ern6O0MI7+2RLll/c5h+ZN2Giw/HnV4k7oVK6Ly1dz4M4EMK+sv7NC1S58Zzw7zY3iYhC6I82oTa7ONdVgWG3rjmFxUZQh6x1DFco0SHNWLn6srQNuWrP7kUuDMNDNDvH+t6rN5Vj1i0P8lvWzRqxn5OZerHGQI338vhM7+hRuFgPhB4hb1Yj5UpOvXVAC2pnc9O+1S+YdudilqPAISJAb6EJIEgojO7VHdBaZpF42vbVn3wHfLlw/4fn0J/5fcy0FUI0LfENMCSafFhTYeG/qZQqZWdd0C7FHuGMiv4RgFu7Y9Z9U4CIImNN6nQOIr+dKUmNLTpRHWHZX3cbD1lq0A1JfuecCTk1979Ohk3on43UUr8kH6JgrggWZlVw6SJlQo8gNGg8KIygERB0WuK862+l2wU4UMja9d0rq2+2cDwgLBKIihRB19bKKsPOGMWnSS/XujwxtT9V0g3JFxL93sG08pspafNlgyf5c1zCgXLP6aUAVLD3DVAyL2XVK0BxBBmAuzG4Q2uYYYPz8Oi1Nt9AWbJT2sx215MZnf9gqi3XgWekBS53MmVbzwTCtCvvm2BbID/Rcwq00y9iXUxtDv/wR4qna75yWWzecualQ9PSBAfNDSjyugk1m/pjWvZU2dBPSeaTGiJvmCz/hxxLtXJBtAbfR/4DR0N/NUMyE562sIrwDqRC9dz0v0Uq8P6mkgM+/rgHXyN0apeRN1z3ETNJPm6MQ1EXTp7wZGTMhGHhpstPC0wMhfrlOZYP9XCOeCFlP0/m5h2/qiComqVudf1ux1Tqz8hzpnEHQRhYbIYFKhBrQOcEF6eMQRooGoSFskd4VH+dqd/UrL0uXi3UQMhtf4ioISXxi8ACUdrRAwpQFcGv1Kcr8CJV4733OzROXuuAFXLrqoMjfoaApIR86nyOyFhlmFZBACJhMsAQ9EsWPDwvGymTvlN3aXaQXfTqEGHcl8erNNWeLEp4F1/2KzlNrvQWft3nFxDC9lPR/p5UKxL5Uqyw02TRu9V16O6QiM/PwcOHgT0gYQiE26Ao9nYf8PcupAJuf3p8t+nK23ejd8Y5vSrAj+NcCHsBKIiQjDPLlGPGI8LxoYUB6FK8/o4ho9UhGRcYGMHYTYiundd20Vr+muRucW+f/5n7I6Z5DqwoG9ILtV4bi9LRNBAtUe8GREao7RU6qGsUROlhe0jVE8LpInpDzRnI8rhjkCJSmH7LtqjfOX9LDG8bRMXvra3ihfRiu0KCshuBRpjRL45A6nDoGdtLd9VCq0JKb2ggmXE/GTbEVdxOhkmzMdYcJlzh62Mc/SmNPq5U0sN43CEFlKlRfqoKLJFYiAIkQYkfSZNTeK9dyjeMCugE8XSAWgI0dadlr/iTA1MevyVpNB4YMhPraQl0Y4QYI0CCG0tOuA3ZQaVBT4V3HzH9HKEUjMLUlg/5PgMXiS9/5aujb4SIA7anhLW4+NZW4NZtFnr2TDe3eyzBqRHGugB9u6pyPaTd/+EnAOSk57QC86ZlEzfCFdI3Cg9J3isYnGoflYtRZC7fM3VjUqmpgVASC06JSrqlwAVPfAUswHl0O/Dg5UKw15v4K7HM+QOSfZgySehxNxIu9znBXyi1xOtMSCryGXll9Mv9Lly+JVsXdJBBJy7zd+szydN8t/759dmYwbbiRqR+9eABu2QgZfrXj6NscjoVgU63xhfJ4E7Z2G4FASdTlH4RKTHuDc0mx6jDOJTIkbR+Op52Ao9dZXoe2sg/SEh9afBnGgI+khOsCChOHazo+ZhGRQ+QViTUJ5GxXIV3aIofXuOeaqGD3o1cwsrlTwHuN4mKnDAupOkw8fqJhAK3PTaYpAtYEwFjHxES8sBkMZqMcfPm70zkbmvuJpspmZ8lBPR6PYPbsbdY3vvyhHL9jiY/lKKvw2yHV9iPUTLodD31/C9ehYKEuUVMVGpTBmmES5SrDExfzbusBBnHIxk5XCp85t95qMvGBkPeO6UxwVw4VZpqpB7BcJYzStZpw+M/OTlS3Wf8yeZFondsChTi4Dfd5R1H2yPo/A1NMWotfOkEpBVBHwr2/OchuZyv6cg+zGmJpUeX2BbGB43jLLV1V2Dp5SIIyJoslsi0Yw7GUQWO63XSM+JMchFcqkapxu07EjiZIPMZHXukRbELEhxGgN4qk1P4yqmVDfLOgpkisut3/kFQ8bat+4KheXH1qCkPFqeMSb+SIauYJfKlFzIvhNoMVLulzSAwcnm8AwIiLyJVnkFROzFxAuxXHBT1Gki2rFc1eIPlmV4kUO19f1O76fCz++8ZEyu3nctp4sdia6zq0mJ35A92KdyPECCEvusZ2tyXcefFgiUirOzSSxS1VYBS8YadeEBTO9+IOEa3xdFuTxq+8Nwk4X6RX/zLmZ7+70eyQiSaaOzxOpYnwTTwpycXfuWcAbQa/JxW+j6/kWQYYaWIGvUrW/ybH1fE5bB46OYMePXUC5YYmr/mfiZHCOE43SPRBeMRcRB6kv+hnH6y17Y7DQVJ2zcCUnkC7523f/X/+UGwRNPApB91F69fxOqgmnxSRAg+R6Hy16WNNajZtB5cs+wAq2GGZjX5JmNUxP1DeZ+MiQZGFK1m3IIO2heSfeoCyZn7levRspO2uMINkimfdKeHhLuLEKf7w9pbbmk+eXZ9wgM7oVN7sgyBweJIsCiwwlxsI537lwKXDNqgN01JmVwIevrRNhyxi1OlwJXSoy9GxZnB/w9LjT2vHcoXR4RdHVCaAZadR9rCVUMc4HKKIUtMWmF+0qiMQAlnzndZbiLh+XJTPuo3Ox9G7Mk9GIvmrcHIimyRTiKUDQfFps78qVl9EdOjOBBqNuFBMBLyzi1DTODJH3zfPStv3CGlFTY8L00ioAMCAFd7m8hJx4ysDxo5yo9gk9DWnwmUEwy15UVPXqFfWYx/vgstONoUZKOOZQSP4y7fi5rRKMkDYtOleq9crL874OPV9Lvi/qBOcGMXyIBcNdJ69dN+C91m1Pkq8P1Syur7YeB0m7aFg1xvNu06//wAR/RzT0ntsO5q88RqKX7DXZ0PepftUBoTfWlG/IdetTHi6bSc0fUokN8O6IhYs30JSQOhi5WQzj+bNzPShZDU1NxPUYJSysQbBrPKKcp0RqHMzMqV4lW1D/fjzLj8kgRkV2EBFMjNkeL+l2CB8cn5Ex5oXOg248WoSmt5b5fVK5JYoIlKioH4vBVLu3ZUd8+kaebPD/6cnHetJWojbJ1LDKZ7rBdXFxmv/Zeclp76jfhsv1oNIX8bf64kfaoHMVqOJaO5KwNDiNrj7cjBcpW07G8KfMb0dYZSXl8H7e+iFZK0O5I7gvroBsIaxWXq6jblM6o415/L5ReglfV4hIx3OgKDFzHNOKWk+SKOpBIrISG7IIdMniJv0zUIR0By1Rl9tHb4/73YdRDuxacnw/NTd14OAwY5tI+tQqAQxjmQFFLUcZqqGLCPQrR45OKixf+sm5bhqSMWn+H8Kuf7UvtY2ebL/ac5fVPCHQutEwRc867nMBc0/TedqSZy63QUPHwq+v86+FaSdBPmjS946AfYt9Uv6YKsqua9QCxlOyLAyHgam01VX9k06LzlV22sMCp/N2SP0kh3JBhzdCfDrXl4wPNeQ975lXUWM7bEkEkMF1JdotUH4lN6+Hd2jOM7fzCIpFeggEfvDRzfi4IvcMgkkJSAhGydXwdAxRmt+V3eR1yJs0xWCpxTC2e9MWcR5baas1XkeVXOK4zGFMRNeNF+KjEpo/BoSVuP32KjKmED56aoOM00HRcd1GlCErfS/5GT09ovwbhS4iogYCFCp/hxWnpOThBRQ8/i016wB/f+oswmGr+ZcIrjO2fQzAtdcMETJ3ey6NbOZEAg7eHq/VrL5A5GxTstBLkLloXMxrkLrWVlBowjw4gASWzHLixnAdg+RSKgBfuCsdPp2ck4r51324LFlIYUFDerhinhrO4oHoexg0PpkVUMAMvhe+kpO4QW4jQuSXCtVYM6INrn9zBSDYRW2o4b099NnuVC4t+cRoBoT7jzwiu2QPv/Oh8HjpIYTsMxs/bBoHJhBwC+JnxiwWOcxWvjks9sA47TwLapxAZtHQw6AF5v+OJS5nnAE5X6fJSHeXxS254YLmEixGB91A3/1GNybkZp76Bg18vPYK4BnM9S4PmT9KuNUDDe3FN4nEObo27rinB6S+ZfeZuyDSE58TPi8sK4sQiGY/bop94YUKhij9x/+q0bJbhUAAUtW8P9Gdxs0Gyb/qSAgpgMrLuki9Web2dyvXG7fAuI+SXXAz20WwE/nz+7ztntuKvL22IT4jlpZQDVPAuj/VHDsvby7BW/FHO6hDTjMEhMKa8TNlXz/5XOp0etGrE41mkPBdE0EU0eTyyi9R4xMHfLQMjHA14MFQuVTwxmY24UfEASecFKNS+ZDvmMZFExF6Z7SzIpgMO1QpLFnYyWjNTnzmq/Cx9PcY/q3fAIJLhVL3s4fD8fbQg6KxMRybQEy9QR6RgtOJg91sA87zmR4i8+whxBdr6K70KnFM9WMVTbU+TbtY0/Wf8PncFnEE0UgmuNxQyvvcOApdLgWdDi3mbM8RdIzeJ1EzCJd/svT2ap/vYaK3KIXqc4Ga3dY15/V304PUVdCwC0q82zodR8iaomHhoqqHWre6Kq+AVNkE+BO/nFNj4t+k5EPwXQ42xZe5Jjq//zplzhiRQzmV+mom0j3dRaqRuOxT9SHhNejdPz6R3msBJ5jrnRwA3Bg8sO8dkavrJNTlYX28q+1aaP+VJXokXp7JPqxsr5xl1rbxUcttlXQkJbUDJ9Lc7wzZo1qlBQfZKXmsqac3rMVTMQsOcxoIbWXVjfJWHQ1DYK4N1P6IOlNvqI5qxu4Bn7f35tFes7hQd4FHBMqLaQ2ATELoWIncENUflyi0HT5BjJhCYcSsFLXOxohWXqTBFONF5lCVV7ESiSdV7I13BJSt3RBrVrnBg6GV57tYKdxqCEJ1CK9QHdF8yVAIkFZPmfPbN9maYk/JgBzyy9WCoCgoxcSq0VCTj9bWbFyt3/6rHjmJBGdNJ/W25eI30Qc9UfexwD/FB8+UGMDAfEAov2uRdJe6x9gGXg8v0E0CApZBY+MNj5ts+jZHEx1QM0/VmmZJt1jEYjqKBWW9420RfA60UFH2AKwfZjviD7sn7VlqwpGW+w4xjaKnt/aoCrzRAFL48QavNCuOTGNZ52UwjUUZkH/oLoQWtWDCM97maLD1DpJGy6sCVyu8qD4nlEUouYhYsBMDLDyiELAdZf0gRa2YQ6zsBhjT6237DoWjmBxbRBR0efspWW5C//to0Q9rbe25wEWbw9GsJzbHxL44hvGJYSOqT6UMyHKsp5+q7n2853R2rw+pSv7IHswbIIv+7jZCiI4ajDs2hrPJp8jniMdwYN8UYZq2NCSPg0PFh3nPh0FuC4l1LMCSCJU1MYkNruLcA+xRy89xZfYqRMyhwL83FBbnz8nUrvdwrkjNGl7EyK8Q2MihHqojWgQkCpjvN2maQbHA7N3eEYX4YLT++ZBG5POPhJ9iri5FfpIg2bU42UbuGfx27jtpZ5QsJqkHswJPpjNf2+WkDaFk+yR7AhS9E11wk3jUhyLXOIOLfz2Aj+XHC1M/8/AfzIjtoAeZQsP0B+CjG84gJIkf3bx10TYJfOiPS8nXtW/oe9HfLrmdelQBrMftUVWNASzfFBLpO1phvpDmrT/16Os634Db+tiK/a69vrgUgkcA/cz+wN2RcdsSuTkb168RLpDU4o4yu+rEjmXJ/eXVQBP6/BCDCeXc3Lyyp9Jozrr+jcqo17wKH/luUeyXm4p+rLkId9P4HEh2XSxKZzklEyrm5u1bQql43crPTz2/TV03KCQWQ6V4PUQSj/6vFt4KPTWGyVKSkUJGk5aOUkTc7LCAYzPF1cZJFvc1jrTlkgqOH5L/RbPMpN/sx0LfNCe+xmx81N9mirwwsoV/Kyo+UxH2XV9ACBKI+TVyQYQS+rZkrL+nV3A2eT7p8nq4IGk76o3f6Vow8a1kPrgp69gkJ6rwBSFpH3jg1vlOiwxz3b8eFVJmTARdHh6ebDRdrLfPayQXsvPo6Hk3eyObAdh0kOnJu6xLRYqoxtvDtqQyuq+NfI+e4mznT/UPncwhXXgOdGfiDCNHOexWClAw1//uICx1nPr25Yhd55050QSj1SrcW4GBhS5dMbLgfsfTiJCJMAhj5qejS5PofzTOdAOwYtX52ohbIRDK2ypC/wNNKkgS7FDWJ9ZFpCeBWX+EcdecXeC4bL3GDqPVsOulGtKlcst5NHH08QZ11MzcsYQp/O5JSXU0wGshmzw9vz7BGn+Pla8ijlc1B50IFc+xWrwElh+rKtR3UJtU3hb5XZ/Rk0u7mVlNEfyKTOa/7oNJjQDjA8ML9e1CN8TwP3b3jxKph3t7yS7rFbWjR3jTBmJWLIFRocrMXfx/CM1+4h9ipGlAiTpxPXaVGIaWlqlx3n3ymrAHNweilXYjxsf5/0pINoeeqvshy/UgYCCOjNPwVKBYlqM4tXQBCgG0y9aftTen3A7LHtJSg2PV2CiQYVXkYL5alDigLDmQnScEALEH4WKei/JN7DUiAFMQYxAoMuIBOc16uxG4lkWRFxbYNj7EcH4xPuwZ8bZM34e2P0VZtN4ARtnwY+nbVfFrbSt6iSkNlPw0c54/Cp86Lp+JPLZwnYbBEsEtuDdwaW/JrDJ/X9WZiiU6VgUz3GnQet0gC4kZrQ6r1U3reTQB4VQwYz3tme8QD4X48rQ36l2+1QNB3pBr84hOidcb3KuOVlls2bLs0XID1G+dZsZ2RPMsU7l3ed+cig36Xg3Dqjj0Wf0tdXm6bNG+OiLf4cs/t7GUuPRXdzgS3dWmRcPKrJBLbKzWFnS+yQL4mvtI7UGjEOba9FkY+bUoEqKjsyg0rudeT5HlEzcXYXB3YXpISTdsdycI626YlZP11GZvlNIdLxG5FrjFOIO0n6Lzuulrfk5BZLZRV43JdS9w03sh3kWTIiyNw0U6CUILjeZDy497L7avInKGfGSnw4zEoUZJsEUu6XQLi+6c0UPmDjffubDYaluLfT5H08Kl/tKH6llifBmKT16RPyFokMXOKBLEE1VFx+iTfTFVqbGXXZJ9OL7/qDpjOE/m2UH7lnVU9UcLtJs1xT4rKHbfBiJk6Ke/ZuKf2a/WrOG2huXWiCIflHgBoVMyIDUosPrgZQJhMZObpiUnAPqC+v8ObH/FHtRXZqfJYviLrrSRQcFjHgQgfAgJRCdKvTekIwsFDG5n1oLHcQ6OUWx+J6yJxoktgoXpUKlIiurzfk0A1OelRH0KY+GyfmuR/QGeYluwrYgyk2l6pxO3loFkBOXjdS6Ch2asA9puWs9i9fSnevDyRFkcBIZsovVfi6lX4ApOKg6xYM5XBcuK8Mv+a6ksL9YajL/XmFphJeKOE76Eh3V1fLkG2pD74sa17Tj7rp/tkEoONveMU2lvpRAj8nboaNG1OzQMbjCU7Pl82ri0BGhzoT1dNDVY0NBLO9GPxhpS6oqfCms3wDAq0hXDFS1SD2q5qh3TpS9buReHv0xZGB5AZnuXU+sMVkLl80S3yTTYgXj+iN9J9UwmgjCnHnA5Lk8nNOVpw9IheKjTrAVcm5wT81LPp4f1HxT0mPI6Spg+CI7+UbtTzlVdqjhdTnqLA41JIPyzPdOnGUBTvPVg9UZQIFVgpv9dwo8Z/swLcQPvUBJubTFI5eSpBv5FcnjgsqBXvLska3X5EybUs6bhEZNbftg91fXn15hMTsC3GnyrAeDORom9v4T2t9PI6ALyxRew56+Zz3TtRCyIgOFnJQYuL55bW/MgmePj47MvGja/SQuZF+nL+SgQ5LcTpIgaQfHwhTd57/Zmx9y5fxlDeXXp9W1mjEjU8UIcSLv8gI/Y1jyFYpfFkLi9adr5H3cBrdPzOiSf0NwzSoHUDGEgdlvJcs+9e5L4kFO0kqBLNf2X1qSBRw9X1XrPYq4M0C/umv1f0UNVKysfwG2q6v0ESHl8xX4wLCdMp7x0sm+yDW+5tS7KmSgkqilc8OzOOohWhTmSqmHMEXGN67uGkj3qRrpXnx4IDXCuiQIV/yMhLk828oTJ2szVorQzU6zg+RMcC4Yxaq2QAO/60RKT9I0J63XGDhuMo6fGOtLzWiRjnx8YOAkKqXR6h9dNphApqcxdrXVWz6daRALTdsyXbfQVLlBoDZOQUlrIJyL7NM5y1nXymwWHqedgu79iAjBOwWh8JruS0eMp7Scl/6SsOoRX56eqXsAfZu82DYGKJKSIJ8SQQyUeLicP+glUz6ij5zIxTEt8Jpu4JgHdbNhpmePccrId/02BHmj6iHztLb331v3/xXWGuhMiyPnwtMjDrhW3q2MCoEu0PoUzBiH/5Eyp3JW3UCjNoy503p36LXhi0fyK1bQYV4A8+WakfuCpTJZioic8cSydHFp1NCWBgscAHlR1PDir5SymjPPSOt4UBFTp+IiRTrDJqq0JStbkrurO9pkeJlli7rfjZKqfzDkzzVM9flXm6cxrJdAGNdNFS0bylDh85VE8e+pO1v3MdvHKnDWkcJ8gqHAYsSW6ZkP4qMQ7992hvJscz7ZALSy1l4H5oOqgyeOztfBxPwkRh1WZLIl9QStbuIdPDSQ43MbY8CVK6ZgMzdzOJ922sQQwJGi8RZqmDXCDe8ICxMHJpcYv5bw9axYc0M7E/enU4/i3P7ONOdfFJp7ajy6dRlaXOlwirnXFFBvcrCTVP8GymSJkRRAxEN+yBvJbNSvgUdMszyYccEO4qKkrykDl8lRMOfh6LcNaY2NKY6Gv3xq+k2bECA6I+yafkBZuUPcI4PeBWBfxxkjHaMGmBLtrOxbkR7Lg9fipxrGGVX0jFoK2ChD4AY5U/qc2lmef6Qbj9tws7krD/98IiqRp02Tq3wBepqI/OmW919V9H6zm5JzH8xb50HQSLFtfKKLAcnYuRMJKz2dwXgGLwkhxfRo7a4fbqd9kt+fgKsRJW7oJLGpiecIJBzOMvK0tyx6QBRPpNAWeAxLWYLyO3YFH65CcWu9ckKh8189JydGr0NGXluIJjR6X2mQ6EeLSPbaWW/7ZVqVxtAUgRBeMBgsmr0avko/1fSsj7XHMauQip6Bf9aWOM3UtIOqrUaezZIxLaNFEtS0VsHUS0HS1hiR233zkMI72JlQnZA+/QUiR2OlhLtJhZ+po4ItTlHqnrkjeHodMeZbcTDxpKzudJy6eZbXSTeoPh+lFz2ct16Aq6q7BIVRpmp8GUICsNW31Pt2Ki2NkXMYHlc8AHZhAsp6PFexU7tJirkz4D6soIiysWZkk7kzwS/JnslPT45Q/vrZyoFBmcvMZWKiAwFhj3OUp79ghL3o52t+VIb6atXwYgf1W7IdN0n8kwSdun/WqykVNP+FMogp6taggZO4yhb1Q19b8KOHCsHR/7YVz4ibmnhynNzji6TUHgUr6R0OK2x0RE2Gf4oOS7jLQO6StApVQhOKwP9xPh6KgXMG3+7c5z39aG9GbnSL3y89ztpyTlE5Bp37nQwbHyfi0bcmjfnfpvbpH4M9q6rclfriv/IeFDOUs6aPtt+pF1r3OEZflummDmfHgnnFNCiFDuZW1GcIfWUmmHeChz/xlKM3TVKmjKhcEZNMBDYFMz2iNFbGic8y2rMRzRZWmGeUc8Rsoj5Lp9iI+a38lT6XWbVMEjgN1q93Ftd/1oeAdG9qCprBcfHbVzF3RJGnJTzr/MnujsuN3+0lLoqka+ae0xn8pB45kKwSxCEzjOchacxjChYDTXxdJU+F/3AjC6t6QPH3xhdEmw+nmsy9KFixaxS9hBA2ea9LSnw2sZ419FLBb7QJ45b6R7lxBOL2Px3MIbxN10xxYAGgyIhN1z9Z1ec6ZyQBHtCRt8fKZiYfeQY+Ofx3ZbHUB/hlOPc7+MRBY1jxs36eD2tPrRIA0aMCHWgNc4cLRCqZ+gezpThUPGG/llRBMbCxNYlQl89JKozY4B6QoclrTCZfmbq+HLXa5yK2WGS+y3L5RiPRVsjsbU/WQwHHYY2u9KJ5v06nKR7KJgFFI3RnWmuKljf3OgDKmTfRmQtW77V1vkbgbWKEs4dDAxclcA+MSWURxNS/WDstdPkepaTnM3WTsjgdisPo4phZZQQFajkNTYVfVeRfzg3RYstXh7CVqMOXFW4oY0AIU0Or7TW2Phgt3iS/fqIwoDlGt2HJhiGHzBS1xrbQa50iyTYMAMsDwn65SdxQ3kqM+ih35GS0fl6gjdzyrwzo1/WSzM/dhQySEBK3287O0267g23f/cRFFSPt6OQpo0X84GFXLlxC9N80W7HO4HIJiUjXdpsXYwrxZ4MF4m/fPa84vwhiS5P57vJP8YDv7t0awpYj9DeZhRrnlPoF7qCRUue5iBwNLMa0cUIsDvz0kNjQgDNkfmw9oX41iq96ifh6/ZKpYniUl70R5Beq9mysVb7WVmbZ/RRuPLVL7AR5Ro/OTPoDP0qsGbIfzYC9wPU7EjcdR/g+5yaxUKj7Fgw36IJ9aO70j5FdalwsMOzmAS+Q1tkCPmlGJbwhwgD86Z0eYcDANm65PJLqBEqwvV7IQi2KfuHZQbRgYeuoaRL2je21xGTt2m+GAGsGCg3xyo4uly17YM0Nuk9qoz0RCbjFq/ywFAqRYxgY9DQ+al/GBBReWf+vgxzbmcBx0KQaYAX69FD4g/LGp6Be308FaKczO6JvM4U/BF3aUAUgUT6cxWnZOtl99+UVrsm6Zw748YBpAgIVD/QC1YIVA7vUYC1HSCd0SdqfKRLYlSsf5u5gIqwDXVXCMgBv5tMzbR5He7VnxeAwlxP9kLgh9Vhok2Q+Arrvd/nHlVtwhPWlKqhOgzVnOYe1AeUBoUqreXrO9o9M5Q0vOf17pyY2gbwQ+BYXGlFyMh7oR7S47zI4Du/++C3HvNILIeBy4D44ndhKCJ+ZHKegBBoMyK3jpRH3b7WWszW2n67riBT1Y18JbuLaUmnvZhVH3sTSfxbL0pW38p985s5+1uEoXAi2c+j1APjWi9mo9ghb6WHF2LbNJH145kGfgvudgMQWpg2REtSIGKSIcffmGQBqw9J7ccFIvXKqVZEDmPcA8EF/qSX0LAs4fAYpYi85R2GIoB7B9d65LfogjJMIWtYUysJfIEPXM+SOet/3LJSja5z+DEFdImlyPYwmFeMf/ID/eG0PwlGOJYbzNDa7wb0swjSp3WOQrwLTlqSH+/c774sr/d4MF3aPujInVXEjifFNNkD3IPzO0ufianTWfyZyhJ/M2sW0nvhOnspXpfFTv8tqFr0VQCTC/xHra9UW7sJAwcPUxPLXruw2MxGCTng9RXu8eGmUd9qlCUt0Vii97R6jDRX3SIGbMeD77WNj4wHkHLMIMQfxtjRwmFvQRrXhAU64b09KD2WC+R39lh264wFThRHWso9zOeltvj2UAoORHrbIy8oSHhDitTjH+BaWtfZzJxItWdF9ccfJTyasT/xtagZK5u1OaKcisj2oQerkHtZKAhDcyTziiRgFOjYLYyyYXXQ6gCeUbMlPxdyrUeWmgcJbXrGXfPFolJtaET62vd0D62LKr7lt7cDqwNPdg7O0zC5n4WUJj2h85kmEg54G67gskiLTTveJ35/hcegMnad48sai78JODc+rvSwRhEPU++1K38Ar1ZPd+LtSVnt34qBUkZ4AUilmESlFILdTIO9LgJoSZdhb4/WaZu5HhlNGd36HTIbAKBqqUyYzbKdnx5jfyXv6jeurHhdT/24dPfxSizulx/138hSNRXN0cKUX1gJ/6M7Mxn15a0HAm8QJLeECKRVfWnRdwOi84NmSa847ec+qnfMzXk3nu9QWRB6rRD+/q9o7z1YKX5b7X9in148OsslI9tGxRkTyVxjjPzaFg6LAWAHmjS5eBu+bpn5FzJMU7x2DNvpaxhHO/8Yr+BO4PefeEzt2z5pStpb5xUUU3ndYRICdrcVVmCajHnxpB7NsSN4r0EznMAYLmsiqb4XhwYLQPZEWVtSrTSz/uracbBsBYqvjyIrlcqjRTT0gpUv3UV02ljvf3SIh0U1VHiVGiqCPtWT3t4ub5Jyr7vzajRoJsfkj5s/BhnxtuBeM2Tsx8FHOPWWOE7di/mcWjWDib+UIU7QUKHuC1WH6TGiGbly+J41FTgTC6RcJqTU0bqE6UKG8rhLqjjkS358qqtU2MCLNDeWbnW/nPBQkx/ZQk4xllx2HmNLj+4NKYn2tU5HfS90ky46shorb4yaEBvSVUBGAu6PRpnE/FCkoJacIuqHLpK4K98Al81xROLWwL6RJxAFKjfBqa16RCENO5sWNQMxZFbyr0yX6bfBM9ZBw9Wy2TcMVUOKg7hQIbVkusd/U+L5wO+Owwi1JVszU7sGop0yPGQyV3MJsZe28tQvKQj3FqrpTsG7zOhaIfRAzzBYTxAVwxb4h1MGiVqomfLQO2x0yGj1qjtq4owonu9WnTcnzxIUg2WdAogb0YcMK7NCMx/WYiPBBUAUO1ueIajgNAAygtobp7hk5VrTtGmPRB06OJLCWOC1fNUoyCCBM3ExbcL+TPHdLN5YhaSB3/3mFdhRmXmJLwzoTdgwezF9xzTyI1dz0LrGHLSU8N/VDYyxQvB5O/hwv9Ud9ZE1rjWX5Ri+6R9EB8H4GahduHcPbKCJJYnC43wkMNdj3DGVbltkcPNeqh7kzdSvw5CfNE5w2KvmSa2qmXFLQhnWUkeFUlDaceYWjWbHZoO5r1f+JiNs0lFMI8L/eG2/3qEempTDSG6l0b4+FMOz5/g3Fx9L/lb8vK70bp+JSZBGPk0ruHTX1pY++/4Aaxe8bf8rgA7FPJTHwx+LgpHVRckd90q8ZWerabmEmH007zBMLvOrPzCpSYURALdIQa9KzClFdxy+TziOHWUEZiSpvZEJJX7/41Hqx2azrtF7huExurC031p9WuCYTe3seUcQp9HTjWoQ3QRD+yqCncrntRqB0VLiWwm0jMEYJnEuOaDeiyNEBvTQ3afHQJ4AiaKrlPIyh3jGrolNVbYLx/bP7MT/HTc/b3DaWtZ5Q2DadCuX7PSBQi/I0yb0VscQvUALf149FA0Vsc/+OmOl+bwk3giicfMHWyEhZ3oOkK0JI8p7Bk1qe/yl4/n2bS8IPFuPN3mavuhG19WvdymbTmiXzi9hYvc9qB7Iyq1Kr3mZQdfoB4nmX3MGeAE0Ts6NibguPhA2ni3xnPlOjp8Jois9NQc4Rcq+fGq9cI/ZK6nStKnliJhMddhiJm+kNwVHrpoqDDeSsK/1vqy77B0dhvUeW2DZKxpiikfaxB6YfPjtvWkTxmypKY0DFdBJO9u1bTR5vQqoeece5Z3OVSoeJxvSHugSK83WvKrYt+xnW7G1fvZN3wLdEKRkEZEwzy2r+/FJnXyLzYbYeOvB5lBCyiO6f4UsZIqOO3Atsqczx2X3l7G/dW6RrXH0opdIloVzeUIPL+VR6rhJ2zLHLr8ui4tyU+fyPyAqRpjOzdoRIuZDEWF01pl3VodyS6DIK5MoD6rTBHXZZWtbhVPvC5KjSEcCdOxpfYjJRtWklg4qHlH3KWeFfEWXqi8YWd8ow4lAYMZncK7524SfB2tjC/89jtk8EroMEA3lGwbIS2ueF4jqK3JJsBSTT4kA+k311wFkQgLe2u4lbzVWqA+OxAEQskjfgEO0Pq16im0bKw6ujOq5+NWVoCXADIWh3A5GjGjCAFdksfhAHbogwfq+NzOqh8mAqOfj86cWWtqu8m7vNW+wMHe1ANg0Lc/XCo0M17anI2UbVtqXQjwVH3+pHnMP8frXzKOgSx6XjYpOgE2NvIP9dskoHerZlZ2KXW/vPuhrpNAr0Zs/kX1scHwaJnA1TSLAMc+48UouZumCS7A4VNlmxZm4mQBEdjlFNeSN1CfbyWvv8zNmvsuuE1qa48LT3BB93moxHvPMBAzCUybA9Q27/XfHukwDoNy+idAvmWhXB+Bqf5q5G8YyVWP1QPab4rdXpdFs4wdh7RMknmKxNzv4VA7RsUbpQ42jLrdozLpyrleLIMBNRAGa+cvsGcLl0Y4lUCnlQ/isZ6eXTS+iHKkeVdyAHViB6L508sXkn7jQwz40EhNVd4oi3DHXNcWzfNH23PIS5r8n7xYmTgaIa0CkVaTGlcA+oj8fDgK1M86BsCcHStBy52Dn7/m69Yx7y6cRLpQqCtXZtoZwiugQ+I4yeTgPwDB3iZ3ceIdTgljGwqpEBWwTx5I1h3ZhLpLjj2FDqRGa0TKiCnm4+FFnL18Zcl6J3D1PS2KLNfg5O0uls9+KRK3o/d7EvazQxleSZqdmwALeajSsnUr/yVljiuKpEFgG3dndpxSytspi8mOgVLKjQVl6LGdgc0JphACWxBzZ1Lz2GsuszjgAQdB2lOotKhjFQAEMVwv5WZ15+WBI/jdXV2JFg7vEdDi/KoFvwFyxuqpU4dSpB0GOr8Nn5YtQrAhl06BaeYmCUVAHtsk8L0sB1iYVj4UQM1jm5LMqlKKdFL/Ws27QjHjjpxCNM0tStKk1A/RwyZXcbrndHijvTinMOH65XOMevGFgudC8g/a21/LrIXQ3TnkjPf2hZ/ZVYJpm/RUStI/FmqQGfFSF1LmxUP68cvCXz9KTVmLoR2X04BrpctaEi38gNg0Olc1lcKZXH/R2IcScEPE5zF4//7UWQDclIvROwxOqMOSXrYomDKIB4liuZong4Z6DbFdvJdjpej2LF2VgJPjz+5ZbCz+WvPZelVed+vxyr8uKpqLaprdBiOCwdZI4BdrsdNxKilfei95w9s/fvKn2Uw+/bgYUGdUW53q3+dMcVooGPBL8799hrvVATSZ4VynAigR0MkUfJNtnL1e28g8xvME8ddTZ9pcvw3KeiGlTy4zvC1h2LHdMTTAd5Y4EUis/e2Kh4Wn7Z5/pgAJq5mUvfzK4lWm/W6KvKsFnQAmPJSzdccQ+OiNINTSX1cYORmM8ZiwbEgYfwP+4ua9q2oDFoLNJtIdQIijzQHRGErGdMD3KEYA3tdyNFjwlMiiPQHEwvkg0BMtN3WSri5Xw5jdemcFW2nlTrldeJJprUzSfjTgFxCafKpx5yDFdzFo55gxRNcHc6dQioBnmui5qSDbSXiFm8WMiyH7e0dwEoXh49lX08C4hnuSO2YW2hmK6f9oQC8aHb/CioeGxPY1BODvuDhZtVtSk2g8Pcg5fa56j578YVLvgN+xC1+CymeqLN8orEjDgSBg+1xeiM8PRzd5jcoqBA1kPhe4p4Weip00/3EFbM2RbgRl9ROTJ0oWGvXxTmUJJ25hLz8NhJRp8nVKI3jot+8o8v4RCWSKdQ60AXeBgU+2w1GgV8Q1lTrx21bQOzokR/pCN0x/ZE7FzW0TKab1S7HHXM8cD87VhJ0WFmylSD4ZliXMLehxBx7smmjK32ZQOLH3coy1EhZgj78FQ8z0jx6ABPAq3BKN3qfKdFNdaziS/gHMLZWnXroghBqTKERqXt6FeZ3swGVPA5bnJX8EmTMyQWZ/20cQOxrNVwgzGLtG1wvS1w7/NNtNS1ZZvsoL6kXljABlajQsrch3IV8jSwNGJeWQSh2/IvSdYXgOGDi7BjWQHUFJz3ILXDjPJyj8lKdK3QUFojurXbWZ2G1H1tQzcWE+TQtvDe0yVZDnPrUVJkpCYnGPdSZxB6iZ/wO1SergpY0PQBdTeBoY6YzOjLRrHR8B/nedXKvWoljAs8z8uyQzZu0C3KlSl3DY7R7NNo0hN64EdVDtCepToeRPRpC1YbhMBJPmyJyNPhTndfOTCh4wAo+dMP/3i/jm/K4IKc704kVlBQYpWNCmbyEhAoFmDpRwddRcCPiqVO4rrjXlkb/VT6u9YXqxAtEwSL0J20uYRo3El72lJlfM3PDhdbXKNi+Nb+zHay+27VRIcDrmS0w45T8IK4JMFqozJnosTin/Bd9eMxWW0XpmpJ8eld1gtqaxLnFnHIIxwvJnuCNCAZzfd4iJEZQXzb6aQUeAwYBsC/WU/zsOY5uWSChNdgpD8Y4yjwD/6Kq8T53PJtOCr0HCya6pZAbbtWUI2xlDv0ZcqrJybc2z6JazvJBZeOGLZLeXJF9vToy6bQUrLt3yL4UFfRL0/kGJV8NfpynVoyq3bjTHoEJS9Ewmx1iSDPdlD3VBO5f1mycJ7LRGW1tC6jdurvzC70ZiChd8ELb4n0PbHiJ6wmklvoh2u5gkqJEBpc8aAnaEZgpD3hRbtzWdzcP+ArL9xsHI8PHiDdVLo2DsBblt50eqYru2KaO3FfgcRdnTdnr2IlXwv83ipGHr+AehBTvbF8LAEDeO0AfpkEU1IHOXA1mVWDNkqq0nbMxVJtmVTuJ8U7Xh4YNb24lCD/E02dPcanyhQBlVh4mV85EnCCc5dtYMValwBOJWCIDPczc61ra1d5paquYGR1neMyZDfGMsXcjrfOzCrIF9/wZVZS0d7QF03IIR3aeLZdV+sxSBYFRf2uTeb+HqL+rDpczxRq3nqkoA/adItDqHO36UeIWYi9vGu13eaMt+aS19mlT1gic6pz9izQSoMfHVTSMSVfQr2E39THndaeeqGKv6CXe4uk6BZu6UmNm413RFAzh60fCeOVa5QZa0dbHbC1MUU2r3zLsJ9v4eBSptUcPIMl56yUbHblsFL7Rmi7949Sb92vNACvDCpVdVQUjrezbq6qPUyW/GKfIvondsEJnXNtFieu/sW6f8Ofi7kEo0UlSKceojK5EOaLHJz1jOUqmeA8ooapUtgsi1sP5LxnwiElT55veQ2kOXkUINvSgn5PYdy+lOcXNhg4iG2dYmQ82JP97EGHB4P3X1nfge2fXezd2PTPtQa6VES2D73tSeIVJQaTjXJV2YlfrCvSV/NeTbUPTImXGuygQi5cTmCNUvXZb1YiPSInbhMf5yBQEWUnszyt59ekDBT6l/sVUZSK3mGV5rfe4B5onUkf5cP1PZnKEXFI3mFdmsaJ+qDntp4ds4O8hgG66EFsZ6vd8ObbJXqWaw3SMCJVrWphMhviN8a7L+8DeEsOxSNERMW18abfNHan3YEY5XqpKpo1Vrqdp+b40QNYVvREqZY+HRYGadASRdlovm4+5HIEtxh1jj2UJsWkjKdjieQYry3nDyKRId+O76R0jNwHjeyoOrSb4xK12fm8z88yVmz9lY9rRax2r7ndmdVsEntR4KlBfYWArEtZZQPwXpMuo9qbNVSkqovibClKMMz3Cewj162ai2WtzNhjdbJyywbLgqNpkUplSPJIaZbtndgeTFS+bOEKKcKkXhZZW0L66T5TPLTF0WFWcYW8ANGFcCjpS5/1065T9QrmPtGOxdk3dCD16rlF2+MveCkzWw2Odffg5tZlvLrdabM4js+hU/kh210FrAWVfSo/6mzAh7pjQ5tmXN/G2bQyddhyBU9DZv96kveS12LorcP2YXrbKdsEyIKbcZlf4ovUSDR8VS5FoWWv6rsWIsHXUUnIREE1Q27mWimxj+VaqMXfDWKsPB3ooixDoYZbtmiX/HhL6161Tw0imQelH4UV0x+lKFoWaq58L598TnWTIv3jAn93GK32QNo3mPpc2OJLFqS2E679p6c9aPiIStJ2tzdD/BtqsJGYkkXGvubng81cLu22gaC4rQwAHxCtU1Zr1O9fDngxZPp+kfQPTClL1slqeCtTgqefyD3Nk9ILCCP1BzI52awYqx6JibTszCq6Mq92rc8V2HeauV9i8hqcY/orPDE55MpdydO3nVQX4mZOqdcWTdj5mRXdV4YgPcQ/B1aD+IxP8H4xHP5tl+weSWjcMhgxDF52qKjolBA2fppHpGffPpMcsh1+FLjNFujV1YF5laW24WD4lE6ILa0snFCOzGsC9W78OJXm0d1p0DxRX0V5dPtyV4mbIaCW1dlVCp3QKESlmBdEgCHCPccNkVv48vGyeiXJAx8nI2Mw2EjBA/rYth2gn3ZyLJP9FnmwQ8IB64kNCSPoOUJlJgyMEBE4kti92Um7UAEgyabIAc4QxNox/wUFp3B2ju54ZlbEl92q4sG1mw0Lbx7smw1+P88BIJVPl2CvyjdjCHjSJmns4U8reJ84wdxWnWRcrQqBT4gv4trX88pQ6pT/I7HD9WTpoR8DYU441Vj/2hwkstcoO7KCSfUOiORwZy2KjCk+OvD0or0gnqry7Jfn1YohVCFa73lFgLtlgLh1hhMLrBgJE2zlDo8ePnK/EJPMg8WFmAzQKhAnthSjPcKsI/YHE6btruZUwErMfacJP7sy9CAjM6gz47H1yrOC96v6nUQNb27JXDvRXgYfwN+QYe/ew0wxmVKgCJb305LQaEpK9VhHzwJF5BG2aSBjV9zh1iWDo4GLWwes1+R2rPwXfoI2Gigz1qGKRcIhBnv1ZznrvZb3gq7hSBdYQUt/yI0B6txehFuE8VklM9pUG3ZVT3QGz05B0T5EvTP7aETwjOU+Mm0/IzLhwZ5+w8+8WZi4o4i6IUhGqq5A5iusJ/LmrcDC6SltpeVmt+7prdMmPiur+VP62dKkQnMGv6nL4PcCWAHwnEyM+ehoN1fEYUsqH7Q+5tYuTedLWVFsFzQjkw0/LeLDEpaamCkNON/nbDdY04dlPIhRccvYgThSpBlNq7feKT5DwmqmSxWJJO4h43lsjVMTEB9GrL9F1/b3DWvJ5peBHETfRYFoHHKjv74SY5uuKir8GW0XQeLdTe6yYpnf/hDm0c4SIVnRSQqXasadP0F2ZOElQ7tUvXYdeUwkBvypozhwGLyjw70fdhaKXPwdLjLQFaHJks5XeFE4Y6rAoaThrcT5U2o0x/KUoile5/HxF+E9al4dNl2Rvh5qwTijocrqCkTJFpAetrnQq4sUwaJHYlrEupkfzER94WCNzqUjaP9DKW0+h+iVOXdkYVGf6vEzdANAu8CEj8C/tnBjp1vvKhvCQAxvcBoQ+5bIEly1nujOS/h0LlcqTH/z5zwhu7KKfEhwfxH0q9EbH16QHhjs1tw1FGkxUJHMLZCqQ96D7YmaURPl4io8PvO/xnvjh8LLTFUsHauxgOttTq/df2gFvmuHHL2Y2GtSj/7nc5kQcLwUkXKA26ZQK/wBAfQTXihfB55NMH0NmwnlKlUNaDWcAo6l6fzP41/1VcXOf+/vCLb6yf/VfP0lUe0+9LN8wzhywsrZJX041wU5+h5KeGEkii7YCjDbzUDQFrLa8vIG9mrPh73gvfLJ1+HO9TWf583orz3TMOH7L2FM/oS7H3O9+CMmcRmvf09F/VOO0BQi62ifrtXLYf8Ucm/2KY/9h/S2ocQOakE1bXEmIURMkz8cO6axqeuUXm0KGaEDuCbBSUIZY8EQ/O8QPS/bjbA8J6t/sSZW9DOoKyRip9Ut55jPO10nfgc9yUmHMlxE63Owb7oqf4BNJd0LBUNRE7Wh9nDrxI9M0llTepplx0bcxqI3igJQxN2bfZiSutk0kDcTkdprs7QhMmqwbSq+aHdIr0Y3jqtY+yK7jCAgM8lEcq7Zo6W0zY8+vWB4hqZorBm251DWWbYLX5vn+QAZw+Jai8I/HIampgiR8rz3Muzw0tAlaPDPUbf3pfWZlGcO+HUUH6TMJya93wJXCdTb6LgivHAfhdnWlX6JiprDVfXuu+IjIe+kjeU+g+yTqBSjWPbnxox/FFkVP8i45aBqy1Z/mZ/bmSq0HQtCP3Q02o3BSzT3QJtqcRzGCN4erZsw9gU6AOGo+IGwyj32cnvAM9zSgdqpyA+Gpl0JLNCcRldx3G09VNPr7iGqFy+BzyKyXbtn4e1vJO7odbI5aw/DzJLJepn7cpOvjBQTvzfxV29IBPMX3zbPKtbUfunAr+Y9B9toOIaoUobPGj6ks6XufizAYP8D5/GJYfmbRW1Ka/+AFN0Tkj8mpBo428czT3l0McAPbCt45AfkBAPGrE9Z1+VFmeQ60CWCZ37EBJBr7g2+Hvbw1JRYrbzp156EHKXz8pZ6/Jj6Z53UzmYpp1KqfnM2rAofO4XluL2G+m2BMTmkCKoSffpYs+xaNImToM1FOFHWGYFtvDE79Pv3+anidWQ8wUvb41Ec/N1ywnmpdKAOM+qRmGc3RtzbM0FsQKhLvAhJlSGHkgBwrhrmyBHzjqFImpHufZjV/j2sWc1c3mwD8kRdD5pv53FKjoWDEh04hMop5oPXppOmj5ZPulMNxB6InulJ4MoK2HydlGuRlOL06qZlY2RHadlalGUqrNoSJ3myaL9U2zul28B9O2xo4etaDhWwoaPxdu1lNtNi3jQ2CZ/2nlXlPwsVSHDl+9UsidRuXBIJmtPlE5ca4ptPU58EZQQ/Gpqt+D0sXIuDqdNvHHJwSzHRxcB2a/YAxcLhiGhnV6ECbWNEUyqGRvdaUuHNeyZFKv3qzgKxRsS63rMTMIfAOG2GhoEbHJnaTqaU2+mIVVm2OET9r5RJnM39wrWljo9uan66Abs3m1kNVKlltXsYdSUGyhaZj6eQEs4tM38PmpPDROGU+laQmPutUp80DoAAmKBwWLWZlDPaVEzvyZPArBlog8XUDxbY0MacYhqKQc/udf2Foq2+ze8+QBtfPyX2oL0yT0HIbdJuVVG5UI6gLOLffO0JfO/4J1mumKtkzDrUZYIIf58Z6M0FZTnwhMvZ8VmLlwXZoV07LOUWjCMaASvI5LoWp6JiVtAr/uPkNaQoEzIicTIqno2ulWnOCBMO9U6ViZDRyvbkobwKjEdA2eTrxcu6ExE+a5A4HyDklluGbqpVQeYzYiJWrc3of9ye3L4nHt5JiinTyphe28OjbQQfSDCLAqtgRSoklz1GmP97ArMJb3lZ+/nStL/CHTVv7Q/sroKIj0NOsmXYzdbVrsKRH/+mJsaal37qgjzis8QVPumer2HOIsf6witB3Nw/AQEmrnC74Y1NfNg00N9LE801Izpvi5bZWqnZ+aYM6bRjDB/fazrrP7ZopASICDQ0K7KHcP+R4NHjcbnPgLLc/94JxqR5Qb8kNzWsXgckMR3o03KKHhzldE6sLheRWuPSDDmFW623rIG+wC3Xk0t3lc/JHuynxMYIP4JOWar4DmNUY+4C1A+GSfRkYP7vneAesPST2B0ncjhF+ZJK1/8oekD0CpC1wIxSQ0TDwmY1PLPuWS8dFL38aj9g0roWanLQPdmvTp8uh0N5x3ti5/3BjbN3KflD9cW6s0KQk/eRQAYL/theXWmMUtXfpDeCqUY9VJo2kxnyiZCnPq4u/tvOhE+LhEpMgi9rX+4ZNb7cj7n1agKIj+ruX/Ph8VOh2/ghfJ3FKr/Os47N+/N6/TXwadCRws3e0DRATgm7nQBdcXHi1iazmX0QzHU4yMLJfkdMIBxTCyRFfxZRePCJJW4SsCBCFyulYQIQmHT5vDHA/ku8b8Y78UMPMmv2mbEd6JJqCMINuxmgy/7LnPOnwpVN/9nqvlNi2mnwAmELmsq75p8/7ZqSpiOd2wDb63fFdbtN7j5xnUzuzb0qQfArCwFKyEmNPWx3jWw4u+BsNaOIcmh5UF43vIeuP2/t1XsgqcRcQ2gumvHtVllYxy3EXLGARK35WLMxlOrSLznw12XA4mejTwEni+tizYTSmfyityKsYe+cAXFnhLQ2+ZEmR35+vTUsDnXqxemq5KWX23McA6srL1davJzY6ToLlH7z94xGNYH8fxPmHEh4knKfQagSYeRfUioPPaaBZq+93IMsJpDpwXp64glDigxPXQe6KCEf66VELGq0ePfLERDvbN0MSTiIdnccxzNx92tLDcu1rrMEezg/T7TW9nv9gNIuUyxzWd2WDYhwJ3Dn8FdNW0caE9X8INDyhkQjdPtYNvRUeLkiE4Va1xweEnL3d1LmCdsf/FXXkKj0YkkVI6WAdrx6uGuv+rosfbY5U8Cp+Z6sZdlsim7OoL0bAHB4U7kuEF2QaFXqZ2r/TDSSzQBBlG3kG1z8U3MTlc5L1LwR879IboPiG36Aq2aejCP+JOoBe08GBomtesWdxRGzeMz3wAvF10V+AdcUDN98Q7t168CZK+JcS70awzNTDpsLn32bmGOIuIhS62iaewPUd7YIVhnod7bCIog9tfqO0b14Gou/Tza+kkjNbbEEXBpeN0DcyHVaIMKh1p3J46UbcazARtpVlvo+elM9L/q1ibt8wXD6tIa5TyKZhpop3tQKn+qsIawe8/OMWfEk21DYFp1PdUL3M8ju77kDfYV8QQRvGIJ8wjwRsLyu662emI5vQ0glM0Xnh2F2y7ppJrUfYqycifGWQcT3nE4enOozCGyTZvBZwMl0NOsgw3M0bSGyuR+h43TmACGi5H4esVG1nf04HeAdaKkscJCxFvLYvwPSjWMJ+qRmriR5X/+rEJNSnfB/5d++rlo2Ihp6M2EJFeIfWFFaev5t6OHjEgDRRLEg4+sple66zlo7NJiNLY5qGc3+HsIRLnVQ+dgS80mY0WFdMtpRJA7us6r60/6fhDYkV7HQSsRPlIROl+V0QiQb82BXmGOPiFj/OmEhrFjXCeE/2g8ZFxCOnW48qK0D6JrD+HI6r6S8+y1HPMN3XcWXBBk8oEYydHEzjp1Pw8znqlXi9H6iPbmEPL7iLw9fXNtQERLxvm9EU6j9jt05dN/asDB//YFtu/r4jSfEivZ2YOnm48HrXeK0sKemtoRtirrodSxF4S+acCgo5cezLLjDQIJo7GAHO1tqCidcN6sapA41P3tXKx6IFpXyBHJBhdhrXw0oh0f4CLBb0iChCqC/naej3FyUqjhdVgB+bBI+xdSFLxuDyk3lneSzQ66K5rPA6FgZB0CYLJJnrWcuPidps7gqQyJ7TD5IuyJySojl7oDBnKEIwOhOqQxu9maoUATl5QUvh920rhYnmT2tVR96F25LA3l6phhOBhNyvRMvDeUdRP8OHN/TsBa8Bz+WcBKsCip9Bx1qHKm3YIBhnLZNq82M/eq9WpASqdmttfAitloaOyyRzgCa2Kst1fQOjd/0+VavrVX69TFfdnAZlsc0CKGj7XRfKces/G/e9uHnb6qNzK1hGe5coeuCu10VT7KJHtF58IE730YGVMtPbcNLpdgMXUxqxXvWhTlMIub+WJoViGUI7WDXmrHg43UtzjnD0jhGu9cdlgpfRhSWlkcCPJTlSXxmbFOJV1sccv9WunaVAA69fLmbnvASchaKsH7pdgXFcbM8TJQ+ZmCuuXobed/fQ14NuxS/eq5Z+0saoJ3oCjcoVC37BH5AYekXLdGNubUZrIDU5DLiH+URF48eIQdXsE2AUAqWTm9YaJYqFQOFlA6QYSW9TbP+rs3qU1bSRNhjIagwi6m2+iriOebbXb7aJoTO8ccENnczZhubzfMgvthkO/QBJJsHeDNasj8H0PMOoOCYS8PwS89ZS+EPivyRS2m7d8jT2qpw0Ww5VSNuznZk0xpZko+59Z8fLMQI4sxmIj+Kggu5NTSlXYd3c9jpEHLkGxZOJsSYRUdMsNThIn6naI4CoAl7aYPUnj+dIdupKCGOEBJQn4VHAuz+jNT0W0F5V+RK/OUMcwHPFUbkzu1DTBbxHPshROl4WaTkj89PJ+FaH7thbaq1D5FVDHLg1jkbkoAGB/RugGglgywb0RYPIlV39t/9vpBlEzWY8TsytxaT9mOKmXs34ePCW1HKKq0EMVlLhEsWNG2uub85WOOEPZaSg1pR7l701Dc16+YgtidPOUhchKFQuFpGw3yjZ1a8lsbTzUNtQ62RL5S2q54w5Uszgg4HCBxYkmG+y30gLs536hLXkM6Ur5VJlcyYPIkT9BRs8XLFSSmAwqV0ZFbel/qq9mTFb8I1hSvzFzY7+yKlFUi/2s0/YTAMjupQEGdNudoPX5BRLJW2ggILZM5bnFm+QPrrd/V9fpySyF/S7CQnOKZGTpTqc6VEqUcuAXgUneNZnXc0oMBBDyIvxky1Ma/6+noJ+6JsTajpEG9xHcW+uygPL1RWsgFRkBL3k/ITdmBn82hGDfiV+QtaGjheW+zNIfklrMB/KUuZ0oTiL9gYccqmXEVhPMeuslJyWNUoMCp/56QkLXkALPm4OE2sxeRxx6AE++w/3oWUitObC7IJs1yv1Q2muCh+7OKBQP51OnCV2P2JjdkWxSfG8y4VJ1BuJkVCxT9c5Gj1wjIIz7ziiTRqFcx6V8H2Tv/VS0fIHZYyWUJvWIw+X/9HyoTs8tiSO8v8hF3NN9UaC8WHDHfOq2CKRmFRYQkMxClZV3lBUXUl7h+A1Q17CBzSgm1UT3Lk7cvK3+Wpt3uneMy/b/uitj/kIHIT/RsJrPgGnwOKNGBZQlLYcnpsxClQWM25Bclj6yN7wWyrnQJT4giXAu0Hs6n/8pDViR28rpyl1anCUila4oeKhsaONwSHHiZFOd2IpSbhIu6uv7onVULVbnb+8fzTnUBQqCwcRRIKDg9uuriUdpaHOKQ0li+CX15tecyQALG6g1ulZD70VsjNAIs5+0CfJy2rV0203Gl/CTtIXNR7djeLg2HrLg4NF1uQRf8hhoKxuy1GRSTWvHY/OGOuxXKSns15ZNe81D5/EKd+7hFCKRTtO6iilB6I0C+3A7eNWV0xfCVKyS7LEz1ABFLWSCxzI1fPSQpSvdy8pKMfuXhlZhgq3RGo/RgH5m67iheFX3HO1Cd9uPV/DCWmWOSvX+Y8O9hImKHlt1I9mO8LaoN1gsf2ITVPgSwcgXe5q07iI/Ai/1Bc8syRX5WK6ht8sNnujP2CIX452PzUqSTBEmRy+a61ZJQA0zSiWoInAQRoNvL+PDs59hm7VR+7NS72j6JJDGyxT9fQfDIGUc1NreI1h0uRWwQRC/+MJSgbD1OlbOQ9z9uY6UZjsxRxkYBeuemHUnfuUNLiBFzDj8i1riI+02yznZMBJZ074691aASpe4nY1WjsAeECt2eQcG3Ju/wf5XIxKi5bRZhMoPB1MWnviIz5SShokzPQwtLQM8mdhAMCdxj1qxjLIIB8dZZIYKHyeAYg9x0BIIHVrx6x5aW+6izFDamRZol2yDZPz+0iFuDm+ffUtYCl6wkfTb8KjEKZ+yFhpfgEj+FYrB6wCYdcxxQ5uE8yuzP5eYs+Fcx54CWsgFA+rPL9vPZkRqZsFZwyL0q3I6+m8dx3JcqgUafriOO54dgT1kv6yAI/NOPNFg3O2rpOAJLJcwP6WFMEigaepJIooZFvDKJVtU1q8TVllusKK/TLDcRMhw8BxYxzidaTaqoKfNSdd/RVNH0zjTMZ2faY7FsMr++A1Mp1cqzho2JG4hziSQdt6yct1s2br1Api77c7w9ssoVCYCTcZJK66kJ4SPpvZ1GPlT+sgB//kgxXdntU9aCzwaVJ1MgZXrFeaTNuMyu8SUuR/HBn8ebiq8g2PqgkqDnG2nJPidcTOhnSz4AbA1oQMUPI9EXrRGc78CRCU0tiDp81kkD8Z4f61p7HSXbY54N6z+WiTfbaH7HiUGPFPS9AzDRC+x0u1daV/broTqBzn7J9naKOqsBXnp758aA2aM82JKk0mecqmZlZr8fTiEaXa8AZ44SoD7xMuGa6ppDix8ae5Id4XWs94jjcvo7BcnuWWDWIS68ktBfQEsaauiAPbnAe472F1nF9Pa4R4XeGSWucVtRgROKQpJF716CYZy+JNIMHjcM2oEKXxIvMYrxNjH3Wp6MbuXXSpc1TlZUzHvTw5ZgyYvf6FvYvA4TJFMoK7PyuRLsep8bVfE9/BC1/HnEYiEsr5gejhOvkUoxakMWFf2Ud/W8KmEt1XX24ItaLVyBDVReSZcSnpRVw9V8EltDezoJrmW0oGAPZJgKRYGXkk94FEDcjV3YGaRVKKg3smkVsceEWQxvzWPqHuts5kUrpVYIa35EFGPSo6zQEL6Bf/Crq+Np9+NYUyLBRkJITBAhVi1ZmzXx977kkbtADollrEYXL6ekCkZSS9ucXEYALwV5vTgO1WDBsKbfdFZLnw8Od8QEcMMshyiPaBu4ftVyGW5Kcdwa/5emkYZHVuBntEIuMIDYoZId/NsvzY5VC1/UL2ctd9HwgZo0cJsi+0kVX+KC/2999MELJIOXjJTJ7xUMHknwlmuKrZ9/+NlPr+vKSDne04CktyIAxJVbmRbRpbCNVarQdCKs47fb1K3FMIJy2Pzr+LObSEOalm3rycey/W1H7YdguxkeHe8UL8hn59ZCDLDwmfEz6EVZcqNlZN0uN5mpOJGA2ASghOFtB1+TOY41kDfcSe+XkrG4ja8uO+Nnw2T44JuvAUrEVqIfvQBUbjoi9ebKkWYVMZrF0t7NBZO3dViCMFbJCEJzr/RVbzv6zdYiHuBrGeGItRR7kt0tJM9hMECtrrcjvZjm0VpNPxJwqAesblJRInBGlu+cdbGw97pIbyzZp42nd8VcI17bzU2sDzZspvk7aZmY2twyf4A46tjP/pUiQCg123gTM0QB61Alfz3hOMgMzz3F0ZtX7V/Q5wzrql+eyLDNhAYHtj7baLvcXHeH3gKTvmI+wKLV+h+ADLZYQXXZqzMtF9kS36lzIJqwdXHMdrq7uakxfxQXoJv9LfBSLwyNanSRY7bZZ9zQMTLkWYNqyEhPlF8JtNz2S6MXu+d8PTBqM3+4mTQQ9AdMu8WYn9C+2LUtbePjPlPhW2s4s2EoaONx1i63k4br1DV779PFJr6uqnyos9ncZPLypZSFXX0b1vTHKEjejNpymIuITMoRr+DlZarL7ji0hWj/lnKQDTegBDDycNLkhWyrZfQdrs0hjndZATcEj2j3Hn0bysRtVQ+W7sYFaIAU+tw4L8ArF2jOfiAbE+SNyicJNB3+NtZRYhV/OQjJGoF9gM1djogSnyoRBnAEFVEqAgEKODFd2tTqUWyafl2eUEKyTTZ5urZsIaFvEGaPV04aGXz6Dz3xksIokIij+Q8Wgj5nIM/6e65Pp/HGltqxMAgneaALssQhlMriI5uW377JE3akqqyl9VNNqeiGR0uUhkHYhrm66i39IuviMr8OyuwC+a9smbHuwLCPVW2wtlx+s859LU3FIkcgKh1StLg0MmWPWu9Qwtwujob5QxzY4z3ujGnvT2u9bGxOTXQcnhluqNtS9dXSs6MIyKFC3ifO5mzpy5QSnP3jAXeo58U+tC1bQbZU7ZIe3hzaht0WPVgsvIuNCQTZPj7niWyotvMdmSUGQUksncwrsJne4+uMtRd2fO9U3TUVDBqoQs3ov59Bim65L63jmdqspXaMM/ZwKif5+OKCWvQCwD91z6pHKnOFvkhYEvZ9hcrEmb4j4CGYhDsz1Uko9AyCHLzkPGkd9O+RmHJh+hCOzVlwttotukCAk6rNVbxj3fH2pCrayhLz6UFHDvcKhjSuOun/bVLKyWxA1zQK0UFaH4wh2/QX88skchLZO7iHzQmDo0wT8jnO39QdohptNiPQNEid1ZljORO+OWRJjfJAAUkC0xB0hm/n3C6CnhSG+zcJXHzGxBwsWHHjuZzPD6MkP3mvDaiVfWOsslFdAsBjefzjPKkRreKHP6Zhjk4+SZk/BLFJAm5QZA3tyqbFBScFrhvWJ3VXrHxU9qoCPW+9xtS9OJT/+wJaYVRJGvaclWdR/syyU0ff9N7p9d+i+K8er9LcjETWIWdRq89y3pNtB3EL6Y86nV5ifNdpNLoyAGXBiPOYcQtOtOZAvO4pXOmShvleX8ohW8oHBYHLgsyWmu/EEa4GxTw7eNcms4OFlgzxB5QLuCI7UfEaQrslAGbLByRodWb+5LqhJGaTJpDCKK21nsY4U1nyIQAtZ7nn34b3Ze7As3RtQndlQ1C8W1FdgHDs6wTuDqx01aw/mh9hkRDNSl1nCLbwIg4TghK4Z6e4Ghl567NQljwaosbCIl14al8qhHnqyChW3wuWf72AC/j4CuyL2kqmDtlow+dm2Uej4kuCUVBQDnnsSQjGcr0UNPFUSyMeenmSECuO0AdvM15bjjGDvEh2CLjCqSngBZ56udZJ6lfdgsas/gQGCVI8mKYI6jEK+so7iXTjnudxQuKpDtoR67bjeYbTa6n8J8/ae4spZmMKreKIMm5FQgfUjbgUUMO5ohIRGTA21F7+L+tvbilT53zd0DpLc/JvwaEXYp9uQhRB9j56GiPQ2J1ZI8KGVCIUjHTki6/Q3vtbkBJfqpB0eHroPGawCnyOR3wq5E2gUKEBoVTLIf2XYsyktRFx1wDiVAesHoHv8jb/cEsfV/mD7+NNul3XR6jzKjdoNEPO1ImGMylI3rP6Vyu4nRiz5xO07LYbamj0wKeCi4BP3HNVb1vCbtfNfB/OVezIAP7BhYWyl94+cTOd2Fv4msE0RdzaJDAUtgmgrSBIgYLYwpEIwSXyn2GXtUoCbOkZfVw7IryMdh7caRbYmwzdvfrpqkFcd0uA/dmP7V7IhfhGEFRRIJtHYM0lgxzKI8wilDUaNVV/3V99znocrkbltcofirc5gnGdZb6pc8TI0cWUfh4VDkg/MCYVfrtpOrNqx2BiGSU/asMSnXsYzHsTMH6SBpOgR/XA/wQ1vUu50b0fX3ybkqyYQOpVNDgK4LUq/bxBxI7OFFQmzhwD+AuFLIzux9wmfKmHkfaoBA/UYFlTKB6tEbNlbwJErbeUTCpSmUMTdHEsF8ddW02qc6SgT+M1doelxuD6LFfPeD7dEEqhomSw4rHUwykf2yFRKhGkHS3koowIFihhMzdkhRDt+5r2VHyWcwQbUN6+ocba+Bmpl89lnEUQxr0tSh8kpUekYwfvM5ADTmPvWDUrjXUgcK0dYupeHDoiys3/r+dAmZIi5QUazBMFi+S0NTeMqj5V8CmMvnFKhs6C11UiYfXLq75GQ4oRTHQfalenWO+9ulbq0CWu3H4+GSEoeNZB423PUR0w5ngQmRSGb+03BqVhGPyrxbNCwAydMP/chlbEpSnq83x5ex0Efm/i5BW56f5hhVrFlkw+lb7fKzu0inpugXco5koG8s9nz72XkFLBOrunEOrVbTlbDo7zKoYRdkBQV3IFewGYVnacs5Tx0/evtvHeK+47V1rcoK5kCsLDIk8ssSLbUnVQtOoSnQK90vIj5VTMeCMEZhWa9FPEH17YrZKcxKRYeq0Bq/gRIatjHkpRq9i7rlnnHQ7TU9GRa+s1VpHICKiOgPgGzU3ZmUeT8WnJ3jUsGKbD8Y21jCeHPLYmGKMWFG44D+t9C/39fzjEfhIaeOiEfGWko3lRz3Ju8MCi1n9sJoZkcWrTxhg8ZfrthZ9Tau+B6TAmvaaGhN2DooJo4tcsj9t/fy/4dtU+cjTsSotNxr8KYvV3mNpiFdA9b61M8UYDhrcLq6disXNidfu8BK+CiktB7TUuHRYbipRGupXiqE9YIyXZ7uFQdHp9W5S32165KIuZ1tzNWcytGjljZDiFHKCaJWxEBlKmk1/pG32+ZZ5RMShCvhZSUvjn/yGqbDxt6+H/D4RLz9AN3YZ8osgvm9pOvOWoRKW8RX/c13OQzh4LBh2CCJDttCoNFWvCwYTog6EjWP61j7WkcjBN+mRH0YIET58fVfm1E4XnGtyISkEY+smqjMZ396va/lDRooWa9LQ97GHhEE88YqVegdFyF1FKDdbtkURM68QMHujR3NgBgbYBs11Y0gVBKrzbrcHdSnD+F8+nCBqv7/6k3PpMUB+qPBJZ8HcQGT4ZHt0UnA1gYOYwEMXuilv6ci0cY4WeQ2E6ydrXyuqC1QHI+I5mHocsXJkgO5cWg1kcr+tf5rlcG+yPA18SwIt87gHjwprT5uLcjTO24KrlirXrS3P9khu+5h0XLO31VEzj2qlcpzTiqzoPDROY2bdaYLcJTp/8q2YxnnWhDjikwKdJ4SpQ6XRQvThdvaSr8FEApUZcrM2TFCegKvjNeGGgHhi4MnKRRoXlt8GE0MlwlD3ZSzDDot7v7FPJvvSEkPqkG6s15bjNw3e3TqemZV7QJyTuVghw6Vy0GBHS07pzKxW3ZHxV0vMsl9B/SYwvW9qdYuZq45Ru2BMyeNYvT2SMq2+Ca3fEVV4HAibmSfuDqe3GBVjc2vzDclFyXwxYUayWnomY8ZP8rHAQa2HP42+YApCSCoNIH1h9zGaRnn3LI6MEdsUcKjARORvLN2m/eDRXXFaMczkBHrZOgXpsFoiysvlOWietr4j/Z/+U6MaGzr0UUSGKRWqLs2hXywBt+sMa7W6bAIOfanqEGbkeracfIfdqU9sHz+SbrJ+CCEMbFOR6HOul91+CXio2LcslfsRkYtKvRoDvWIbUFKXGOAENx7gQLTD8dmZPHx366fvzj5teyEIlp2Ks3JvWipASp5NdC7xjUFaYXi3SjPYN/tHCNq5C2Gwi+mToif1f9QI1DU7n12OtP8NBy3P52Na6ErPbpfJqw9o+SMkKXvjmKTAPEZXfpIoJ6E/BkTJ9UN9f0O/pO7Ht9m04zgMSLy+WkupxfqwulEXcD59j7xKwzZf/OWb/Ax23O4aF1LO9XD84jE73VB5tDLC7yq+wxmAaZ2HAhvJcZ+gDT42oXVxiVUZrYcmetEa0WuXxIukkwOq7kA9Ilv7KvFMg5XeVm6gZFdR2JQOWMITwt6q2tbNJkiD+Seh8WgfCQFDzqDRrU3aicawt4Dw08mDquEx+g98iYLsPQGCQoRIUBZzLzM46FDiEV+vbQuzDQIV4DgGT9r4GzV2ikt8OhN6pJgGgPzE5dK5+MsSAHBKZVw1V19A9iQt45d3oMmpMwE9dIEwuXz/UkFaB2kn6HlmkDOtU+GMCkG5CJktyzDLwkC2FyZ0i3yRd5z1WVx+QRRQ1EP6sbJp21fwJ9NKdBkFFgp67VsMVHxzfmi76CIcRLxUCZL/K2nVLmepdrJ1DTMW6jwLhjUswOWwYrgGcBlhcV9hZuxpJa358LrihN3Raj63AxzYPCsYwskVgoqcWVXLIx71C6PKwcbWN05ExbIn/b5RXoW67V43cmInroSjbIYpLyhjhe+gpVQrOkV1vX8sOsh4rORjHL/n+fOgo6rODnuao2r3ZfKPHlyaMfOVeHbK0c2ZFR6tYGRuOmYeusJMscj2SckTa4u/WP1aMoIIEF2LV82tmJm2qFefTF+3TXxyxLbF1oYC6cwT2SEe2fJyAIj2idEszlFNFQpeQ3xwlUlkkTpCxNZ2C2wgVnjGDqnqmj7xTIG9v3wZChj2WsOpD7NtkgRJ/wfJ2j9V/l5rWuqeXN5QLTdxqFl6TLydwc0BNcmehcfsyy6EqTZkHHvOyj8xtFwsFlzawCootDgw7IVOtpZFrbH/v1dUcGsfwFP2q39cEsza8zn303LeU6/j4FhrV2yVCu/8udPCi4ExnoIsxC4PjWjjAVyz1CO6F8v7Sm6stkPI1QJMmPuLCEv6ERoMhsTTWVh1yIGSdSdGeUCEeYvu9/0+2CkHEo/JDlB6Q4/8GzilCXPdXtYSSY3dQeTOf/twXN3gkdKZMhKIvHuosv2vaecnXaldn6EJTI77H/uHHlnGCpu7orVKxx/tmQnbNmUlz52XixY5wvvOeBEiVR7wOl9WpICnYdeidD7TffujqusykgVfgwSNpUJuVsE/3PWrznMKrFiw1qCvhbZv9ku6P/G3OLFFC1x6vFJkkXISkQzfv1w6dpq+/9UW4en4cMm5+F3CjVzJVDUFcHiVRGSsztkJJOfe/QTrnCiLF4UycefHXZds4EUvbD3azO5ypxdoaR6uLtb/q7et48fyh3Y7E06/nLSnHRms3NoYVgmWQMLQ+VC5UORLogIY1KOZ2GHUC8y2En0NzObrccFgdBmoLTw+w0LB87GePxfHt4RjauVTDUYXYRB2CvKvosceqiV6DwsyuLYvpcvn/i2pqlDMrbFWnjCoyxHFKLPBRqopDjL58i9bgXLHk7ZmSeCMv0g6V8zMAVYljw0xn5R5MVQDLYYcR9lxYN8l2d82a3E7pQVubZIGLROuqwz8FRLYZBqg6pMRjHMuGm3vwgDieRjs+tpqqZcyu1BSLHd4JyY3clSLq13QyITyRXU5fjXIA3hSyUdN+BanqReAg4p1kE0McApOKzgdZd8/ue8G3vgEIDHGuJhbKgBhpajDOmLcCVb31L+cwp1Z76YWYb1J7kCj9T+yLYYJCafrlw592zuCJZwYR0kBUFskjRN93wfwJZfQTLA8dQMl4nMwxcc7KmalndwSv8OipvzUWorYviGAmIC1YGl8WMePBkt2QLJAMWR4SF2XRDvBCZeEkmUGFkGAsqy1FVSw2zZDtshQL+1n+4BzZR8v2F49nAAVYDUyoOgIDRr3hmThrwjLHU5b3xiDSQKjrpVViSmrOXzO6KeXjf4yasdppbDJPeDeNBR4UjOXdTr61dut5lBGsabJgJ1G6r++qb4zAYqAcyofXQeya/FOHEY5U6hMwEOpr4JPKTkELFwiBmKCe1jI3Fxr8jKBXaP9t0xLMIhPQCDKObB6LutcUrWprMyigMlyvQUMDzE8cGVYW2M6/+pHVcU+0yUJ3nrsKA9jbKzDsS+ONkr7GfdKSViyS1AnNnIwXRbgHyQkavAVCOzhS3ANT08jnCYumDZobNKpm+k0xyq8JRIA6KU+ll+AnKZuKiplr2rzZe0ujibf+awZDpSemKyTyn+00S/Mlw7wJeqsAmctYTJwdiT18GHdUBVzvkYrIzhd9af3tbsZTAnqPJfZmJnyUdaiqdYcHXD+jfZheZCwtvZlKgb3nhmnypSDsSybSdbO/CniEqu+E7UIpgNwJ1FO2afahcOS2hQvOz3/hTZirP9trSpJgy2JI4oTCnj25+boJLq6N0jFouDjhDjb8RSrrOoNk4xOgnJuiOG3aNmuMLxHH6ZG/QfzJiJjaPvnBYq7LfBGM/Mz4/fletrXdOmvQHsktSPzm/Ag/1vXRAMkfYLqFWc0KhrjQu8E6P+EBaBUBpkHdOKCSmXEH7sMAgfkEPMoI/skfbWZhS3UPlpmqL1oi2Z++wmFrUHMmbqqBZNC1sB3gI/htZClOi31J9g0GDlFqqiZdAQBQP4PtbHgL8gcDaU+qGgx/Yvfy7FcjBu0+vVgnhQnzuKd82OYfBvTKWGaC4W9zHtstIWvMlGDKpyCGMJsjEMkGDngbOcifc5BxiGAaD7ZduJLMmPaxF0i28UHZYe9yKEMt/K2bUzSlQA0TpBEJBjgDQq49xoaSP4LG/EIU4ochWUcyFwWmezSwESq9DOW+/WgI6jnpFuWroUhh6OTQ2ESld4TpKS9k9PcxQXbO2oB67mvz8j4BOcOdVHRaIT9mlkJO6mZ/l1XmnqRc9eAeiTlzJHQsMiNLSL6VqIJNP7opL0rHJ8uqwamkR9ffB/1vM5mSwUdo+EvOGbL/LVDzfJDbC2+3trir8eJoum+48vTSInwmzgPoShpU+hcpj/1xc4SX8cenA965u5cspCB5pYtP4wHUxvBZZBLIonAAi7czP7d6kNAxnK3vxDbvq/fffkIzLsZ0MwAFK/QGA95iSCxyt5FTLG5ul6+wIQkapuIszOay58huGHPsDDJ474d+ecePZWIAj4Ri4OIH2AnTv40LDQY/Wt23ePtxQWN1tBx+6m9GipxtVR1hqyGxmD9Kpz2He4HNjQ6dXB/HDj8iA+6VjMzw67v1MR1DXpUz86Fv35fLEu2PHnWUtxtW8iZZWYTmNAqHVRgHGg5pFD7BCc91nqV9C8rJoYHLHUsqlI3PXzIxaSuch8bXBJHA7n3OuT4iJaQruQm55x27JbaC8exjR5Q2w1cvXlOqJQocrCY7YcvZRK1+Yo3LauzIGRBIfKvDu6lS4pQ1rYzpsmlcyzg3nHcBwtuzKV7rc3tdC2zefEoYIqnR8HqVAcOtTtm1ZW8Ye6hySNPO+rBn6Pj3bsAQCEXG68Rnuk6vIOl43P1EY1zVYX5cIm66K8tqtaZLvImGSoU9SNRpRNsdIdDeoyAP0VhEB9opJQ6nOJPNyR5Wd6WHjir438XVb4MB9uUexr2Q47TXsEaN7vk2xlz8+VYUbQCtu+8gQPf6RGVltuDtVo8sNFZS3leSaHbyqehfnaEpINn05zzYQlLZEzFKnx8SbOC6lJo/sl1clNt0fAMXR81vNvBLRHBM9qRS8eDO55slLfB0wkhkyi7pbn0o2HVzx2Q5m0SDDTegh3ngP9mOs9hs2JhGKzYPGLo1dA59EKExFm0nGnAJnj/ZP5fXz14Yhd7xuSp4lYk4Zz8u5z5WU5E2/HkfbIt2sfVeIDM4c70m4MytkFbX3kg7UDKbBMMXGt5yaYc26Tn5LoY4GgqDJTP3cPf1dULlaHqwYyD51b+UJ4sGettjSTgk3NyPMhFzEjj4/dLNE1q4q/fwycobEJoajZ6SkQ+6ZngGSW4ZDuwGkwqsjtK5rM4QhBpjjEDYGUTNk1l3Zx3EKUxvPM0ChOazMmHFqtyJCBIaLTA6QkYMRobQp/1BXV1BzpOPwxRpDs+9FlS7SwcqfO6PBxXx8JDwDYWcAw2403yxc2hYucP1ISwy4Djlb92wZbaxKIndXbqfMuPuLEpAL4Ap+QNRCVXbW6s8f9FkQz0zPUvWFe19EG7Fls63mdcKl5THKfmSY7bMVDVoOlAYxZM4seQ4olwQgYmHUyLTanuMQ4GVzZEkU2oxYseV9rKSdgZ3Qy0gJyGskEWbvoivzyITHwUcyGqfsjhi9ui5PM4xVB6liD9WrsPpHoQmq6UM5JpReWtWc3tC3Pauqs4isNT/rnkJcoV0XnpU8yMg2vro3UFJYQx2y0hIdnB99g41FxvF+vrQOy4XcNfMCRrybgu1kxbl+FqHQc59jtee+BRi92bUuX4Df0AgxTNrap82TC86xhafd+ULVn5bXr1AS2BOrsSlRcxQ26WOzNJ243t0d960JEN4KuhMc3g5Lr9jq+iuQEhaoJrh3h899BWaXdnAV1PwmaehDAf7ufEGJZyJWR3l7gzFlmFUcjeu1+1Hm7GdQPhTZl1bC07jk910sNpoTeRnUkeqS9IrclDCOHTa2S31MNeEKD6q3Ns/AVvZTHlZjRUCiBfNOiJezgB1qUvqAbJbg+VnAyzIjRrtZO72+ap1oTJICjgVVi3wZNJvesB3quvRlAVNTwIi8rXdBHvou4iMqGgc++8rE58niC3uzQ4UbAuMgHPPeHo2n1zlydFwZp4YR9hIoyBzbrBW9XP0OxYHfQ2ZrjAwKBWnjOgqPa53ul9c25hCdquvecalOCAURxJS6VGsMXrY4AerlSsR36EQH4xoRcUaYA31D6Guz/xNQZNNN0v6W5sZ+nvmyvih/p1wZJd+Md8I2rGyhFuq2DwObHKcHNU6eomaQ1WjAkTu48cINXH4+ra1mvD/zOiYsd7Qv4wl++pe5pseP9JT7NvsFx49TbdlZgBg5pgQJiOqsx1H3HBtH1mA7/KpM6eUMZviAG6I2XdH/02yLyi7xnylYrHNq1qv6IWEFP8j5qKFGwPmb0k4PGqFVWhaJbV7s6yotnpBK3xiW9jMNIH1+EPLndxcnL/7PBPWpV6ON6ZoVOI4ZuTFtsUQ19nkss+xhJXNxGioium5xdGODMXZ8XVd7iuPlpM38FjYtrni/GfJjURfSOIbOqDk3D9hL/ednbYM8UE//AgmFVYurBn0cVpttiF2ZJX8bsP1S++0Vf3lJ7Y0jrSbk2XuXJX1keWstF7gEIDMLXuD7s963efvxctDjdsWZ7Bx1tKhorgVdJyLLZ+1qeTIIREibapwWpp3b/uSx2dX2Q0apmOAsz/lK72DhJ9S5gS3HpVFHqfn2cNWE6DuS74/ktOw5CiBhTQjHq/PVr7VNhKbJAteAHGAgidmXwks3f6YRZ6FJP3ty9ZLUkCbL7tCVBCkThDi82eWtd9ob7TsqXB4nS4ZYwOFKKyKkPnguQWCTM+bOxYSF7ShZHaq6YXF8xRptpipQ1R9BRswVz8dUVLMEeUJUBlR1X4MIvk8v47SZ6/wy+EzV2Wtg2SsI3XjQ7jlmtsuC5Kbh1uNjj3Doh8KX28umWYIFLTVb2MDk2BH0DTBxSoYHKnJXipm1MNPqPI/U8FqAiHLhyVbsCYWmeBrTrecoCrQPnEabYCHFOSQ2wz53PzNTcZ6HMp/Mo8ZkTdqmSRQsnIRqVbGpjsAoc6jTpYfODEaitsyxi2wP62XXZEa50RwHhl7ceEJbuGiyxSTtXMNVHRVe3gEnBjmRmF4hZY7EDw9KZKMDLO3m8Pxlx2O/hNwF5gMyaprhIyme1qxDpqI+QJncdM0RoWyCeeQa+K4dayW7p1vmclaeiOI1FyUieoHpKq42ixpctJiiwPM6CgLfwz51XYkRjccEXSEzLL3UtMJXBZ40mwZbLebOZodJ6DCrIx8cq3tOkZSFmj/PAJmXcpCsSb5S1FcOopasfvMmioY4l/j8Z3P12ktipf962sJOuwkcLHlqrUciEDGbFsgUtO25inYAHa47kvaB9drmayDSHRD6d+SC3y4wkas3PcgIs5CCbwK9X2OBitKSPWEv99qmSWQOundo+mrplYrpOy/6M3tHlqn9KrAQUBE+yBLOdpS0JOFHyCOH9WrcXlyb/6VlcsUTgQ56k2cAKOHQM/r/+8+cvqqBEPnfRiNO7texYQKz+OCRToooWLT1piwiOWphM992RK0hh3q9wxlNXjOSaMrqDEX8106EUQpt0XzXg2YAeHYkawhpnn+UE0JuDk2Mc61f2KlBWGaKxIJUHzVAuQNjcdf9ECE/BAZH+oP95UjkuiHK2DlCMTBqoOHy+pIz/800Dj53AOKLL4cUg7HIVY44M0XAm6+0dAEMm/cNBaezX1UHJMF/s3/8h4LS5/NoszOLdwDUhgQcMCfwQA0Oe/Qlo70iJOp9USaIo/SniDZLegY8WMuNq6t1t9w9hakVC/Thygc9Iq6F65u97ssNQ6O1+vYtea9NuMYNv7kSRJyb1FPgnRWBt1LbwvocXhRsY0H1DI6HWPFL8yp4EUFbAs0B+B6vJvP2zhWZDvrs/cNZbXEQrWZ4NHU0GLON6Hee7Cb6InIgiHAi4VNjMtdlYKY9PAyiu5WJ+5FTq/eGRtG2GABNp75nFeyrt7mF045k4SUDoyAPU3FU8rgPw8w6jeVFwiYD1faC57v6Q/MSlKNJ8zTIzck8DY4suKAd7YA3PhDAyKtcptUTYB9WJby1Gu/kRLz7Zui7pw7kt45Xe9q8GiCEOrL2b+Gq6ZooGPrUiOKoZZINlqGPUChkm5aoLXpTBoCg2CU9IP9eQ0j7D/gUGGlrwHBWk0aaGKiA8vnTwHD1D1AQYaMygt0se4HjdDltUuCELhwk4GGpTyLsXSLBwfmqqOua2ai3/fQ01swgyjSB80h3PRsua/5TokAfkBmhDyBQWlU2N//yYCxuF3NGeR4o1FDQFMxKv5lDUOtMq4bsd5AmgRLsnAqjYDadcSQf6K8Yr85ExkwGChmH12yiOlFP7qx6aAzXJdQrDgZGD6ZSfvpm22OvHorMkXDpqJO/2bnG2DDKpseC+DlN5S5UhlAra9G37kdLJ8VnaTRSOqIITR8JN/enFNbRc7eetx/mqAMavutLkE4tbGxDtLI23L2pla2uswBgwSmgJBbNf8iyC/VgiXih0cnu4aXccX9dGSA0GdziA6YHk4/gkyRQfmoIC9z2ZmpTXlIhfsLJN/4jFhD5QuCnD7YTr33AF8lYrBhz+0WA/zOXQ/3qA9iJ/UzJbxtaOjBWssUG2J/70bgRL1r3lTJggF7RuvIYJMw5LYElLkCdyf7iQ7GLxF85T0ncu1MTbY8f27u8SkLU7oYHV5QZL+/q6aiLEnakNLIN4j4TRQUZXfG9+3HKQwdBdXE59Mu86+iLPWjDGxK++SSEGop/IVPh1gtAi7dPe3FMwCyML8wQVNENenKmrJoDf6c/udyXOcK/Hcy+VxgR+DfkDVtYQLc427nyk3HxVQMcyw2E9MAlMx27BuDMWjtmCIo3iU24VByy/rVnGwRodLQ6vbEShT9u868pJuFV10vlXTIby7vwX+NbT2vz97uMIj0dt+86tUpmY46j5NBr+j5Kgae8ecuvfxX6L6fZ1HIq1Br0q4ODQVgg2XMdki2RaABhv6nf5oE89Os5hi5BVCBmq62tEkzKtjzfdVFqzwJzNXP7zeirK6EkHYf/YDfEch/1JKcuXJmcGVY/9gmNqMvxudo3JXogepzoiRLvVle+3Hj7OaLEQ2/u4BugT8ytcZm0UBaP4Z4kPM+QlAO5mYYQBOvo9BIL+hSBmrmnfpb/YWeK1CnO8TAoZYJmaMn+GqQCsSXgeCMrs5/WnCkEBRhAG3QixkogzPkwaW9p8UFx+u64dO/i3/P4pHcAY1zKgNuhilzShDN4uH4w4VYZOkz1QSzf3JOvTUTdQa91PBO5Ec6yNeywpxvqdehvN58VdhNBQAWyWTKJ8JmADYtITkqKpsIe4L1lzvB4m+CD1YpIHVXiqgEajmQg2xNlACsBtFTvGqv/+YyCtRoCwrJ8ZFWkCkayUF7kQke1N+fs5xtDbhwOcUPBT/WQPDWQ/SRHaavPcqfgfBaLwcywe6cEV05QYXB9ntmLQ6mU+E74V9XOcVK3NpcQZvsV9w05fnpBj9ZI1iIEZ1igVaDhy3VM3QFTtjPt0XUYR/bT1SBGnzCKNngPlrrZVP/Fs3QZn8ZNk2cGUZ0loEMKBRzscA5/EWod3xPyRuDJjzgQsW6IGNoncLSNMxR0AUya2c7beAh6XdVhJI01G8pqj/xcZ7Dwo5+qBAhJB+kHIXQjOr9H/ilz9w9a0jYHpNyI6IazKvncAGckbHqJPHwiDpKtLcFbKmtDWVwGXq2TjNQqCc+xB/8V0dcEA0n0rAzNrz/VBbV/W6ax/HXJYaF5L3xarhk1LWo+IkZUY8AQCmtvYfmWlZfKTul/YGhDo4Aa+ngL06aHw2Frt+wuNNLQFrp7gNAHEaIqpJGJFzWaddHT+IUaXGZDEHJqWqw0fCjw/hqH59aOUeU79jvXDX32e7CuLekdh5WiWmf8s068oD+9M9x+nKGes5O4QjkZs5vCzx7RGQxNSVofEXxmPyGgC10zW88xOnzmY94Dv57IAgxDcFCJs9VzJiUGFfF+CkFQPIxRy9A17/28HsZMWLWZ6tUBFeHpbaYYUjHA/Z+/KXj/sLBrh6/RdwI2OPfrcEn4YYg9MeK9qrP8BDhI/+MamdnuYgtZI6JLbZ85NIunWV7Xsm/VdmgmD5xgq3f+xXQBxIryE0LHQKyPLmsXGROyNvwDGybKuIGfZ0+KcE0US96Wbq38X/qZ+nhbwX6zHUVrWXUaSPZKMb0wcNXHSPAZG/lUpP3/9H1dNVdGjVw0le2iJRhqeJzHUpa8LuWw4kdCSJZv5QCd/Lrzf+zWy3QDhZEcXH+wo1iJhQaLcZv1IwEEKH0Ii88QIuYdi5b6ihS5uD5gSuY3p/ixY1fm2RyUmfyqFQ7sZPg9AILOi49A6TwE4An8Q2ucPiw03v2XyS039pR5iCGDAjbuqWRUDa3oBYDI5iRL/2nzTnBdxMNFM6bRdaPi7m9R2amH4KtpET2orOpzynWJXKh6gMebglxaTl+lJXiS5k7wRwI5oZpwunYley3SfBfJ577ffkTiaknNsO/ivPAsCuzTXtUU+L0jiyQU1ARqJ583AOiExs2IIpPG4efWBwNLd2FymvUuXsk4kIMKCwxiC3wz9lTvpaF6KZnKnSERKd/XdItQNKn6gEjAL5mIxmKi/SbLOdop3QBAQZ8MIeCXsQEGRyxk++CqH7Oxmj2kONYni93NrgELlg4A5qKPCFV/vAsPGSdMU8SSkEDsINAIFqThO0JP21xi8z/bfa0IcCTi9ADJMhlC0bNVtjVGad68kZl2YWyWASlb6Cw9OWOPHd5ERlnQ2KvWaBxOK52Ahbj4skYOml6ts2qgKSRo5/twiy5IPFCbz3jsp7aMsNkAyIk/ENKjvkHz+3aV5rqtV9fZw07Rq3YpQKa6VRWwhm3YyKI6YBVT63DKFxxF6kSovo7hClCFhFh+E7Zo8CQ6z930jj7Vbb3pDCIRrKiNhkkvH/k0SVQAIkLde7eTywMeXaxXmBo1PpPlmO4IrJOGf0g2K0B80OGavwV+Kr9+2nk3iu8STz5DJKJQh4/oEEk/jp/iivIjF8Ja5BHu5UwX/QmEU9Evb0CBwkN5+icZA0xxaJMmfydaTv//m6l7MBqtXuhUyPDCkGccxPWsK9yfEydF+00dwTVVn7uvoYruRyR6SH6upMnbLHZYldITFztCpqPfkjZo61AlCS2UrfCthnd3vqQnrS9uzBcw6VrcjjSdIP6NB+EqpO6wmZR8m7gL7lQ72w4WM+BR4qBDoLYZOjw5o4/MV1Mx0G0oKk1RV1PFr/MZ6GUiMHw84ISIC5+q/67pd+d+cc6GpnLd3ZwpARTq6uGogO9htAdPHDgG1c1MUEOoPvE7zPgVHm3WRElzycYcJkdap+AACsHP+emmonAWdkC7NyEIMMuE4TDyZDOyM4vB/T9JDnUoIgCjyf+5KMSaH9Haztuo4NLFDFsv2jXYpxbHfq9Kht77WXfEQO3ZJ5AEe1VsPBC/IuJplsw9VJCPYeyew5/BGOTel8PHOVO/otNewsRVD5ipNu6tTJte3y9vU9NCC4Gw00QCClWItPj5/zNhxmIzZm5TNlueY2ZrVnT79t7ON44vYRCGwhWJ5isTmOhtPB3ZPm7gRX93n8hQ9L2mHcgBYuQPkFGOvz4BFlBCNyMF0bfPDg2xtUpIzN/rjcI7n7aVIUuOQIsFC+SREGQZXXhFvcm0WiGlywDIbjlzS4NgC3fdtdDnYPz4P0gbpOee+2JHWQPh6uIkAdesXyQgOswjWNZPPE5QRYVwu5OCONTOlaW+5eoIoZw4eRh2GFsD201Q+ePy0LvvpuhTPfjsSLlDJ3Vps8kNNv/umfwxce15bGfrFbkPAfRoWVDCKOnRppeZsp+VGMXaKByR+yc/hQrkL8EfB4LTFPdo9sieMRsPw8ZOKP6j2FDfZbC8Ob0V1VTiTrcuCx5aXPtGhPjj+0Nv0q850V7HtfQgaq2jaFzD2mM8URr4hjWDcLBtcPJpxXOk7DU23S7poEJBeZCeiyDJjVvp4dJXwEUuvsyRNcnsObcYM3wrUq2i0kbfLKEJpJANYFxF42GMRj5Qe4hoR3t8XAToplEdcnU2GhaYGAoLGwWBQV8P+K53NRI53xJiFGssuHe48DWFJ5mDTGs0hi7aQw3hHpl1NO/wHxf9+y3iITBlrHeOgOJnVDyuwY5lnS94ay5vJ3fSli353tQa6yAE5nHRra71UY3F5yQyibZzx5nLk9LfMBbc8YzskzGbWKBfV/6QWyXypbAvMobEA8Bbuk8QqbgK0aTSF2h85zKRkEbC0+6sDzQuxuwu6T+GbF1dnFd1QI7yJOxpLwWz1XcneWjcvBwOnixvGw7NiHWLT7TUQWufO/WSyyvkC9Js4CNxxdcDwjkx5nV2MqfE2tG8OR1sJODAUy91cN+v4dwfNYJYCjYH0EVtw1wp5Gvp4fOgwBf5ld/hdI/92gbmIE2oG1RShYX+cH4uln8Jol6RngKv0XMQARYIndZ6owPeBK5R8yw6Sogn3193wov9O2685kR92EKUyyPQyUipfxMghgxCBfiOSFolKQl2yw4ZiVN1YLG63/iW1Cjxd9XnvsOakWXGpKNX6a2LwVfoxDBoZWAVTEtGm4lJ+nsuIplrRxt3+cFvhKlO/h9qwopqrSy6z1hGpc7i4fL3Y73vHCqB1pJBmj8SpRgj/UAa6fArYXa2TDNgvBTsf95CstdBZvZNqgYTMw16muvJ221l/dVFE6b2X/lpekDKmdtVv9H+1ex2dvlOwMDlkyQZWWKjZDDcBkFEJ1i0xJMiBUYJWFqO3kig2pSgmD1yr7oLsa/Xp9+IxWNGCaERsQ8TI/W1BPlEmgGLSjwMMo0o0mO1lc/fgNaZyJ348lrZ+CwN03glL02i9qFDzkbFjgdpypMYqHwlhMHqYesSd6LvZZt7AFTqPHJ2+xIunqRZH0awNUDI/aBWdiEqY9KocTT2Lyx0h77pKlxzPgQiEZ1K3tuSuU19cZEzVFY+CnBH9LCwU3dkngWn6eDcLvl+nj48j0/R/VFGtbt3EPRnrWi1ns6OCAsq4DD/nch0+svBVXLaQ+BlGXRSd3tUxbHnmb6gYNJZ3RXDYCaokolNGocIb849lCpHN0igSYF6ahS6vqGj0gbOidwuyo2oOfROJcVt04zd86LXdgHrWSvlt4DD1zXWb/wFHF+ZiyPDQOMvAdwa6I5KFWuq0nRi8ejNryB9HgER0Yr7SudyKAH9ljN2ztn8SCi+0zHjQbAXvxDDnKccEo8SYr+pGvRwerhZnxnT6hpa8+9mQ3t/bYK/tsRqJJ8Ktb0VZ91hC9B0qxxqMCLnzsJG5tj6Iv+3mM+jjiY5NNsQANYv1N6UsqfbU4Bq3iP+dEPnZWUF1saoZ8HKRFCh4PQaeE9pV7JbBXFo3fYQ5qwiYQMM+b0x5tDo++wrbIaVaekKupFgf/dBJwQran8mFBhoOFOOKL6j0pwAvmTEvxPPdCws5lfwzIXXG84ZU483UJoi9p4YV32GQ8RzcVhSH59z+0uAJnI8vd2zLLJwYNHVDb7HGOSz8ItMbilsAyPe/aq6e+Dp5s2Cla4f4jhfLEkYjfQNl0yMkxF80N8CuLBJm+a6PGKKnzAudvYmkDh1eaRwR15YkQTrBTC754o4XdIjbpkabc2HbMAZSITWoy8G+fREBVzV+ZMSYlAbhDOs6sf7rIBeMMsRE/nlGH71zExkew8I6bpWUhU+aWhSrT55xemIwdHOYbQRhf2iEfigX58yJpslXIFEGE/CI/9tIEnR3zK8gc+k5dvmNahGT0QP0M/13UQGsBWiLgtxvGLwWV9Wfb4Tyn3TP44dZV/XSeXESJDcdwZoAia+fbbKB5Ph/4r3Jm078t5c4cUt5vlSy+NK8HK4y81ClqF8904GqDnPonov4Du3UGMARN2W0QH2MxI8XHfBXWgn+EsJNXmVYc7lU8aQLxxyHHuL7c9XksV2k3ZhNMmRcGC8onMChqd1UCw6JsgICyWxKf5aCHYaDqDvp8P3xDqCuNHtQ+4s+dmEmH0nr82PkzfNlT38rMJ5eVjfg3xgpnArMvyJPYkkwqLuiSw3OwnkPsy8Z9LhpY/fCqQGPhFalWcToR518VIl2GiQBEpXrwfoeFGfOfGUFhvrbLDHMs3vx2iI23l8unec+miNzj1wQCMeelHYYzigeXgA/or5xZlicEYxXl0lgTgj3pd8t19CytyjYW/WlAkv4UWQQdhUMRfPT+1wMaZYbNUhTJQr4mKhCYHvCLWeh0A9MqA2ERqfllvCnk1ubnJKtUTP0yPtglIEKDh6oSkX2z7K1BOJwwnNLMyx47SBLZqVYTHL71X/ndaEg52vOSOcx20ZOX8pkWXKyLHMsomWEK9WopT0waB2FMFu36TKYq7zU2XTZY+Dr+nnlDbYqa81kzB6QWwH2co0MvO6wE77/ipHV3H8wE9gLUYl60F5B0yqnqiN9KMkgNwhfqbaBIPJfsm4sHKil3h+s5uF1X/3hVIOn9kHyE25M4ji5CkIj0TykdjTKCZrJPDBE54QBnvz7F0LNNq6pRYKQ9sT3CdUbTmrouXOzT/FhscdJL/+DqVyydijFoSvfIgqt0Aci3vtpL2oPwSnT+Nc4lTxfxB5fmvq7q2k/TnwU8yfEQEYGpnpsBJV1VN1qskznTNc1rzGcl1FKSXb4GZI9t9oG/lTMGtsggW6p0MKXYT47lSHNWSKfN1L9svxSi6BYWcSLXVdhhqarzw/ZzY8LhVGs6MbhQJgYNT3qma5bgU3yX9xYXsspg/Anwtn4VA2f8XhicdWiIOqShFpLmgdMid4CRsIMiQCXYnM4BlxxkflqhJZtUQQX1bZg9GON9cUcFcJyJJK7qvP4vaAF6bC3maZ1AM+Sc4SPTWa0Sn9H/S174aBRC9kCMYe8GBCG8HJPTDqw/mwRtCQvpmd5kJ+WAhsmPD7CvsPGrlLJ77GUW6eNFjG6U6t89ZSwFfFgzcX9TZEe74BlBSV4u2/0tMBZcVb3BemcZqfL0XfDDQJOY2hdtU2gKYkbXwiyP/fyKMJ3ufTSNw4n3UpFZ3TRKqmfmBR8R3DJ7xw0LgnUmA/B48a04KZ5emy4VPSTzCpiqphYfK8lB5GqfespbemptLwWfJr0wDkJOgE81JuEnBhW5wTgzXfw38rl4D3SY3X72Ce2941s8YvnL42aXhTvU+OvurHniv4c0n0vwM+U9SRXHGyUNwoLmgrli4OMLn95LD7RqZzWsS4Z0DoW05plwjRLdjmUss5NJ8gbyVwJ/US98dc73vPo428cxAwYRkiQAraKcZETK9LvlXb7/ncgUPgzLGIkh1IDzHWdjuBUE2jxzpyeqiNTfEjUR7U/bgsySw4xiRaELJnkKzIMEvN4xEf7pHxiqo0PrcDfUVqsfeomPyg5C7ws8kT7Qa8tD7E/aNGVEnb84bbQdHUuCq9eXbLhCClRa1Wf+IdOEqZFNYocetNo5l6sv7YS7sjCImk7cmq0YMD80mqfymY0qcS0x3MxcjUwVba/1r0Vc23n2qbXVakXNrkMrOkHbPfi83+Dl3ars+fbCwKbM8EHLcu+OEp2uqRQ0J8h2K/8/XzsVu5u7UH5q93JDR60ABSFdPM3SFl/fx3XdxkDs8+RNUIwstvvmwG96j6483WhiTnghZaWYWVYsQPVuaN5gFkMqpBtTYSgYjBIGdPG/WrO4WUDxSc+isu6vOfOl8+464K6EE+DPJcxlhaWvSlwvoagM+Fb0OXZfqs0UC//2/U8K8hS4Fgj6l1VLo+hI0bheDhXUTD0rAHneyeqqjEgljIYcotpiA6YvFXr245OC7gE2yRaXVkvv3Fy2ymjB7ggUG9wlRmtBuIg61f63J0NcOol+ToQ32xYr8AE4y7N9+NZ87DB2+U+Y3uuX8irILP4ZHCMfPqq0picivewui5Gp9uUG7DAG7FR+zGylbU9zXiHhh2n8FFAiMH4Lzlm695zMNY0UIq1vVeohp8sxD9QGDauFJRtDloANKFi9euUnWC7UrUuAT5ushfY0WwOPDa6QK7R6BmHx+mc/w7VLHLO10CI3uvbAr1Ouk99fvdsyjsIgOde3j1AzYgHOjObfkqjBkZNjoGyyr00aHpLhdfZUqzfnvVmY4Bs3Dxbt6DfBKnqQlyYLgAKhWAHOTcn3lyXC8VSU6/qOnBThPgYZmVkvh+7cewAo3xILJKM3zz1niV4+ufVeReTcku8J8Swblkc+1gmP/8eqoZeeO6a35V1eVVK2vp/Bwrzom1m4U8BmP/zg6lm/+QNkMJVZ43rzfmZzJ0wNiJReKaLrM/fFzjD3dLG117LkTI32OciC7mxpKZUPBp98urAEzfwUzzx/+sIbLcaGpvYiLp/HflkjQSLr02dhzrV49lhIzJ4ETZZF762b8OSqENNbufKVfntIvvb3eRmrKtPrxmtM+dqZNerpNbB/cgUBJQXKlTwlO+zume9/0pqQkcnppcOxBMn8wp7QqaRPbehSBsFtqqqpkdkcqR/qzItTryjVhKxmUaobcvg0sPyh0wF6jhHjwOMFfFAfZ9E/yha/9fK05ncde6QJiKghIJsqAfyOXFsBdaOLQOx6FABhDCDl1mcTQRTxd6RU2Nr6MQS2k0O/hAN8NOM9p1XMYS31MBpzgxOy7OK+0S1VDxN11g6TFeh60KBJv/BC2IAH/JRpSQRhNbQ45UjOsdqIfvvFB+KA5QPKs386WbOFEWkAX4shlm2vbnpI6y45Qfq9kZM2OWjSXMl/RQcyoxDyyiE9c3ICp8yCZmIJHUZ1yw7oKQZ6xB2gHDGRyflMA0cQLcgb+jSjQ/sG8VUvoSMRbXI92zCMFNnXhZMMPhLJTHmXMwTLDagsn4Kvky9eG8Bqtax1m4oogevYWxhYCbFDMyLuF5rcqGoYADk4ueS9PyUjEY8gqyPQvsnCzrgBxRDA9ZEgBAyEohLMZB6iUAGRDKh7SPt7BLPZT4CzCUaryMmWU3XQ9oZF6KeApqw+1wDg4fYgzaeotzxYqvpRHuqNFXlE/HmGGIskVR3BjeCE7Enj15XaYY+5R8KBpIs/P6DCI2pPrfsP7p6GE2Xi5qzePI9ejWbSUBTmizsUe6bdK2TpE2dqHDj4qW7StAA5ChqTSp8JQcA10fLAJ4Wf77+i5JUv0DtxkWsKbaCI48pwNcbH0MpAs0Iagv7gEFPdbV37Q54V6l9SoqI2XIhaBih1cBK1/MybdpZPYStvgoaGYeJLL3hY7hpyVNMTmHuAw/oo8IRvB84QCyxhk/XfmWz+KpkwJKBnd6dqPbXYJwQNaHy/+IdTblmctdiyzqfOrNcEBWYmmWeKWAGR9y6MUOUSvfnD4H/SR+7sxnQDvJVxRnXvkSxltGXPHO+s13ZTdtpR8/vkWRQ0QMScMbg4xqDT+cnCB5waa36OIEqUaKtSpM0F+VXu+7Y+WBrw5WKR3mnnXO6ReuV6veM/PdYULO+7Ht5+gicJ4l7GXh1Dg7AVXy63CUkK86ikalkkvbV+7oxO5eLvvcnlmijpPQfMZlWIZlEBE4zLbR9CYNwbCZJCHQ3LNF7foNZIMikc5vE/UHHwWjn4m6rd+AEDSviGlX0r5r8QEX6CbkGn2HvO5QCNvnwciUaVowL8MCsLc+qcB27oWrmGmExPdCO90+NflIjj5z6jnPMbP/DfhS1xelJLY3/hw6JEeTjNMPrxfrchwKZwXp+/7MTDoCLzwoPGZNLAV08d0+fM+taBFAzwWw3YoTAhYrxSMlTTvutRmL79agpd0H9X2fZ5bfoT82j4L7nppG7zn6JMh8ZT+I/056ofcodOQ5msdAH/uBcTzmRzfw8RfQAeXRw4JQxibXQ58iDq7e2nJo8choq4sxmTu/FAIYYLYXK1d271SeWH91OAv26H7zQHcnDHrgD+H85EWtg/xVYSHHPHnnAKwWGgtsNmLHPl5qfv1QnQbPvxTFo30uYOxyOvbXdA2odSUprj5Es96i+wng2HgEP7PLn46EY/MboQpPLjRMGNrau39ou+/NzxNelB/P1TgQOIw9Rvok7vEb+hEWbd9l8NhAPYmWn9jt3/pGPN9aQJIqKmEXJCgJUoQNh8STkgbGBUCardQgSC4t2Dof5ENCZz2bQXljB07EVpQRQKvHqeXiETIo3NN0GrUodkaou8QtvDUggdSW/yM5bLekTbTTYGWFeyjJk/b8dvOca3EU8cd0wgsvb0EAdG1g5SrBwoNPTwT1swZDL/yJ/yS54uoUDvyDuHkXJYLDQQmj8Z795VX+hbEIIpk6tYu++tzBahHN4KSiUJEr2fyCCrbibOZ3FxejstECTaUK501UJ/o+hLR5f2l3y8lfu+Qvfi9wSdODjpkQxuxkwwRyd5IjPQHFcgnxgOMio+VmzXPpOyB1+1rOA0mN6efuFgjEuSL+CSPzLw03HYkfDBQudHwswE2jpWmqLNDwS539not625aukSTPDuSc3M39gbW01KSly2AB6O7oLXaNaPR7OlFH56VoN4UNkua3cULQAuFZsL+Av6W6oyy5gZERktUxWOf6O/TGLyAhSKFZVHrjHPnYCgOtekdb1zG5orwKzCfm9vm1a09hS7C+k4911Ibcob2CJ5tXlPrrTtBFpFDTMoiUxDkpCUh1MG5FreuSmzuOVl3k8wgJj0mHzdHcUU4dRyEs6vuTiIe5n96bHybgumDEJg7phm1YWb3nzqcGYkwXHusF5TBVyjG59YP5iEsMXeXjT3SyZF7RtQUyTHy6AHJeDE20T9liVlVoYJnN2uIZvOtqijn8cEewpZyJnrewrmDAu59CZf91jI02sOJMtYJ5F00BYhmCYqtrcSGaUGD6k9IalrX6dUBUTgmP9sv49iD9p0QZRG527+/6qNYy1YcT2lhfI07Kc7qhpDyIMikqNCkTD773QDfor6ZGxuNVGrLR/xeABW+De2MKYnfnHwx2WhjTPIV8hsBxzgIxhVbr3sebLZ+ZpVBIWH56m9EaMEl5RMPR+sETF1grWBAhSnschLGuRG+7u2O6+d3PPf4p6tXG6HoVN5mnvYdaCd0DIZQbGpT2uSQI4uJlCB18c/inbuHg5fmxupkeva8vR+QlYdSMf+0YDPqgYPwLg1XeIiAcHfo6GuCylFmcbgxznvv2o96NZ6sMNaIqnEi0zv4A+bIn9VXzWxUBkW4I6i0fO1dalr/mtvQDCoi7pa4BHetmq9UZ+YgvXSddOB58X4GYeEkmrSRv1CGZ8qUvOxgS70s+X3fE3uWUwrZxx0qW6KA4hTGsJiOEzJMRlr4tzN8PfYxlYA2p60q/1p+o9Y5GJp8HU4Sh8eSEtx1eH5qNNxLNk1hDgGRabXRJ7/id1Sscmswme7NiIDa1NDTuY9Irk47a+vBC9GrHE+cvMAEK482FhP7kfiL/8pJguI1PfMMn3Oe5fAs/dp11FInAvjNh4nhfKxqXKFxN+hcvpkO2Jrkq6g4bj0nnhKOcpJ/bq2Qj5pWI2xaHL9Vc0OVV3qIOnJ189AsrcLhBKt3CwLcRiqLEDz9IVqTjldWgcB3eJS6n+e+qlMqPlt3Di1JeP+N+/PEQJTa7WR/VYrmZN3Zu6jY6xn5fmsOoYEqpl99GCYRFcJjVwlXCxAAn76S/raregkH01SK/o5ieIX0AmH1GapsRORyZLNHQScTKUjsrl50thgaLhh1CwL04zFo8SdLnFKqDy8x9FcJWVDdL3UBJZZ8r7+FxRwC/qlYOQ2M1LLwypVQSU3aAOoB6hPa4uLeRGU4oL4gW9/tW1zN5IkfPnggyyModYG2vFXIQ/+gKj0mYlt8GQ4ZP0XGDPyw6Qf454KhTUhDgzoimhZcDeLYqFcK3623h3svGbPiXgMVJHuySbASrKqdbUqiqIUDS8V4f70i2tYX/NA+Y/zzpQkv2CxE2Y7pHMhdGUbFe8736Qs3QIVP5ugiSXrv6FPInjj+zOT+3DHV/t1rBwJp6MeUCEyRAC/DVHW2+OXS7fnX+VYz6Ncy3njIMQ5v3eXoMFmeYuKPrXB6D0IrL9xje24hLW6HfGjwoUoM+FzOS7c7VUQv1PzmfCJtSajR+AgdS8JTBOuMQj0yQ2YOXGD/qw8lOxUIZiY/YoIv5jcjrPyAQ0TyPYJMFPobehbm7lcidWSwb4vb39gJrECCQsmq7/Z44kIgp1gDQHocCTLNCa/kGC1gioQQQORsyyIzV85o6lGFcSLgo8Ms3NRlHfMJWjzPi6c6NvdOH5dTl6WPHeligCRz1Hbt/BrMvSIPlT6SeXX5B7rUhCZgkkLBefdzqfQxovB7syAOqfez/zGUfk8DO0OD+o0srl0zjhR9H8ot+VItNdfeNI5rUXyE1Y3MN/pf9i91ABsGgbXJbC7LVS8+hrnoSv18Aqw2S+54lsntBOC56fZGy5efJ4wtmHOaYfo51iePRH4ddW5un1prol7OVYJkNoK9m+kss2OoedNRuo9oH0tl1DBp8YdImGQAu+pbvlVHadmw+ouXDKDlP368BZiQ55k4g+OljcwNizavL87L07kTFfKeRgZzQsvdmBCc4eNE79cgm5YGbX0liW10Oy6+HwGiKvE31L8lVsKiDfUoIQCOJUWPt1/BBbOL3kEVENE9gpZFqRtCHNL87c0jV+Z0rS5XZEpkbneI38nZ8AsuRFetqLC/C7VjLJekY+lg2L/ozbB4cfJwLQ36F4N7PUoM5224ogOY2UEFcVuA5ZBgjabRz3ypIUZ9Ty6yU5sW77DPjOtWJ7VlIzjU0hWGW9GDLUkhkPVsalrxlIbQDDmlrrJeS8T7jlLxrhkgi5qsDCFDEL1dzZ3ZU8kHb7uGpWc4fLUOWwvKksGOaugdQfn8Gfjhv6KjWcvYE8p8f5NoEiTO+jPBpsSRw56F2wgbsLDP0pnPpDQuNzgi9keRH3RBokNsp0iV9lP8VZV9y/FO8qA5gDPbxPsCuXj9K+szChLWIXYRqM/S1YfDW6yHIlGGjn43FxTxqJwmQ4R3Y6RBjEl13XLssZpLIK0acdE5kY22s5GPk4doEVg1twXxqJOOG7sVmP2VTj9vYCPzNOPrkXAQ8LnNHD8vIduyq0SP2WOx0K2hzjiMiUQcKuHfZrm0I5KIvCeTQMSYYTD9iMsfQT4i+OJ4wrKc919IgsD9VM3SAdV2AQh4i4oU/+FZORnYG6ID2clKfKpfju3tEHKOiHdQDBTpxIV60ut/TXPJC84dj4m9wTqO/uXtDL+zd/WxrYkhCr0bIKb9W8EwtajaJLP0C7mnMjYu1uiiawX5al2CqKS4TAKjoA+hbrKSi605RBjA95LJPpLByS1X648dXmriJV5jmChH0nVBymnd/hcHFtHb6pc587VXmkWZwxjESSlf57yvdtswfuP/bumugNIBnxLRbAtfzbKPvK5BCx3ROklDwgTU6GhxqVQUviUkwgaaNZ1MMPNrxEtaP0n9m/KQC2ceM8VVqNpgM9SBG4veJQgIWHu35owfvEuwUUmKbZSU/afkw76kJQFXKRXUUzbs9+Lf5F8NO9uowXLZLYphatiswvbTBlD7guDAgLaJdjxrGWQLkNtsDzDFL2lcYNqgp0skE5UT0TLx/Z0RrSBByP/Mr3Rd6A3KxpUtViVY/RUDxwpvMZQ8Mf0oTgFE9lqKWvShh6wdTuJwYYoC/A1mXVbosOalhUdAA8uZNHVdp5wWJEwwvCBWFMmcE6cz5hm6wkKucyvFBKruI4avNhYeXLqe6gWfCCoCBcrujua/32YWaxj47ZCWHP4CbfQa0JkHUf7sOgVNuW5wraKqWIm6XmepVL+zYamE76eUSHIeN930fdVYU3Tz0wRdfCGGEH6Tw33pxcLLLpBtnL7LHhePcjsoFuLYedowp2YJkOHREqyKjN0Z/XQMLlXZBkmyTs16F0743xQtXNTbtwFacQ8I7Fqej2mVohrWw+tTxvmGaPPLmVi/XnejSRTNwnIxEgfhzlpp93V4/4XhZkq3qmftQWaFCi6AldQOGSD3ISwYvFSFV2fgRl0t9/ZFTAPxpAEKbmhFGJgBtHBzMvqjceDorSaJRqc348s2ypi6aXo1V7bbR+R4WCVJRmrd4W1sPabbjOmeSPkJ/7B7ZmSx2ddQdFCWePgyjrjX7IYhj0tchaLGOM1V5UpUFt3BEn/JDLAYpbHe9ozDmL5NOYg4MEQKRrbG253Dqj5vKPm+pDoEGF5kQy/3Q3k2TrQFa11ZheRu8RrBYFkfJh3QtM1qFDyFqbHCIZsLsPyGUer30Iw2Cp6PeVQaibCC9aM7NByQ4A27PRN39zblBJt3ZJazKyjpuZ3xZLeW2xC0kyGUTSgqFNzT6cLN5yHKAkuip8SAwgIFKDbMG+fgABEVGlIwChNh8i7OKjgy27wIgYZ+DKPCI0/RdCLCcq34Ke7YKpnanc9TppOn/uMhbIXExrpld3bRF90+VZZHwAPahpsMqFLZniURvG62SVBg6cOdGp0CAivkOty+k8rElKwu5uT997sqQmEapRz2n7npjQfMTFiUBZrDBS6zG6bJI7gOsn7v7vNs2FL1r+0X+4bA9U8xYuuCldnQ7Q6rNwMq+y/h3PEYvjzw8MTm2RNjWsI8+1WAcOzijvxfzxBmmb7WHNX/MkZl4pqdHo3CfWuT5l6bFZxEkE8QUni3KSVlEOsi7l9TQW7+8ZZWVriBVirVnatCLt5pCX0U6HrsjUTIcSCN2OErzhACoXt0ELdfYEZ/bPpLEKVFAsF6N5yJxV6AoqRIo2o6Sfgl7urRKZ/ddUuQ63NLCdZavdh+m58LhrHsRnsHgOrwhFW5pRQFaPbdygPlR9sEMFkLG7dPYdzul6Xijc3wWraoQ0tUa2pb6CAQmPDNN+blLRVv5mgFA9Qar8f0Po72BZNvtBU6P4Vt2otf6NIRli+ujCPPL6VfFl8oCpHPlq1xP/JlZPuPYf2oCS6onVFvCbn1pOHPPzH5hZp7H658rNW6Hq3At8rvw4plBOKXOsNZ35OVfnis1dMvC8NFOFnBuhWYbungl6t0ca+LPbfsWK4lDuLZ9mjPoMsdoXrIxGH/m7fjwWl0OsdGg0RNelzkQ50rakaPuCoMBn/vrbddaCJKcioQ6HAz2uRLSSlPQ6MJP1tTyJL8khreqbvDX4dRxgJfQE8WU6BsTCZCqLMarlp2U1xI2+JHkopRTxxaV4AZjFdwTYnzMRremd7RBmCRRgR/FL4NyZcJhGVw2c83UAeWq5VVuyjSh9WfRUUoy/cR87/XiIxX9DSLIAbJVKRaxBf+KD9uhrEic3QuP14PKoMMWA51OHAGl5LXjOWFKcAHMMkyvADZKx6pRdN06026V1whuFUC2LIvIVwj4r6NToz2/gXzqoG+bvuEyvrYOqP/OyiS2paMPD4D6v2BUjl0sXITs0lZMSKXuED5E98BN8YJ9B/h/r2r1hvVvbr2p9IecsUGrqjFnCf78H7zrSyrfca31y3NRBX4/ruVF0DpjqEwgmc0RzZLH0ytfElR6+64iNxPQK3Jdi9LaY9oI0kHmMkrLjt/jaTYNhv2I2Tr2twqMfEeeZIE/la8Qe8aPwHdsZDBs1p+E0EJlXLzCMOp79pbGsTmhNnG3viCrkWkjMLpzxAIQCP3l5gY4mCgz22RmN/0MQAUYI+an0wFXhK3Zmtz00afo+qUwb1J+pzFyexLQGNqt3NLyzf8VCg891XnG3LyV3VdzMdfrpYEMsl0mIWH24yVBMsc7WEN1Ll7rb3fJyIyfl7tRNWMFYRD92mHNa/VUuBWZzB3OztE7W4hTyQwrDJzkwkFpMTwhWgavzxHOinH9MkgxxDcFjwHVtOctkf16Bs/IaG0pO03Gs6xJ7urK2r+KEQzxaiUQmdnEcLeEEjtLBJOuAj9ztlgRVMx44fY0b2zjrykZiMhBtJPhzj5uHjw6Z3Rz+Vhgt8DN3RH9KBg61UeIPrfhxLdr7EPqWxPOY7YAWC0excGRxA721QiAmwcLSjPzy7tGzodIPsW9IztdGNGJeoqvtfekw/Bx36kIvjqbcR8oZMCndN1aLsStqeB0Mp26mvqzmnrg6vG9xk4bevKNtAwTRcT5BSWz5ADH3KWlvQKLsaEbULAmhD0EEStm+jh+X8NPXEh30VjB/qOOTWTYYBHvgJi9UFCiK/HYAxdCJzMpOsy35IGxkkOeIY4T+9ZBNZsWHjCOaJrZLqJHQ05W5ZcFSRZ15YJi/zrsnzAeY2whJ/r3JDaPUlESMTLce1Utw9nngTRMQvGCvB/Xi97kk+FSVmYl1wepeRKykWRjhDj3SC5A0cnR7JpoqpX+yoKOQXHTJ3DkJs8Gp/Kaml9wbXBeDcrF1DW4ooISq9aphZFk0LionZNFGVVjFiOSTy07vbwmG5YijPZXL5l+TjtEtqPc/hnnq2AkAhAmManIXYGJntJdptgDVzXWc9kFtvKpLb2wr3tFOUCe6aMjIxhvXw4NK95SxsO/e536dLDMJNZFBbSk3iM1EzduzrPAsYXHzx/KOaYL3XPipqU4je++ilJlJgwZ2Xft8+AuReypJbAQWUwlMeYIwv/CpdgK0ejrr1J8/obZuT/ZyMJKCFMNp9are9EqCyHeWlGtFlkCH3eDrG+6hP6oE9UeldLcTc2pQInUsL1zw22aVGmNF/61Tg/uHcd0zE/dWx07WqJNINfDUF16mYL5PBmKf9cQ229TuKshWx4oLDQ+myu5ZVGONwJUflv112e4A4R93dfiU90KbiviEUVs+hxOC+823V6MWX7JaJQHDYcrqfzLnK1se4mM4H8nNgExZXmp12SdBc0FNi2MzmqBoK6GjE6COw2pBildeb9tHstcG8QlZiVtzpoUtBLWvfeINoOZq1+LTRbaT3PtNWhVrm69goChlUBeAMv+vVqB4wnbFotgdm4WSpDihtQXs0nnyn1UWUYy9Bg+7PgB7nVZIExfkBR1OtvpDdBU88rtU4ZvxxqaFyvoXcEBy99BGgLOsfjISm0SAXFz2H5whTwKAKyVFIIp9L5SYM3FTN8MZEyNF0qbY0yUN3bh1RQeJVe/GdRvbShQEfjoB8EXwNzOZeGQ4o7+t/cnYWgW+AfNoGadFNLvevTWtyLC/F7UI9pA5FZB1lqxtjRM25J8QWb7f/qfM+Xd4hdbyIPsErQc4LYpGmFdAUTdQoxfHJz9G6+wm3xqQLY7QaXCWHX2Xvwz0ivl8Cr+eLJvtN0OYceR+E0hR6NUC61ElPB+gwSiC3bSN2Qpdu370Qbs19z1jhgMpZV3AE1I9ZWD/+kQiaA+OB4O0FCO8kyaWUNxYjoVeyTdLMBHpkcqGZaO8tB7efqvmCdUBHtVKwFZEP/Bmv/797O1knfvMLdfYSMRpwQfOmCGh7XiaIlmsVG/NmyWlfJg3mZib4moKRCJj5ZtJsWrk2P6KnO9xjypASKXr1Ud7WIjB76/K1qPl6wVlCtAPaUhWKv4D+UwPeQISi0yhGNAaCewuhiCyfMobKqY+6OtLU5bgv+SliuYLAZtwi2VD4IdFMrFHSPNF+xvcNxpI3lbgheywUiyxQNhtGQNWDG60AjvIx4mvyIfV0L/yLfBygSVqbyrCCpupzDt1UgYwEaX5yn1X4zVAHTbZJbjtwKNfbcHSLunOok7jCcwotwIThK0kBmDG2wIXoZ0fl+SdGVayDP55vPJYLykXz4ulWJ8ubbEJ7TlaQcT1MmVdE/cG8DQL0bH5F404iM8+3LzfQn4lF/9gISVG0kFJXCo0pvNBXmQXg24IAsJ4WzVJI210SVmZ5cf8FvEOkWDwsNaU9mFmRbfgS35C+wSBF4kNSfrNYc8m9FN399wO0HU3KGqv/spGRo5MnwFDZmJpSbqqypmmS9XGdf3wvPuo6K+C0QxDST/7K7BYead44FQ/WchmNzd7tgeAJ+/xfOq7wjo4bxya8ZuuliZrqEA2fkFqcJIdWlERJyqRkfqK3b9+NFlw7mtV8+GZiDRNMJH9C1Q+x5+NiACLLa3MvA5q5jdVrIKI+lK5YS7mzKybMp/GHVgTCA0GpZGDyAPEIkFHTNZXPg92gcN3bsYG/SVxaCZvMdf/o4/wMtDgxtiRbttSaQN2pxf8AkkjaUeik1A6WJ46Xbw4ZlKZvKwA7SqVkwhISxFF2tp7uQlgnzlWDvnB8cb3v+nzG77SprKzIMXPQgktzobEVE0Sd9qcIJWlkQAgEXc297IhywQ0EXtxdnbrzdhzSrQOiEZQHctLvyfhttyxiRKr1v0ZqEItZk3UG8SS/a2IuITeVMgJImAwrWkLvQF1jyujYU6PuYqk6eR5uxKzjKlLCohvp3HRL9pkGtZRp+ZSSNDfUT6S2QeZjNj1dCRByygsbUN1Vz8VVVeJJnl7LZ1Na3AVxxaSOEOgmecdnKSW2CyTS+umz8+gK8xAtRLtSHVLcHF5IER7G49/J8PzmQoWwsnZEnQyvIv0eACIcW74xvRuL/DFaR2fqAzhYMi7v8cDaI8Q5FkL174lBimUqJ5QtjgSD2+xficr3WEF50pPeb5mVwO28yIRTDM7Y2aw94v723WWgXIKe9Y6m3vMc53yoAUzhHKW25Y4pQxMtv5q4E448FXNZNxHZQ9Qg3jPaKtQJ/yAM3OFhlLrIjuHPHOtelxhBkEFQGqRP3e6JhFWJGirTypV9vV7BVuRgPe01YGS/QBd4xnDsmkrrExI6+dYsn0M/A516PCXFI6r7qXhwpxNPyWv4sQpQgUnmAJBiJWUFusXtSgFileMB6swoBhcaL4NU8y84nr6mjZQ2ixQ0vR/w1PA7GiTXjKUN6QKZWUK7155WyFnJGOgoq5+phz6oLhMraXwDE4Dx6ijDvUuMp4/pM7c03U76qk3Gb4zgMCCXQBc4QOff2yMYJj0ohvXZqbbsUKVCJ7M6rCHFGTcfIkziGTHgyl/ezs4fNpTJY/BIOpIFLrQkWz4HULBkfJOREDwrxlbSLzooAvNeLgCNRXHJOFeuWscXWwTWtaURioCu9Ez/tJI/QZs5PLbcUheadRtP1dqZgAB0RMJ/xehek0IXlIl2QF4tQNXHXP6Qw8PKkjFqlxT+hlQTQfLaF7Uwqcv5DqHZWcWgavSJnlj9UFYchL77cGmN8fjuJsril1z8XSQK4VrNxEbosrNwGfIOSzNk2sDuu/U/Oi6HdoWN2aV7WXm6Nm9V29+fdQCpZzzGIK/pGjQctt5VYr6w0jMlWrP6RMP2JLY6Mgn1M59gNVTPbuoDS5Ce7x0EqfMYaH+pWfhi210thO/W7R4X0k0PR2q+FWRl/vdm5DdQXEubBr1gh88yJnxguv5sNMErNu87SYRJcJtrKr5G8EC211EeEMn/8D4c5TkBli7b0WJhATPU4zptKwqnsdLZN9Ejr5ayWbDDtvHIKAJaLOilj2KHEWd7aBJ5NE8gqIFJuvpMdUa5At2BsgGLrf2hmRvjEyytVug1HbuTnvbMeWduqLfmCo96FJu3I6iEmMr9+n8DGP50PLb4/QA3rZGRVmAtlarWMZQ6IUgsPSbc57VSHGH64A6Qam6jxOoe1NQimcyPq1vLhX9z3iTK3gpzvfiz5uQPkNHTzExFxLHM5GP8fvDC5u1IjqJCLEclb/eG03TLql0qVzFlMGBPlANzC4gPySFPIhj9kAKMAqJ71TRHlMj2ggf7UDE5hYIyF4UyLVoX+Zsv91uQZ3kxEV5dS376GNhSYeFaGNnh9DC9nw/oGjHaQedE5hmNQQh99uVvn5Ebr1ihj34BZba0TXE0WJtYVdmcKTmSXKNfwgwAZP6MxVVf2RhLORKfMgjlWBUXeS706/oK9Pj2mvEcwH4EKN/SuinePNgCieYUbob9MDyYR+cP4jg09Z24xUwH123NCrW9na0ne1f8/3WB015RA1DSj/ibdGyUcDzev1SCa6ElWh5EUSbsTd02IHapVXLThjO3ILslPleEqPUy6smyXAMNOJHYio1Wmb9wMX9v+idT1aOi05i+naufK71poGSO5Unwap6D9Z8Q+GCgVGYzboXGjUl6XtnXSrVUjs6uGRaglOJmNarPiaxVSDuMn8UeF6p0FLHZ3NKNUXeAb9DKwi4miH3TQTpFUhIG6RxgP4NB0nRw9VX9u+nlEwwZMq7lKYF7s86fDIwzi7csdHjsfgTKp63edQxSpjxDs+wpS/0kSGjKAo5qSNrgNGVYMH5V3Pau0Ci8E5b6bR3BxELcw/B4Pe5SK+SYNQvhYGMxSVUmq34nJg1OGK6cnAqG73gg3RY4eYuyaXTEcPrXHuWaF4GnHUYJyoV04dlRkLuJeJ5q7Jsm2UJZMplDFPgq2sJ5U9H4xUCeEled7AAZwxSyOyeJKsLn63GxwqnQkE5VKRsru6m+eOHcVrL+/yMeVGJVkbDdveRELaSgmROw4rk7P+U+AMDfrisoegpdBzQoMbeL4Dc3pkhB0hBQCTNQ0Ft74ASnxc0nDlE2kbhAXKStotFN/GTvDMa5Irih0Cyw2gCVD5gwDGHUkQV2rtFkXRuMhdNsQ7U/+loKs0GOA2stcHThDsTn/LHYrbOqkG+JGVOjtZPUqAdE2tL6qAyJ5CjyOipNynxZ2nQUZ4DgKlByDGwSOszF7g7d9/CzHkg3AwgdIHCM6nnBiQBkpW+3lDBDQN/Sby92G+BNmWe8ZI1hmqC8Ajps+GyAt/+X3/LDVlHNVzr3vbHNhJLbJxw0RxziX6E0wZWQa1GiHCLVrCo2SB/hFjsLyycTcvaU/ZXi8/48ZyCO11L+n+mRLoh3/PnoNIa67lSqO6dYdLO0MKZD83PrSzCEh2TssIhSz+LH7sWIjJ4LB2uNToE+PP7qq52q+dhgLppZI0mH5VQQVhRqVQwNdxNp8UEKzcGMcsFpqTNY2zSbhwsFf0qJoo46FM3g2wYWJtQdLfOagsNmAt7SrmoFkVEoLGe32innkry1QNB7OKPF8ryRqFWJ0VRD1muWaX3sprl8b9iTiEUSW1XwDVrWdFzHpCR1ckNMaqq1RCQ1cWKvKeTHLM5MynqRO3lGD2wny21xxnJJegjVuL4W2ac0JTWxfuVr06R920Q+Zrmzqn5rII+fwAe/XLc8aeuj9EYbo13vSyoWBpg6RttvZTWXp9TNpqPTYKGue0u8G00obg21iko10kDAi9H8a99bNAstJZW/LOF4AR2JgjcZwQBqoYFtuNUURoyPN9N1BYot3uDDmHVi8WmtHPQuiNr/qWu/aAZFu2sH4Nosx+7mVfbQp+U6E2PX8vK+rrS34zuc6gA4GCFMrwu8nUHXROn0DZjPoSpKhHJ2oB85rnQ4C6Sxjp1yaoUM1a9MYWldvPy7WdFXM06sjiTe/nOB7ry90UfqRrZEy21UjDhRH8CGdcihZeucRx11suPm/qjj0Ze7/azphNCqLiMD6j+X6DZqLQQ/uRTdv923du+llmvT3mU4jQobGCIkyFwkHNtpenXMDvW7RcexrfiM9NbS7zYq3gbwS5rkaNRUrQeCKSRMYfodeVaBuyvDVb9H6T8wauBpD8EoJB5MSnz1H1MwD0FNoI9HBZUq4r3TRr1hzC6q0QI+lIZy8Qkozw5znXTlsjkDStjEPGzPtLSXOkPI3essGoPjTf1Fu9P65Rn2qpQ8ZEWQLmz/x1zQqv3F+LZTUc0Z56cdt76jgE+8UWz3nVslDce43LDHGVjT8/NPFTsNsbOBuf6KGk0AyigrK/lgLy5NUmTPTT1s+oydq7qSLpqawcR6igcSiHjrj3PkcEWJDay4RXKIlF1vEO6xv9TySUzAcqRxcwTX0DPGKYJhlTrs2m12JypIH8XtqM5nOa9I81elLyBE0we+Hbb7zIKCDUV6f+WdcalhMxyC07Pt32Q52xvHTGo4sQxNouTuQnk4rrecfeRRgAjt1NPITWUwfsH3FWn/4Ha7DaD30idOYskh3uBdtS+r7FraW1IrNRyJ44eisbMpcX0HSFRAfJ/Ekymxufj72dSO1ffF7Krqz7555OAcMJAKg8fyZRQqZjntnm/lbJgUbee4NKqM0uOwAEidH5W3C1BfTAKIg6rte0f43pzTsMR6UOhe7ph6c/nFyejnRjmnmwcpEB4SjvhRDqirvbAFAAhggyDpvVNW2TNw4zkgxe7hUidxdKhNVy0ZvD6ULlFG+TEJB3Cg2dkvU3DdknXsqxWAAlRBUbA/tU4q1VwzkF9UDlKVbZsGjkCbeCOzckCTbrdOBB9Ab3qQFCDqR/7vQcSsPuTcs92bfFsxvUeKVy+oC2RwB4HmzEB9ZUpZwehiAt2JSQkFos69Rjqh1V3TjgJ/WJ0xOWzinhCxBxzbMjFqDaWZNHIJb8KDuJgCXXCBXzn5ImIRQ2vQ3NhxWvvaGpUjlyvZChdXwI2AcLX1d3I5x5OuN0l4pc2P+tG0+jdY3UIjOBupvT7LLBqVfY4o7hlG43dQAFGvCxHh9ZQ+AZIZOQGEJzMBzQ77I5+zapriF3fFVMEeao1RsCKLLyI+jYUj/+VS4c8kQKm3RdszyXWf/UNm0BjGLMofxd9KvtihXB8moN4GTeeQA9sLGQNwnFLhXk7U5Ck+0QIs79mxL1MQW6BxeGdtkh7M3HaUZd5F68OOX+1Mn1hGtsMGLBDXmGFhxSkPo+9TvP8pBV9rn8WULvysKifkHz7m2W1tiIKcXfYFL7ZvHXvPL48xmTdkC8sCFfcBp6uVkXwpQfIQUoLVQY1tergvxAXWCQS50+IFkxtr3UhaqFCTNkaiYSAk1GvzxLMXpfMACJyntBwVntwDToaXMscPDHdi3wR/8vz5+CCDzuiEAZavfKC+NkSqLQ2oiWkR2X013TV0OtGikCfMkJdq0szmjWwhyyKF7+0ucBlp41d38CR0WiVF3fDkYF2XKwoCjln+xzpByU4gty71uql5aVIqwHWRClcRR2o3S+B1flBB9H9SrbOSQR9Jl6oe5lbT79d/Ou0CvAadm3Z2XuVyFcMbap9TLWZrtTPH3r40odbv1sU/1K9KXdPMsew0YEv0/yMJ9xE5xveE4bwthcMIAusqH2e8/oVa9EHyyyCid22ByErsjtzaNU5128bCxFCbFaKDw2PYLDicTQ/DNF/3OyWielMz26JsVgUl0XxB9lQGE+7x0lc1PbGOqAcjO5arVNFlD8/xbyBS8HaiI5bKHA4ZJiVRfFGUDbTwqIj+suxTisDvm2bsXJNoHX9PoX0SFnw6QO3INZIU9nC3zrrU4918PBnShVzhgiFwoONqaEMbIuWB5a3XLguupTU2nFgAf0UJaGtPrlJW7cktE7CrNCcvhaxQW8LZEHQ0c1wh3KbPZwr1YKpPAW+e5hcNKRyqiNag6oqIrdp1N6kF1CaVxyMbbuBJZ+xj6hKOuf7WEnFAxfGAg+2KmR5rWhloNdVQnVWVHzdgqCtYk7zT6cI1NcSOS1VqHZ+1WHmNkC/B4b7HqLbS6XFvxhsgvsR/WcOLy/FVk6yj5D2g8Nc8FwdxqlKSnDNpHFJMmSQDx6JG0829S/KMrNFypVEjeU+EzMuuRr1Kt8PXci9A3MAq5STYqMtU8ZOsuL9buecB4iiP9xdA9b3zyhaHFW5hrPGNd942Cr40jmLO0E7WZII0PRdbNw/dUPhLKsV43hkp2KvcZ3ivNq2xlq+FyqaGMMLuqZs3pT1qut0chaWXHtdJFNAFt3a7zICNEFvcBG1cS+/h6sx1UVY/PIoHJe7lfAFFf7JfTJCMicHFXW2ZUNbFNt9g95QcWSLJW2Ub7EHChUdiAFzYDjrht3xxnk2INUB4poTmBjKOdOxHjaWB7OKCQFraj7YsEIU0H9vpSExou+4KD24KPkPdHETgU0+jpgvpCGcRoaijlL71U3sJEJsNLR060lYGmzLjLurqO1mebEX3WZtDFRmH8jK7r8HLEPhEyYN0g3Nn7sdX3vmZVefyb1GfwgIbPXzML6QC9i3jhjvnLKrsIu2FDMa+NBKAbY5qctsluULs3bUtikthyZLX4WvAY2dh7LRCqNgZGORfd9oxB6hWrMc9wF16mgvLrzf9QrbA5WyDL+5Xj6y2OsSvHvZqf/ZR/AWDyUnPYvg1xWR+YFmQ9ghLJM0Jymt+CjAWx8+yfMFlhSEV1msbGGcobM+qejnw0iOmDEcAJShMn6EnasEOkO2uoBUWs5sv3UdLkuR+wxownT98lGPolK3wrhpjwAVPa6EGpE4ZDZfJiSdyZoEhRbso5KRR4KdD4c/BS1PO89Tsv/BbR5YERXYcjoxqZMNOCCVZId6kuUp5UUhYcEwkBxFt3r6iKdbgko7RNl6IYT3lURSfoOWg6jrVmyzzUWWqHSb+vR7QE5M2HXgQjFlg87Ap3IxfliQJIQxDGFGXciNGvxAf0jTyDa0uXrtN+x0IqneToKUcPwXgwvlKxdw5us1tctAGhjyOYGX3uJJWt9YEyk34Xl1/LH3mkcYra2SQxsyHF5sh0hdGHWdgeUjvfwOErSZtyvN6KXIeYve4SHbzDj/BPBjDr8aV+INcuH/TeMlP2wDZm/r11DCVAwvTkL4qPL2BRCpunL5BxDAZtp0oKu84XPHvIem4O+mS9A76iFpT52LHdBXGcjicRwTbLKSNCwSGic8hsPvvxOXaeGM/UPs3cJAVPoiiyUTZrdbwPQPUBd/AVWebS5vmvjgrFrEyykPMgZeHaF+SSfuTsXDqRjs20crLPK7woopVAnMVLKJKPA4zgMetKHCDw3Fd5JDC1LaXClcyxTxxa+DbloiHtFssQRmDyISW6Y+jPNxP11jeVrxFvWSMmdVDEuMB586Y9el23j7UJgvRxiZzUZTtWMlMyDScLVCbcYhn9YjTdNgcuk5Yg9EKEz6HHRO8VyCCas+TOcXPM6ha3BDGjSTy0XAiRxIbME12SeyJD/z7db/nRIZtO+Wg8mJna8rYD61AWYCUnOHOwZOY0WEbyLSZ7Hv2NhbKBiByc/DF7FVFB9uXfQTdO4rFaw8H4zUdD+rRTCplf6RJUDr2S9GgikpMVckFlhP/OATZu07+dnCMRuDSH07MYm8TrF3IIHlrvc5xoaqi2jgKVCFeySSxHtbTkr+H9x26GZnauleRjBmm7QUOdIVQymcR0lZ+wgTFibjPZoTDHFbnjTfLX3SaJpKv1WkLZV0/9q4vaEYgOGVg1+MuSLEZmg7C6WgLtsN10ONft5wHMJukECxIJ1FvZZFO/n6f3smOkN1rHBLuQKSDJuMpDH+jSH5BVv5Vf6iMRXNNyaTJb9k4yVD52ymDVRMUX+CLTJP7Wmm34ZmcNWz2vb2GnZsJK04ePGS8YeQB26XloCter6EkaEYyr27RppG9KCg5yK/9N8kiyDGAMR2oIKE+6GVIadYJSUAbj8TwgNuoch7le26qA/VH3dI6saBa/vnbMwmf960MFk23GppQ5G//i4kYyC/qUzelTlBn+x/0OilQKgdgiCXEC+21P1aJ068OVveNNWQ2Ut8p1QJlQOQVjPHLRAMf1QQetBU+6Gehhxm2cUwueszzCqcSyN67U+4NajN6kifcSr32z6UgXPP6RBo7lWYW6nEyH9Rb3GRZrAkopxcxJh0UwS65dJ/sntcjQYWLKs6BQj4+Ri99VXRWWW1wApBhXXuo5tsRIU8T7moMe56kbLotj3O4zteNqor+zIbLTCaSUgzX2Jk+pvvK9YuUd45mkrjNrsgDDic2XnUxyS6T+r1NOvP0MkUvjq8wlr66n3nKpK6hEQfxh03G1M9579aHUo228qIm1KUxwlWku3409e4Dc3xxkY3t7+xSstjwVDTsmGoMEfOpJtMSE70YH0hfXzes0Ak4f0qaKYoDjWb4R/ZGKqbOO/xAvyjzbwyM/xD3b0B8qsW1qmjkib5/JtQ8HXy6y9ImRoZauO79xSLH30Zc7AS6sG10jWHzBPMgKGdkh8BImIDWE0HWX7usc53dDIJ1V34D8MdqiJ/sUGSaRTWFrlR7Sd0q9Q9R4nrhMvmeACGj4f7aQbqrzu/rxSYLDAylsDaOl7fDqtUeIgMhjGtF7n2G7IxlzaLJM7flyHTyNQEN0wIHbdPOXllfj8pNKE2uTQrY5xVhzQOkv5sKDnO7drvHSlKSXmdAYnZq4FsQp92CjmpNh54lvDi2/+1FErqb0ggt4KSSyMIzC8UL4CMIYQu6mjji56hT/e3J/LIP7jSzrrpNksho5kh1NL/s9YocKL9lRoK9M2dBP5+cPcbr0QPfkBwHIg9YUT55jaWKCi4VUyC5ibQzPVJautmf9oMvU+D9lzHY2qcyC/zcLhwNXNfuJq42PQAtDzxeSrziERysZk5PRduronrwveIEFIc9UBzZyIqhiTp81KRmIE9vqLmhRPMGydF87z2+YWlkWMElaMcCtED4xHQj7mKwZUVQDNWcrb8p8WHJn35dFJ3adjO47/vnEEUkRAtIOSah13PKK9jAd9qumWIchEIIfwEdqgiXnXVMdVemfUvHkoH3duPfUock+dZJImrIVG3/2+dDS9WpZt0aELFz63Srtsx/vbh+6Z5TRZPKfU5KO9I3qcnOggECp7KIuiP9iAT5MGV0baLXOPxQaP/v8ovc+vs0tgvNurTrfWUvxD/RMFNBW9cxBc199jbKsI9G8h9tzU2TdCC2I4lYvUTB8GVkQRqbgw+uMfyneQSNz2MnRDM6iAc7zQLqV2mQtP+EhVesCEOzyCFoIoqO6RmdVAsBWYl6MZIU0MQc5vEprzS1cfm7B8Hxokj+j/MjU4vDNKZbfKViD4UODRg4QBD5EHthRA9drWozVJ+egUTMdbcQSweYiEXYC1tV4DqsuDwzEe8MOoZ0C58R+jVFZSIofMR4s3qIb7zOkRdVCSxuwqjyY080r6tRPy97zpiFiIX3dNdMwp0kAeDrxoNe7glgJnxVLI/Qxn3vnDXivYBW4+3RBOoDeBUoKnRXcnbt/GGYwPBHBzMs9esLbd9JGRr72gPx4G0lW++RjCxhzOAQe3qASKMiO6F9KH31VTrGZ4dcWf9ZPS+7OIO5jBJe/PknUIRhT1F13bap+VnFyTzMOqPfLtu4jW4kTI5KZeM3D3P5/R4iccKfKXkn4BsvA8WkVTyv5VWi9n8J2aDb/CWdRJRMPkX9xs3/04c24c/UqumjKZF1bTh6odRUz5yLFLeWTzGXvXRB29ovpPvQoWQSX2qMX+X8wF4TXVFPgAtbGlJTC8JiRfqz4CcirVPj44mNs6BaqyzgKnmliOkcIU71H6wYaJqVJ4qzf3yyO7oIhOqGNBAIt0479/7V94DieM4C28JMHHw26s5TGNCMCmN9oawQW1vFjL3NEaF29VoHGwA7i9SIjezXoCwDiFZ3xoY8TyqnPLRhWs6jdNDvQbDV6Nn38cCHyre+0NJ0fT2W0YXUQijLcnlT7KC3ga87sqb9nWdp65mhqOshAhvDwPI4WOr+bnDK+BlKzzVlfL2e0rFXUvIdKBT5p0Sa0H1FVlw3ttxnHMabLVyPj3uEoeT7sOhgLbUFRtVqtVItHAjbNXG2wEDwaoNx1ssEQsrPy5PEoZPdJ2poWhV/aHmwZ66ka2H/yGoG8ErcRb5JLznlglLA4RukBE1khTvcD5cPlHQZEpCOxNyFOe/LSYYBGeBOYU/rCYC9UAPDYZfQQNrhodLhWe3waC2AHHEEfjdOK2Dik0N5udUMn4f35YYd119qgOceQ3Z88lR0xDqTqYKniF9woEnIQwcPb2WWHI1qHlVz8jMfXNXhq3sINNtmq9snm7zgmdZ/a3r3tySNN17ef29cqN1ns8ncUNfwuZG9LGrsH7Yb5WXINC2Mxj5xY2Y95DOozOsTcs+AKwZ9SwSRd+7KCPsOafK31MMHnc5rD9Q0TvyeZSBna+aldL3wVKH2/pv+ikCfDotILh8+H+M6E96IQR8vOxivb1jjfhkz0QjmccczmS4NHMqCVArnlfV8PDdXI6EMLkCrwEE6YExwe25lUpXKRWl9LMXTa2rRWA134B6YuUhyPG9Q+AIvpn8IMa2Rk5afU6xw7WZyUDhCOgPZPYhvHbeUl+ikpDSI4XvjYNZJ6uB3hN1ynW8Luy4UW+mM3NAA2rjY/83viq9nRCgpHJyQMtuNJ93L6xlyc0qomNi5oT3OMcCZewdV38VOSx9QDpoxl7/dhdqhkxD+SBRoH4bFParzJJZW4nqVasQP8rr78xd1uDEt5N1Ho0LE/dZFiJ0RPgVDMJOody+a3Ud4tizPBKh0SF+4L/CWA7LWqAilWcWaQ2Op8wclZpZJMz2fPXCDzm3O+O0C0urRMdhtJj2lNRbaRrLWZw9+856LPkBfpxbkc0V7Qf69UBMOzT2PbtVKm9gghLxbLVpN9pr1sj7V3hrO6MpPkBF1kdJVjgqIwhSD1h8rPtjaM8VKaePBerVO8xXi5YoCUlVtp9xidKhbtx8+zW2tjRCqnMhLymalU9rx1qbwYnAzc+vEN4KEipfcLNDIans4+3INRL2OrRoZSJl+PjXVLbFL1FFlrZfKFGeuKW89Z++eltbPgJV2vWbpQX5LSlkffUmpFQW/YF3PiFAo4PzT/7n7348BcyChGaOFT7wb7MJeP11h9PeGI0tp7lGNWS1mUrMzPHOcCdydCz23EqLYwkdRPnNIMYpA9t3xlvRg0St0HGTaUilI0p1V0jwHXlcD66Bow+c709dmizemdgqMUotOP/8a4LclATh/vO8nH/HqF1lwpZCeWv5hkYIFYb8AoOQKsvLw6fMkHFxLBZ9VXTj1y7h6E+4EbbFXtokPKHyScriW0uIs1m81OD5NDslJfZ+aCB0bNLxshHc7sW7GVtsE+mWDGUONPziSl6uBLSDNL4FE1I3Jv+NGJJAwwBzyDZqV1124hM5/tGhGc1a8z/E3csxnnrIicMB/ItYIpLvdGZtVDE/9bzDVyui+j4KLrC+prx2g3YVZ3Dt7wa8orHnWdib+MidFVGFG8dCTyYDLvT9S6XI61sHnWrBdLbtvZ/trlwTBE3VJArfFs0CQ2sx8dozYuMglnHDLb14+gXRCcHzuM2ZFZsNqI9Zrzf9cXBxULDsTQOMDfkYRQCgQTzmq82s/EL6rlZGD/64AsdO71W7Eay2EsmyzaTH+KYEPuKzNcUfn68SGY0W9/BFjogtTjSwJ1DTOjAYtEOF3GjLawnKY0P7QbyENtJpX2XGVnMDUUxCDj2Js6ujZr0ywgVHedI3YA8nrXc87Bz7aciZo6+yQFdCcckmHl7IrGtZMz07XOLbp59okuXKWgw8HOCZi8xGYdLz5+nBE/N/jNJuHDlATULztET4nTvdasL5ZM/YTHgeYMnkbRSfb9lLELSDu8I1wohlYMxwNR6Yt0tynQE1ANYIyYwvel4fNCi90AAJ8icyugGeUcOMmHj9PRV0jfTrF9ImEyWy1QB/osNkWDDeNBdywzOs8cusb3DIrXc+Q4UXDCepwNVZMGcpCTC6FTnNLOgVxB3fPVwR4YDWVIWTCRDP0a9pFTT+zrUZ30wtcs7T8xud6ygdwrRn6Huvy+WIDejSgIJrnujZXN6o7XD7w8SlBxGFXFiGR2fgEAQ9KgERW+Y/4VHUfEtAFFVRW/fKv5O0W1KbAy8OCh6jm+SaNlyzt9PaoR/n4m5faeb4kYnHfma3l0zIXVVkA5on9WPSBzMxQQEktQjewyJqfInrvo3+sPceQiyFubW+sn2EvqtsGF4a4Z2CGwW32yRi7S4g3HwNha0n76LKJ7+VhoxQ3PxtUzYAC20NjfrwwngGkPnfeb5F2/KlpwHDHja4wUdOfDha8VvMZEOlrYpmdw/TjqnWcVsIFPw39V0T0CMcEfzYc3Z/U5uhLk3jf0si9MNvSCsRHQIUHa49g2lsrNQx6b+9nvU+t0KRqm0pL3Ac+7l/8YNWFD72d4lWvApi92Z+Fa0+cwHBvysJ6/4Cv4y4TWnm2hKFwDA4xOBMjmPinA4JyWVByUZ/IZlIdVV8tGD/NQ8zxs9XE55VSP9+bME4OWLWGxLxUl6kcZa1AtnTjGtSAk6fr8W/TUE62V7NTZMsfxU7NlAAYU8H5iM7rD/tw9zbNqGK3E6axVMc+IzAYW7zyS495Xx2dA6m+hPLQi7e6bJXJH9mkfSfEE441PPuKLjXIr5JofS0lO39CTZ8eSCm/0X0Rd/7qdnkOHW37Ov2lA7lmsUVZKBp25vQVz7LLY7hOXOw9EWeGwswW1/EWwB0bkFS0C5WIFwGmbo39ZKO45ZpqACgU/0LqW456ApCj/Pj61decAfcu0yDMxFQJgyZH1afELAH7HMBXGwOuh45YleKGzqRl8xZrvU/j7vcLKhqM8BTemvHXhnFMH+fT3bRWnsjP3giSGpyQ5B9J+UPsKkLyy681a1p5HI/DCThqMJq90VpH7suiERemaTDZB2a7BoMxZ3A82VmlxKYvxdgXhd4Z/i1wAfX+4EY92lDDTDYbaKRCNgiu0yv+16R1IvKN5TuCMF16NqR8TMyGF5qJ4grdwSRjS5r2GDNh0T+A5M6nGbcPzUE6MMQBSyK0OYIynfvzxKs3F6nfRSMCeFyfexcHUSz2jsMT6VS2dgz0RRvdiduYpHIZlI07rCxNEup7nUolj1l2sTj3XUk9xdmv86pzc7Q2R54eCS5CvSqR8Ftye97G2ycTFIJP+mh74bcMqQS4lPLwYPSaeNeGH8XPL03B8L+FIyKNlNzCJibG50dCqne9u6vzho6HqbfrvhTH4gZ84U/4brno1jbFgLrStKxFTGYJJHG6ytB8Zfen2799D/wDgl8TgmR6NuAIFIpEFZVDZBwuI/erT41RGLt0MU0p93KS+CEU4ocuGP45xhVIXtbaRtTRa+eFlphoMnfXGXAvfWeuzN4kl5Gl+hHCZyKt7Kcf7hXm6tudhbZPaGQDhRwZ+gDJKj99IuOyXWvhC7ZJiLgL3OWxtaX9eZCcgyFVDT33tRnMhMR74ikNMOkeec7W2HQ1kqy+ANW/y4ifCsRf5dGtxoCuDMWnbr0UG62tG9I2TNEARV0rpfpUyc+A/tVqr9IUPgsl4RMt1db4I1beLIDzNSvxXX9MKDGPH5oYXPqOVjvLzpZKBLTKUIaKAcnK14/jPakoxlZUuq9l3JxtpUJtKXE1c5csIH+EzKChVFopk1xpHnJFKHkdflSJR4lxRBtBJA614XeatFKSznniQNAyAFcxaVnyBT0mG6P2kksJuFgziSDdn84YP8UNs5ilDvTVurQAtB+leW8OIH1i+Zlgt0QXXM3zZ3IGgmmeOWI2DI3wuQBySM1YbtJ4m/RUFNCzazo+MgquIyoUh2sS4o4QI8MzjYLYJ0ChZZutjn61pYRgjgmGnKmUQCzg8BIi48IGgl4hfQ4JdP47ypK8XbfGDmvBVUji0X6AtYbO+R9k/9w8l0Yobf4HIh4fFQO5fTWgWQOOPSqsJoYqdqxwRibHDY1Tk6DO8EWwuPN3MP0LWUbU9Zmum++A0DxT07uRqj8H9JRVFcINJqAmdhdwzXCUyg2Z45ThXKbl204IgX4SsjGm8qRiGqdPiUmFIXL09cXnxqlqFhdMrVsQzmJreRTF0f3QdL5A+RWVEzMEHsbX5hnntZfTSxwIrFBuZEIGN5Eeee+Wxhh9+HrLbX+NZXCEFa7z8OAEX0gHCRlSGiciCSmFpJ74nY4DnSLO+WWKsT5vwLjro2AiBjapVUTBy92LKhlWbksiLhfSaXmkHixQfzlx1oS9+/p5AehzFiXsvFIkAp9FvZbGXMlFh02zYG2wqC88zOa7Je+D/C6cN9JID9R9+31rz8D3u0zlBrwFsKgKdMOzMUnHLoTdQv6rnHv6im7qlUsysYUPUGvMnH+TjFOhqhm0cxCwwFia4p7Zc00DLFDwmNu81X/YNQLTW84IqDl1QcQm8Kmg8qFe8kMSElQbOzr0746A8IKl+2Se92rHNLm90zxsG7N8G/KRrgkGBRsfWOv7nKL+mf8L+aI32qFM8qzhnhPtQhVFTcAkZ56h2ct8LNJx8usV3zk0x9WV6Tub25/GlAjgES4fDgWsw0bQXEdqWZHVq0La/zhNUHENjUdVPptdQ+4kbV/r1oeYx+jOPfoJ2tcmEYEqy6j/1wWBsdssKTTOcGXtja86BBgNv7ZPMfTHkab6VhTA+Qm5VKB7m6nnV/TtG935GgMWZ9nznuOjd1zAQM1fdN7JAksV9BCnTVgJ1fTIygTpD56zs+QI2cUI1AE0Hm5GTr3hoqJUo0SE5ZbPfg0iF9Hfv3eolAdMsxiLWYWOrWFXZylzTjmdutrhn0F/WDoxsHOYPWVtwbGG4np4FCNLuXMEAp4jGrsuHEnSwZnFmb8m+buHtbaR230pLHQagtiB1rzTfl+eh6h2NcANrbEhgDo0DyoYLTPnzGNDiMohS/+5r0tE0YCID+lP1nuvDb8J8Q8q/vxvm1oY4gBifeTVcZ5BEwj+5sB8H5dyJAofAzHiYJLztZopyR5rxyFkp0tHs/N/JK2miC8ZpNgP2R7eIGnphPaDUuXxXvJqD/2VnwvPdvODR0tv55oPzCETeJ7Db4SW0K/nxjrhAXmb2Ju+gauipvIZpHIT66GG15eDUPOWFwWd6HF7MIqw1FmjvqHJj9I6KwzEuh9IHDBNd9mIXnO2Q1gThlHJZOoYkUwf83ZXawfRVwQB5eB5grzYsSHDHv5d5PfLNkUTyItpuGZ1Zq8xw/yc3vdkK0C901hrwxvOhWRKWnuW84NceClzPu5pUPibB+wNczlEuwbfInIu7aGCsX4YoCaaTPyXL9X1u6KbGZb9muazF0B9S2pVDx8yqcmVCGuRtPJ5Gogsa7WzcQgLT1pxVtJCHIxWFAHKSjluyYor/Klt+IPsBwZulmV57rxwN4lP5av3st5w58untAk5tBsZXde0HUynwd6HkHTgoHPSLvlvY54Ng8tAfX4fxJSzxGKw+JgouvtJ6HHRR2yBbJKZUsrU+m4uSQodUp6a74yTFtMW7lOsxcwrV3dH/ZW25sWMD4B3bUdDDLIcE7zP4/s5vaQw6KJS/VGYbCaDrcjs62Yj5VJnamtq7x/gYLLhjW9xUx/jwCa00G+eqZMBpJy7YcYtfJAuh03FsfmS9zbTRhXm6esy7fsnuI/IJ/oeKwsIBlivi3YFj9F7FgmPOP/1JGc1QD8733YTEeTLmh65NzzCHILrgRpYTRzZczRAXrQimOFYNcwEboKqu9AljX38lpfcRitlSZ4opcU1kFV/7fRas/xxi34rChzxvMQFX2C0zN+nf8JPHoDEJyYCFZ/Ue7InpeU/3BYKj1N+68o/+X7KD3WPVjWSq4UcRHoEhXDObpB0LVIY+tbGaTYzlCStJE9aPp8yQCIVzvWlWmNhl3P+LOsQOvpZZrn2jietKdEd6g13EcWwIilOLvepPYuhKj/zHXtUvwIw5874xzbb1yWYJO+/JI84NagMAcLOsE24uq46cNT50uGvFLEObHhO6GPgzGF05HyE2ESL2HrfKk/D3ln2VVqVW5+R1q6OfMzOEvXT57gHsix5B2LGyAnSBLMvZRuxv7Vgg7KpJRQOSnzRMFFUuz16MjYauZnLNdvcYlu7SuZMrg9IcHnnoefFmBEeO0JcxuRpM0HcfnDQPBIBZowsKmYBRemY3gvoVQ65pm/m9Q71G5KfKviM2Rs2jbCzPLfpHI0+iXoWODWvbZVB2G+nGyaM7/yPhsCT9QQo2pDHLgCDrODGSdZWZMoLCjdVVriBAReMwNQw64YgIZZ37fFwZr9MikgOnPzgnIT8M9JwRoxs1yOxPojFXho25WKEgKLGogfgCeNZCtgTZdm9kZ6zvKmPYjqffUUg2+wkSXZrrYDfrU8sczxe0bUherzB4+I7lxGXS6vW12AAzZcegpBRrzMx9V/usZ3YFx8eOQPac4MwPNbDldEvtC7NWPbkqHL/gUXxLxoHrotbswSQOM4oHLRb+w8VunnsQsMYHyCo9AVIjWzFjd7wS13bWt5WyDoyClakfJM8lly3u5wf6tN8O/+dVUDWtP/bIDDCFtWYa4QacXcAVCbgYYT9uhVkUnTMD9aQAQ5k0m4PwgefpGTjGNCleipspD7AtIJBVcF1O7k4JAFLiFYWP/GbWkDeJ4b9CM9kqV1Z+7eLQIReSMhWBdHso3+8jAm2fWWKsKltx9PihReRYElKtehwEFAA7kG2Qtio27otlta9sahsZFAs3yQO3feGkEXGIb3vrC1YXIn5UCr0esCePTkiPsqn3OjmMTEk0CN0bduYeK36ePpmT0tp9U9x5tCXNOdMyIX/Wnq4jzd9bL9J5d89FsLwe2Q0njNgXtAlaVckYhaZev7KPeRaeshAw6d44w9QiUQFk0fL62IZWdBT///A+xL19nONELK5hJPTNtUW3PkvLaLn9hJiVL7VXBaw/pXfyo0/Yh3yVuoldgTv1oDPBA6SYb9zK4temZvNfgNwWKWFLmxsvVW/OF2HevsqmrlANF7sylELa9kdOpowWJfllNTPND5UxdPLb6RUbhi66zcuaidV8FAvdC4UkR+IA6Ut814OLAVWEJ3g3jGBGzIgC84YOOVriRONO2AmwIB0h/mK7sjVKH94aIblp/LVyW2pEp08imyHPiiUuD7AyeJX04Zmc4CHpbNOQdmaGy2eswVquaqxH3IbAzKrX6A9FoNGu6QbsBXfrQWrkPaJEN4i3tmf1nl+Q3IUoKl9napTwnxGup6xWt/29u3jtg7P/8lhAwJwx7ZlGKKimBs1oNTspsM8eHiZjz3TtCGNShttL0OpXMiu0tiP71TqfCHAT4rteW+r/CizwDS9+awdYNKfx2Vb6kTiumKVxAfDPBtqFlhaZDmoLldSdZ2W9jTdaWcO+KmFmrG3IgZrPArpk6J/2U9wuweXJNY56/ggs0LldCeHM7omweYiE4SL8O4J6p2Y3A5w5MTumzymyiqQ3c4v3gIWSbdB6G9kyJzKTMXIu8psVGlh/m3aCPHxyjfyVJjnFL4czmq+FqMKebhvGmrjyLCUPwyLkgX7pIbZFlT280ZsT2U3HCqi8W1bWDKcjR3NyfBwzf2E7mEzPU+5hLuRSvfr1Nf/y6Eso/afeVT0h6+wI6A8w0c/K0OCg5Eb2HuSpLkoPVNJcYKP3b7sE4MO3In6REOGJ8KiHoJZt1uH7k0wQuWZgU2hPXrFckksAltrrJ9rhHGFPHO7ckqYZ0NgK7PQEzUg468UHnr1j7pOGRbnry6tABt+qICZFZOBnFVVYWLgEaReGIRIXb5XVVwp7lia+hmeF15OhMf/mfpW8gobs2mW3t4s207ELQgdyIq8JZFvuOE3W1IzpkTOnTkOrm5WX/fTrLLVj9KKTRJnZVlcl+N/zROx/vlzGHaTeJj9sBqs9By7Z/BnILWzTAIpHVlAOOUKZJ2CcLusWA+VHmle3eG0qlmkhKD0v3tabaiAL/Jlyd2+FrhK6YdW78Yp+PMzh1cs6BueJtdRVeagIILaWqGud2fsIs71EsKzlOSF4fh3LCCFEUpnbUgbHrvNdwu//i6FLfJ/qjRAxQvZPfMhFeQMrMvDO7yR4YglLccxyZizgTU4wqZtgNXccDk5P8QyIAH6Wof2ATp1+W7tZIHIWGhUhVseTka9cdQUeR2pOeelOeyENCa24+Abdxx8rXFdGxMzx5iTFwiAfTazb9BCm5hWhPv8WxQEl8hW5JJjX8paVB905w7AX+CLhePGEyja1hFZQoq//+HgJPRjPhoyPew34HGhmZBnsHjBCtPF1l0UjYfy+fQpOtBVw758jpQTONfL/9Wx5JBtgE66E9TZZYRDgTjrrEHLUL0YgRr4RABxX4frqrGdLFZDXuNR1Djxtcvh4PFIl1nZGu18Zd4A+6Q58YBfp6b2Rg/rxQdx1bzb6OL/fCuVGPpFLF/yxyU9aceoeeWtGRxdYcDmS5Sn80rTPVxnrM0bPqjgNxo+GHyeZWxNWYxDF1XIgqMBM2BvIAfS2v/hxo82XAugVz7L4TkOa7+wAyS0aqlPA90Fy5Q27PsvnVk0nygF+WePNiRKKdvOyJKbhJWuPt/fwpv3f2+7T/el8PsjwkyWEm6/TPgEcrAmJETMHr+h8a39/I6bG0hFdn9NzbikgbOb5VW5EqpKzs/rxQAij99g78QN9PbuuY2MArh6QvPwNq18Dk//bHH95nJ4fOIeImWTXdgMwKaLpwIMc+VXzSsNqk9RQ7/VbMUqiRVC6jReIWMXM37lJFTa7OXoMGo12CxqWU0NVr8f3FH76NJG3sQ0cDFQPqUEotPOzLQ+vktLr/6iIW87Y9ZKSSghLEpGTsIbvhmyZA7KfqbxGq2Gf5m1LhY2ow+EBGTYBpq3wGjCowL5dlwW14a86XpUp8my9ojkKUBcHfK+cXcFta3Nn1LdsyGOUYo3xildS5TP7iU/V0DZbp9Bl7Jn2PDAMbGkAWKaHNGlt3nOXe4ELKwF5QqRrY3kdXiQF7ZqwTY4IBlA7VpkbSM611sIMio0KFX+Oxb7VOQZmn6/ZH+E3cqNJ0Kkf+ivoeNyjbR2PRx7sjZFxTR8pnxnOKLFmdrLY8u0hHPMBPirSoeC54DyAr4lQlsGg6VY3KNqggIOdOFOfwtUge9hJaTy4X978ql1C1r2RMj/CBM2u2soX3Q6nQq90scC/Jo0e6jCdHTjJUjSiAsBieDq7cEhz3mUuCsbaXMd4n7Jt485V39Ih7kGwJZ6tdgsS+ahTQ/2RUzIpH4ygzxFpwVhTCvSYD7oFKwGE0fAAzp9fxlD2nc2Sx8Esq8ZKEVpS8IhtL4fIRmZyZgYNu0lpGJ8CWr3bw3C6ZQxnPDlSOu0+c/9tMuIanwfqc8wHUk49TXopp5nLA6lmSxMQqQQjkVWL8ekBQ9FR15KTJEecMEw4bxQ5lP3gCGzWWl47yj3k96m9x3eir2QHQTm5pC9CSiedwx6Bte5MIlQ9Fu6hQi0791NrmiUo1itLCEZI9TqECKL5ho+PT/lCIlMZWPJThjlYJyMSHAncriIFh7O56ueqi+vLlXWccZ1ds/qwlZTl0TnFEYnIz/sA58lg8OHZb3vPLjSZcyMuRg9ib/oua/OB9LVFajKL0f/m0Lp3eHHJM63TsIVeoz57SEJQqbBFhC3eF5MVpfCqwXS0+7Qolusq5H+iy5GjW6ROhzW5U+14=" title="Mekko Graphics Chart"/>
          <p:cNvSpPr>
            <a:spLocks noChangeAspect="1"/>
          </p:cNvSpPr>
          <p:nvPr>
            <p:custDataLst>
              <p:tags r:id="rId4"/>
            </p:custDataLst>
          </p:nvPr>
        </p:nvSpPr>
        <p:spPr bwMode="gray">
          <a:xfrm>
            <a:off x="339592" y="1278140"/>
            <a:ext cx="11517446" cy="4898923"/>
          </a:xfrm>
          <a:prstGeom prst="rect">
            <a:avLst/>
          </a:prstGeom>
          <a:blipFill>
            <a:blip r:embed="rId10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sp>
        <p:nvSpPr>
          <p:cNvPr id="12" name="NotesBox"/>
          <p:cNvSpPr txBox="1"/>
          <p:nvPr>
            <p:custDataLst>
              <p:tags r:id="rId5"/>
            </p:custDataLst>
          </p:nvPr>
        </p:nvSpPr>
        <p:spPr bwMode="gray">
          <a:xfrm>
            <a:off x="330199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buNone/>
            </a:pPr>
            <a:r>
              <a:rPr lang="en-US" sz="800">
                <a:solidFill>
                  <a:srgbClr val="000000"/>
                </a:solidFill>
              </a:rPr>
              <a:t>Note: ‘0’ ratings haven’t been included since they indicate that the employee did not rate the particular criteria</a:t>
            </a:r>
            <a:br>
              <a:rPr lang="en-US" sz="800">
                <a:solidFill>
                  <a:srgbClr val="000000"/>
                </a:solidFill>
              </a:rPr>
            </a:br>
            <a:r>
              <a:rPr lang="en-US" sz="800">
                <a:solidFill>
                  <a:srgbClr val="000000"/>
                </a:solidFill>
              </a:rPr>
              <a:t>Source: Glassdoor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0BD32B4-4100-B242-BEC7-B490D8C2F8C8}"/>
              </a:ext>
            </a:extLst>
          </p:cNvPr>
          <p:cNvSpPr txBox="1"/>
          <p:nvPr/>
        </p:nvSpPr>
        <p:spPr bwMode="gray">
          <a:xfrm rot="3048423">
            <a:off x="11431924" y="190878"/>
            <a:ext cx="914400" cy="257369"/>
          </a:xfrm>
          <a:prstGeom prst="rect">
            <a:avLst/>
          </a:prstGeom>
          <a:solidFill>
            <a:srgbClr val="CC0000"/>
          </a:solidFill>
        </p:spPr>
        <p:txBody>
          <a:bodyPr wrap="square" lIns="36000" tIns="36000" rIns="36000" bIns="36000" rtlCol="0">
            <a:spAutoFit/>
          </a:bodyPr>
          <a:lstStyle/>
          <a:p>
            <a:pPr marL="0" indent="0" algn="ctr">
              <a:buNone/>
            </a:pPr>
            <a:r>
              <a:rPr lang="en-US" sz="1200" dirty="0">
                <a:solidFill>
                  <a:srgbClr val="FFFFFF"/>
                </a:solidFill>
              </a:rPr>
              <a:t>SAMP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837244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2" name="think-cell data - do not delete" hidden="1">
            <a:extLst>
              <a:ext uri="{FF2B5EF4-FFF2-40B4-BE49-F238E27FC236}">
                <a16:creationId xmlns:a16="http://schemas.microsoft.com/office/drawing/2014/main" id="{7D263395-0BDA-3C6D-401F-72D3C8F3C11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592" imgH="595" progId="TCLayout.ActiveDocument.1">
                  <p:embed/>
                </p:oleObj>
              </mc:Choice>
              <mc:Fallback>
                <p:oleObj name="think-cell Slide" r:id="rId13" imgW="592" imgH="595" progId="TCLayout.ActiveDocument.1">
                  <p:embed/>
                  <p:pic>
                    <p:nvPicPr>
                      <p:cNvPr id="4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D263395-0BDA-3C6D-401F-72D3C8F3C1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3" name="Picture 102" descr="Red and black diagonal lines">
            <a:extLst>
              <a:ext uri="{FF2B5EF4-FFF2-40B4-BE49-F238E27FC236}">
                <a16:creationId xmlns:a16="http://schemas.microsoft.com/office/drawing/2014/main" id="{CC4C7BA8-E1B7-B6B5-C836-8811A4BC3248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-3360"/>
            <a:ext cx="12191999" cy="843464"/>
          </a:xfrm>
          <a:prstGeom prst="rect">
            <a:avLst/>
          </a:prstGeom>
        </p:spPr>
      </p:pic>
      <p:sp>
        <p:nvSpPr>
          <p:cNvPr id="14" name="Rectangle 13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z2dD7pS103gZfJ6l4USC3jqtWOPR/ue0umjYEY9KlLthURXCUyUuZbmGDPUXB2idlVQc+R1c0j6vNnMaKvr/Av4s+tx7814fW+hg3F090zVe+FM0DaB9EkeJUF7r/8F/9Acluv2lmvqZTUruwguLEYfOOIhhfMd7N57tzla9XblKGP7tf1cqcpL1c8SASMboSDn0FTtdUPxiHTzd2hPoC/qpdlIKeuDNi7SmN1wnGI5316EQEehdEXrkOyMikbseirXNKPmmad1TMEr9azTencpenmt+9Nk/0v6mFHFYTr7q7MiUip+2DlpTyrnj49qFeM+GsXmeulv2gWhOa1+VhRyRP9NgYTffs6H8SB0nyaAb11O3NEP8y4cd/oxgj0WxBFpR3tvELMXfaoptRS44BE8E9qc5UiC5es5lUDL9dAE9W3OlnV9ZtBYJpzaIzd/MPtsc2d2OCjKeIK2q9xU6Z6AedETNgKDqXthhH2lY9Ob53hvlBzo/s1LucTotpJXs6BJ9OkdxxCTzqlUvC1ekGL1AldHvVZgLsfgNRqQKBhOpbG7Hu0sRZRFybQaMoa8FLmH3nyQ4TJbpmDbCc/0lOof3eYRaGg09elaHgFXUZbCCf4QqAzYlyznqhoOO5OA3VVLcuqq+Pw1q3uwxaia+IaCmTvzzEG+Gml6U9TLZCJNQQYsGqiXtBbrGdK5MIKKvvsQ0uE7QQpiDi4CA7Ta0J9F6C4gT5WcmYBvBjj+M/n+Hb0gv+y3NUUDQaM3qGb5M0Paqbnn9m49gCzRXbAs5mwo6ZlPm1gDwCs9JAUvGdcaO+CGXNaYiDoZi+K2RwKakzlFaQdm4pArz7x4//FNEYyi8AmO79D+SoQ8J3Q1e/LtzN6DIYPQ0IA5Iv6MUf66njTHqpHcDks3p7TSyWOQp4y4XIgF/uVIoiEwY4ceI5GmOcSiwHhPlp1HzRrdZ0chmIE4OBybyuxG2LKWQ0BhtPPZeUciXkdR6Kpsbb3kHMfmVNBf9KDqjcfvIbvyzqtMBV6YJwGAAKuxg1+s4dzVcgLg0mEeKbwVCqHxVaSByy38KVn2jyIpA72p6aOBuIlOQEKcyTdVFpJWea11hFRLpRIZREIDWXH58rYx+pyuZAHPtGRg2RRtkpRXFc46SQbElbdzAO0+L28K7jzehtlnQlekNyO6zvUFliUeMq0CgHuRcN3E1X6PxIJr/y/Ym01ib3gYGavOKDQYQAzwMu1h4rhRbqyb2QQqyK71CuQfIUojlKl+icunKDX58idRg4nAefoDmhXWWm3gE0y5iV3kwbmIAv+M3bd8zlg9urZ2rGnFBSv9gLM6lmz3LK+9toTcqIosq2l/t6qVB9WjcgrGw/d96uVckFA5/9ndFiO+Cbmp/gTK0aZr5ZU1YoHrPvMDBhydYn654qP/NsArBLJLM5fISkE5UMMDodojhDD7hXTIiTQ8CcG4Lve3ihmFmo62VrdSZjabIUq7FS7AhaIcfupXOo9wKU39DdPMxCpPLYInSaAD1cmHl6w2RXh7yhvvhmjsl1zMoroJUAQ1ecAoWBRGFC9xP0zhORUqINC6RKiBZiI690G0Taq6shgMlOPKabljQvhSGfbvAlQj0ZxR+0mFWEMYiCQscPfPeIKJrZNcaI6YYN/G5j+qZECjhpy5CegT2G4U80UFSF1kjSDowZOzTiTQNT4cgz3F5fCAFbAExPgshlaOoithKS+ps4AWSAX7VgvmEsj/B/iNCqgrmtfcYsHTBttAz6GeblLWjIKcp+SskZoUp+sLJnjr2ddlSOjL6nILJ/7idk+Re6xOItxuDO8r8a856RjqwLT/FP8fPMYlMsN+HFZ0mfG97LZ/ve74432RmrfgN5bj2u2z4EGzeqffUO9YtrdTCsVgBbA4dy3hV1WuEwRenRIv+nNjgxgr5FN20JEgZcdO3k3fwZv0PJWlzdBv/SCTzZT8LJKmsQjtLKUs2bcE6DWzH9cpD92/mIjOXb7NviFKjLt1ZyLhTk4BTMeLAberYOfHaRVnkYbu+bTCwK5b8Sl1sletW/ZzpUbamPsOc/87BMKsCQt4iTC1MC7e2rQM8r6WGii8Ed3104LPsBYV+pUqrZ2n8egHaiN9B5RyuUtL0x8ri3h/ZqRLgBNtESTqhtiuDqECqYy6jucDWRStepSjnIzUabeCgzR0dxrCySPpN2g3eusHBWCNhhb6D5jiSYtq5bnFlmH+Rhpr/MLcKTXGstWndAK1FUKKtWCc0Ai/c/9KdGxlnn4W/t4bHKg9+Y1I+nkhmZxNRWWZIMxh6NsZut2C4FxuaqB6sWe2L4H5jVWqPIv8rWxC/C0ywGnsJ1OXNdEMHCET3llPoGGEEp+c2u1jhDtq389IFq/xn4SFQ0Gyt7ZEpPyhYswvDmjB0aBqdmOlek/sgppTimFQitZkQ7jbjIANT0WfrJS4RlCrgF1vX2ludLgL9b/3coxM/rz03Gxlxbjd2bY2vmsUi1W94LxfG9XZnmliK2pcPt3C8AL5acWozZhe+e4VP2oBJCqdvGBn+0gb2UZa3y+CRBBZNsamEvD5sy6qI1J2Wj27LIbJ3n/NOcAHMSctUAs2V39Jp/ZA0QWE1S+5sj50mA26IJsfIRnQlZPR9fmIzvPWGfjdiR7b0yoKZqJcosHw2v3DBh4Nyt4AF5XZOiHh5tk9ZrcZeJTfgh1zCIxiAcCBYY7vZ357vjqEOmGhP2DJc6T8AtXSUSjuRVCWqpoTIZrtpo6KqzkF/+ylLzaZnlpbRBm57ap8poxhBbu1p0vW++IwgZ1/zW5n0w3XH3MU+wuRFyZAroYuJxDDsiWsQgzjBUeNpeDmrtCf6MgRWlzY8kZUQK1MC3yfXv+sYDM1e/rswyR+aeol5HyasST80egBOanp/whJe2EPROlD30RpkncJRIVPpxysJn49AWGepoGNYsgp31m1/KRydrHYidaeZaeAopFGAtgpDcJpfrEepF7mMwQNq1JmYQpQhxz91KSFjVyfnzY8wE+aoDMOEt211QnMaBEe7YKdvfMT+0TZEQC3q7DPVNR78ZVVpnsZqUq9FCkEhe5F6gGJ3/tKNwIh6aG1kaNOMq4fymGDGK80wQMZujRdiilgDxqATvVURIN7B0hRJ/tpRt0kjjJVruaymaAvB+AKxoX1mhPwKmi1uEUWM9X1sGNwOLKJ+87lkM2w79LuuuqY9nH64dRNpKNd5xAmipwex9umIc7NFsvEU8bBSuv9Fgmt8vf6+MMTqAil3KnwGPfA5VxIM6INYSGLbT3i1N9DNFN2cUk6VoemT+N1QGcxnZXyaAn8BGmEBf6fe5TIQskHZfqtdjz2WR2G46EdeymxKIgopN7LYgaklAsQyK4Ku7q7+67NdHcnVjUvi+ZQRwuRbljP6HJHiV0/sAk2TERKR+xspdsTHV8LoP5SrTDwdP9yGcXIWHsvAhzfWuEVaBMDMLhMSI1xt1uNUVYBTPq+U9yFFf1340E28BlH1apfUXYp2rIhpzs3YsVkLrPdimT9O1BM4sP5KwGcdTkCJZhaLp4XkRZfCHoDSDwYLogwkIgdm8Rf2VCG5B5VTwrCPPp4GUEpuy9C+h6kLW8Zvf/855izUZ+Y5OVZo3rL4ayO4q2on6qihY2S4bJo/sUhUYSX/kx5RtvhS3qF926Svi/RKOdX6uj1+3HOCseW2KfC4Sg0lHWfevlSg5K+HzkBnsjuzxG/mPdC3Oh19OeCeFgpFL/Qjxcuq72PyEwkqXGCrP5POHd9oVFsVBOj+bMWoPwf/8rZtNduRLCz173IB/gL8OfSTOYMFkHcWU9qR/QI3f+hxgbWPVUg3u5u9RiePq98vBhoeiBAtYpHS1ycXM95iYtuIIaY8kc8RDG4AjXI+iX+TM2I+gaGUmdnujvMFOjfhL3xsVe7Xe8f3EIHwrDx+m4//3NTg2TRSnz0/YNDYMnNldum3JwwZ6Lsbq9FWjF1XC/KAn7wYrnstqEVtwVhCNYFO9IbVWbtJsaBMb6OnYbELJohEybqLmlJZW0RwXR6zmR7E9dQymx+ow54m1DjVlAnfPE8ZX63iBh6qJ1PeXfy0g2hYLB6Q7qP5zres7dgU3dNl9uggwi9YFglOLBtVwhPRO6ohKQ3jWMJqqsttl/0GD83Lig8Z3qSjAbqn9QYrUuV+a/NJ2ayX9nCeXmN0AiuSJn7TbChEHks4/3S9ZRKg1dHo4T/XR5o+fd6UAdGIjYZwqwHkP9lB+hi9Kq26+5rj+bYW/jeNDhOHvFYICbVdDaHM+g2H+D2HgKwYA69Z9j+q4g/jrkWH6+xfoYCrHPWyKhWs3kGT44vFIxjSq2rAgoIETfYS1s8rSxkeJporkjfG9+itNbnkQKH/t3ZaMPC1shntHaTHdFkKZTjehzL7B3W6SobvgtZdQ4iLTnYx/yW97kwU7uiBM8PV8TWfDkki0e3qgJ/AQWt+S+YIeA3krro8nq8gI7/f3743Tb0JACSVCkKs1kbMXmS0C53V+Q2p2km6lqamjIa1wWJ4GlkKVMZnNNWJL/5xsp3Jo1oF8Hlaizgddia/u6N85L0mT2Yqp03QKrbW3wqWEE8E6Saj28baSie0pYqHGkutl6WovWapuRNqBTn/fHsUIsJ+K/67eklvSESAHWEw3lTt/RVl/sxrCmU7W9L2aaHF5cSADayJWIvQ/ugMkgpC65Xa99KIE+2LYV10rUO7JlnmROeoYe4nrSm9EdAzgiTmbxW54ibs/FdoarG5TQfYdUADbQqR7Mp+kAF9oEhLgsu7Jx/KilEX2AwUMZu6Z7gYY+5JGrH1afV5dB//UlGrapGipOnq4fgfETWyQw3pAz461Lz766l5x18lp/G71kGX9fZUGqRKe2vWyp05OD6Wc7SYLPe+weP4TRgLaHYktvv85LCdrY1tS3Bk+TEw3JmictgMXy0t4v5M1ziUJpHKU1mV6QhM17Qj4hmo9ugvyNJT+t7ObI72hl33fLBG83pwlmD1ZuYRII53xLDyIkmB26Obh9TxvKQYKiPsLTfPK8zRzpAz96eKu40BDmxlvq6SmpviKHX0scYSqcsGCPwULvWCtyPtRpFpRMrKjkKpjEP+jpCiKKZFXEf2oUBIJifLGfpCiFXTpch9Ky8+cP0b5Nif3DbNHiDD6yYV1EQZp2x8MbnSRXEq+4wpI/cgotG0Q6sOx5ZykLDLY1tFBBd4HYCSyGw5LubAxLifS10oBMaNt9tZiofecMJdzjZv+vnqp3sKymHrhpldoR2QbVeHdzWl0YRLH6L+YmOA1v7vOl8lE9ZlVoi5vIZWbHhumJN82Y77Ib+TL80cN2saBXZjc+zEiWuQnmRGY2eijqQJycVhzmyESUXZGf5Z0OGNXE6S0e2GY/anWCkD/SPiBtC0r71xgxaQhIkiW0/d2sS2MbwKF67Hi21tZReAPkyD4tdec8+tfE+dhL+GToQTSN1Ar+ulWgg/BatMPiDr62O0RMa6mXjkKwHU5TzOO+r8TGJs3m1GEUII2fKOOguzaJmrr2qEQ0t2CAeByWQgSEKyEDxKuuzMyQivxBSbEupf/wbTY74BdbTq1TP3ZlR49feEluI8YRjIvBW1LOo6dv/UdbcylPP8/uopDAnPWCv6C2TyYBH362rPwZhbEVAxcN7Mzx1R9G7gxgpXgHW/rkWEY99EEF8sn9qnNiZ5NFopO96kfHqNyjTLVJkox6WOpczX07EV9M1U/9qPbAFFoD13bOBi7scF8SMqbkBZBennX11kAR6EYq/v9eQtyjls/iqG+eEoz1FGZ2XEn45/NvHWOD1bXfQX+YXcLRYyH3K+K1eRHLfH95EMDBpQTQkWHYf/DkfiLV5eOFyn8FCHYtvxZDHnSyF1r/1sc5BLEf9N8XU3HUcv87soVBkhtA3yOI6CiSGWZHnvWipFhj4XkNklhncrI7JOJPOPpkRR2BE/FL8J4veZ/CYi1Jx+g3ZYGlEiBQ4P7ad3jzxBUDndecbDGUfYOWs88P6EwavWqCYiMbVSBspJTWFPb9dJ1oQU5O+KKlefJ7qiAAGcKPulLLeqEw/WDI/Pd/bWlN7Z+RZuoz5jEiJ12CI81iMR2N+uLGAHc8LH16cN1Di+IG09l6o8xlyICqujo6CYIQlNxfc/fvp86WIQtaiw4rAePN4ItfcFVMhGw+s6CAm58K++ukZmqsBDiBxIAAUzHHnFHeNsVqdZYEtpBRfczu7QqbfUDMq27vsDQkLxc2GOjpgeqDgBivXUz73vfZU5OLHlBUxrSUB+gLV1C/dOKohOLR3kp8kP8El3KdH3NovnAuTdut6meyb3tK/KMGwA485try/Zg4Pzr7fsEumAs19gNYJG0UkCbDDuBNJc+bQt3etghsP38Wqydnxvn0099BeaD7NgY6fiSqYY9xO7hYk3LRnC0N1F0j31LwkZ4+CYYw0c06xpk9qLm01TK2+M3aAsobj57ZmH4T9e5HZ7V5/vQfrw27+t6y1VlihBuho+HRqcaobwXcumbUOtBhtkBSoi+CEkY2gI3CoRzoSTr/aiRJZ9SQuvBx0JZxmor0HKf9P5/TomU8aUvHZyax9nYLDfe7yXlAqlWaNyc9nZEIPVqK59Bw5+OD38ueh//1L2q5G77sjHiJSSFPZ8GhO6yJE+OdCOiu7oLHodB73cCAVINhaHjF7TAwtM2p9t9Sp+o0A4fxTkQNOdqTpPSdmPo3/Y919YS6s7z9Sgn3okevhaEOnkJaWRY+olV4+X2tF+4chMTnqvSzIVitAWvK5sh+2dYo67hLiaW/7GnzWRnK9r7smCU0X2Z+Bcpeg8wSWew99B58hym3Uv4Z1P5wzVZ/iB6m2c1DW8753xnelIclwgoAWhJJWmEIN3b3vUFMTQB/iOefkE1qEWTkA/4XUns+J+YNKyaTmgmxNcBxzpsagKi7Ba6UY43PQmlECoc3JuhBZoeBSWQdns/cDipPFQEPhugNiiPdwM8gvV3BQYyVMc7wyjPuV39Bx29Eg7lbaJfQdJKSGmdY3R1STygMcoEukM9NuOvF+kwuzTm7qlntmjymJsE6qJn7YcTz9WiEcZy0SnPfLglDjg/7Xtip0m8RTYuGY0BOEbeKcE+d9vjewuN1sJ46c7+0iNkXXVTRb+Ts1scPQjRrLFufkQ0G2C/BUX/i208RseProlpJcjurat6Vc9fntrDrue9mEH6ZMDsunf+mngi9sVgXUQTW9xiyI450sNAeGalPcdUzupr2zMlGRM0V1pL9W9QdvvZTcBx7axS1LK6uFdUMLiepsvhMQgyIYHKnk7P2WYLvmsw0k1HuAcVaQWphETwKsb3hyky6sv76G5Tdi3ZLzSANpUDd/ymDeVLf7vexFaB5wVlWxFvw/XppxlHQ/cKSfaD+hVb6uBFVSyfF3iRTnClDMWeS7U8mZwHEwDfoXYgXSIetHnojyQUmDg4Gtpggb06tIyARxk8XWbsZtDxvockqk/KrfIDGL1AcWAtHWjyxeSOjyr9y9IIlzdysSVAWQDPmsxdfhIAKreQqnfze3CPYyp8fNPi/jR8OFzPblAiP9Q2D6fgXIFxHG32zR9tCBdoP30tshYZDAAhkapMAs/2REaKT3LsWR2kVwaPxZ84qjuV690Rj+NKaYsLRi4fmZMkUJAr9wPt+O+B+EIQCRabUH9WACnEqmC4uKqd8KrjxeB4yYIi0oya2MtcSAqjjlbIgGfjQlGcPfEC56umzpPRHYeAilpruPHTrIFC89pbPQt808sZ5G3mhR8dLQc1gJLiPtoEdtN6JAYAAYssVUhUIgrKyyLhTGHCWivUH+wnXDU/Nqyv0MSKauPF1O3kpjJPIanXFrR2IFVy539MAWEGMSEEBKMavAJbduW1dZjQgtXjLey9GFxfVzx8UJ6A26ukNsMk5Zn38xbouIxurQmCLQs1XmSygDeerdmv8JEHl95lRHUcyUhTWnrdW8j84b0PhcaS9LwCrnCty346ehJ3gnyh7cKBLSfmFre2qpUVlsOJnfVGo0ALmNEsv0Cz3vDgt2xjqAGVwhirENVXPIM/jlsXpSZT6QZ1An27K/G+XmbGmyF4ofA2lBqryoSxA0KbeDw7HSDXI6EAYtDi6gQRbXw/kov6aU6vQAt3ozMmmwH0Z1tppQVDzUFJDgnWkjuliYc/eqzdHZMpomrHDtHnJfiRgvvA8ENt6J8m8yxXJGrpRzSm1c8IkZnnp7k3rYk72mGHfSxevRX/uxuqlK8TwPpH+5F4HBH8GGmhirOnUyvly84o1/zibFd/FHP3XeOSjNvsI1pY0HnhrHjCYagRj4pdBO9h5HC4U+Q/W7ARisNaQhpIuZrHyhs3pJvL5udhxXcVkC/a3S40CSwYnE4hATCaX2ODwBE9kFvCfna604yYyr+OQ/0QYyX829p6r4ig+RcSc23AzJ+Nuyt3HtsXekHc2uNOSfa5Z6ul8Cjs8gniS9zR1igxnsDN2cB3i/uui80F1XPzbsuqc064k4K8nsXgr+qJTIFYIJfoxYRI1kr5eiDNQpPx0eJp3zAZTzX6oF5dACUs2zo+ggG03dBjiHq6TNiBRnwk2asjxYAeahhMqBffJG1Ij++cgrU6ig5Puey/yxgx+XnkL8C/sccD2SeWFEtrchKOxeXUs2d7g3w7GglNsTQbLAOhSqyoSrQV8rCw3h6kSZL2/LnIly3wrhVQs9mpRvJXyk8gxbiHXJA6jKD8crTF43v0nH8tKiyvkz9VolsGS1lKXMrnW3xKrO1oLHUVlWu7oSFXqkq3YuVuzWwBgJwfMg2t8mnE76wQ/Ri19JPtIlthsMJyjb90/TLVWqtR0rCphBx/sz3QmdGhxETE1rXvtxaBtfGL0YAdew8YuEdg9gUYn4vQ1jk58ZSL56mlslCZBK66UMu46lcTwWjBWo2j463klRt32S08bnJJ0R94r0XAE56+LdY4QsunKnQ2v3Ccd0U6nEGUa9YT2qEraQzE71kpiGoz2QVuAEbcwnPM0XU73SfBMUSbCfSkJAD5/80LrrUTBm74zW5NU9ILOFwkteIt5iAB3yMair//nPys0C7LqzKClHQI3hJ/JDNBc8K38ArgtJ+VOFS/PslwLGmFxpvp9e0MW5kHXQEP2AOfHZpoKKnWCUIgpkZVxwL5VitcoTzB8x3V5y+B117JtdmSbDLt0nDMaZpSXYQTwii721S3NErjpyKlQKpdUKLuqyJXr1wdXWGLQWiZDLYu8XoU6D4jxQP6lNsZEm+q3SToUmqJfjCtZmACpP1ksUEHmhitj6DhRvaBNsu9iJJCb0ahATvqYmCTf4zyL6lmFR42to7/GomLSwiXLmnZag8u6+ng1fiv8egs1Ek1EJ7Bv3Avq+QOivY0yZeR6+oH9TMkecElHdK8CHMC5gtf/dMavZgEzoiqCc+cJOR9WPNkJzLmF2jcJkivijLPiiCmAXuWZyBI3ylqluVFjeJRRM6xMu9oxEwxtI+5o4BJl9ByRT/oR5Dl7/oaxQCJiHvtZlZPMPKD9R1FOQP06J6ndJBSs54UZAw+IIqCvbRZ2Ch/yx9eclOU/vvPg69aY9W4W4g+5zP/iyG5Q0tVEtohPBJ9ZrPMEIrMNpIBxEW3WOBBW9szpN94YEnu1JTojf00bdrPY4KQMoIyJVWpQLgx03HxvmXSME7TLbkphc+bLFbYzHkbmpQM4W0eEcd/g8bQ2bvx7hfgoTMVXbfcC/eSwvBaPXPrwPsClt6PNDDoUUKm2aL/n4oRgVznBIWnPkGuYf5BUNR8ALaDaPAmSpie4DI4qpcbs/mmJCfmNNA7IhqkuY4/XBlMbLMQzHL5BtDY5SjGAMMNtd9RZjQdTEH2DFSDIuOR6tZZ1YteQt/keHjc9AQXEIXQ5d1U0WuziKLT0bTFu9JAvxlqZD3Vzn9kJMIHWZZqwbHZkTE09+RRGw/pmNWqFiu1E7n2b2VMwMWOMvkBw5z3KMD1CE9LF9kv+BnSi2phNReLujQxYaw/LJmJx7mL+8RZkJ6/FeL5XVRdMXR0InuRo3l6Y2tLlFnT86wnIas4lkDa0ERsmdkkNl9rRN35LpeM8Knd5i0moY7qqe9Ukxti4TyBY833ejGbYyrs6BYM0qP1VB0kNKAIV9Xoizz3JGf6L+QF6aG5AgDRy82qtv9FBFoGNUY+uA6k1c/PXtoRmcogoQ/P2RVuKr6aHgFfzAR+Pru8vKmXW5Z+GdMY8M2cQGMCv8P6qz7P8FaKv7EKq6ZgOJRwpsr6+bKyqEmORtMebUElIB0NNVAmPeZwPURX2uSG4Ap/ijt+33VM+ccbu0QlSRvIwCEbvyDn2YHPxhJcx6a9WbnFsTEj2q4ApEyTFrkaGO7vyLPxn1FDYu4CkqJc4ypYSSLKYWsa2w3hoCQw69TGOy/xwbRiLSLHRsi0m+xFqvaZ5j3dap5WZvi3Ue8uZrxrh3FN6C5hTxwwOHFE0XE4oD9kZEHlAaznRD1mwISeISRFTjLTwtt1PGLx9cA37QnisAnaGXQU3WC4+rMjudwPc78gGTom8Z1O90+IHdb2Fx0K6dD1H071u6FXNXOC6uGcAjROILXSAznb81WXfTphlbpx/OXaz8KQYBJbJ4BCCxfgf1MfonuqAodSHViq8agFiLweZNfZwZDTdcc5KxqPHcDUquyp6SlcdozwEBu1mdvtfsCO1XKwafuh3ECj1nIuCKKSKL5U1BT/dDUF5aPwPKwKIO1ubNkvxsHhrxIrXTLV/AGpXEWXvYH4UCOhXglZtZ5H61jdaQTNQZwKod2ydQ5894SgiyVX+zrQy4x37wibiURZXYyIY3AnadyIIqO660Nsq7nXKwua8yQlB65q2dqAqMjashv9uvc1sjUM45AN9RII5ebRU/UecCFaN/UptENYHJPlqbFTz1PPd1jlt0vm6vVOOKCoHp74NMuE67he9CIGxSNi7Nbom3ENG3Vhcr2KcLNkrmW4G5Sh1eVK/JZW09Ps2zxT0ZVD1lsnAATDmRPSfn524lP1QcQnqaAN+DoTUtojIkjFPKibanL2M77qN1ee8OG/TaZMZ0AT2X8Ev/yMB0eVswOGCofbqKEKTs4/BVHRIKQ9EV0SByfTnzz0pk2k+hxg1sTLXjkLTyB5s/gLrqN0eGTxZEUmdOsPfDsw1jw8/NMP662rTjro7orcBlA+/5UOPQP6i1idh19FSQVrl3gt+xavLIolwpwCR+5+wNjW7Uo4kRyLhtSe5YBHQWAV8ESTIbeMsrbslz7o2R2GyiYrmHc8jX7dOKtwfq7T/bRfAXCc4LVQbTRVpETHJPNGzkFVtXWuus8V5TYvU2/tMTY9eXcMrQxrUV2f1ovZgyfLzQI3ns/RB/uATOSZu24OAQfW16lW+9yw5VXZEh/r1aLX2PrFfhSeG40ioD6yErBDpOjoSzDpfgxyqZwOt+s5DY4biJIUyK66dysSh51+AyWes+YjXxP8iqzFQCCZhA3NRdyzX5ICxWLStGzPFz+PgmqgQOdKonXLYBVv1usPgFcirUJ8gv9Sa/M+n+IC2/LA8OF0C8JRncAKYTa/U/pgxbqBmLl7aji50KWTtTcmKVQg41WaMcNiomDdj2z3XcSaUEe41qw8fMOTZ92IhEG1UFkPUb4KoxXHqZbG1iDs6oJGI6v0yd6BufGksXSUIMq0JBBHiIQxUlgZk2Y6rcQmydAK5pLRDIsK+b1im5eePbwb7ygkopCXTMP9sBnK98hL9WcZQYuLpTjviLyPSHDFo5/sK4ES++8Awq82Wy/eAcXw6vt5x1fTsoXi8fY8DgPHZ5wLMh9wSPLvZSPoolPCCJmMRkOK8DGBvp/koZlilSJ+x6dVtARJAuae0cxG3r2uML1Q0I9/Ualxpn78OUMGrjlX1wz5Ozr6wG/gaxDJ2w7bPBWoSe7t9Zj4rK/PYMhuzeSFjj8hPgaL53Dz+MaoxWZ6KsYyvqmYm5yAHs8Dzg0brzsbCkKpa4W7PSqn9PoTRGfuBNNg1K2S0sH8NkmzW49JIyxN6Y6bBYE5Ir1O2aPKl+gN9GCdyzC05GGkHrZwV9AA/ZsszveSJDzXf+dQIlec0vicS0P57YCOjXot0kxDpUmkAh4Wpo65VvkaY1RfK2I+Ijef/yhI9Xz4fmsQErskZowvaB1L/Ewf9jZ4Jq1JVeODxw/SNUzcMs2URn1PZbAALBDlCsRINCMdrR5eqScpp7pjvaOFzJosxxdQOSVK5Cl2YFwlTlqGwwyhDgVBo5r7HwFLD0MwAoiZMzH8Nv5VqEu9zBM2cDZjL0q+RfNlct4sdwm8wRNArHB/xTB57CVd5ft+muNu6GX+Gi4Oz+S/Tyf7IO1ZmwtBFcqEeSXk408SyLzIdpuB2ySzYKKWB4PB033ILY7/6feZj3zKty8QN/4j49LTrQoizKscvMZZRTK+jIKR3IDtlAuoLwlNkLbRhVlx/MNa/bjidI3lhrfwi7fnDwQZBdgove2q+nE0pfiDr7PPphRIus2J30q5yJ/tbU9lQz5DqTvKSbgLU6uFEQUW1ljI4LDgfve/CiocX0+Ho7BpCtb/46+O7nICcWM9M3gKmEcyCrgBqr84k6DvkGmoWwyGNUeWPrXoP+h52b+YFmvAaByPo6pksdQvbcBadKDKhUcjHzuVhbJ07ys+2ZHTRLvnFra3QGpYotei3q6PVxzAIPKxbeq2Tw1Cirg4bN9Of1vslu7khNOSDm00kfZPpoiAohxu5nTI5GbrEaW9mKcohfqV6DGDOZ259HrIZ5ZDyn5d+pzXdcaa4OI2n5PC+3Flcsj7XmNncn1W0iqfXr6FG9m35hKPzmcZ8SlGaoYZ8+ldNo/FFkxwGzjWyzsHxM6lwE0XZqyMx6ZhJGFErG5+w1X0Wl23Ev6PmpzNHNn5rypFBOgp/5inC4V2Ky2YNtbUCfcF8W6eIlBrnUt6sp8jhLEvtFho22796YnER1pFvQSA4/dJLB7AB7Iv3oaELQvHXKVyleOGLhFuS6bpFgiHbNbdWBAGPeZaHx856CFYtip50CQWirKrejM9/8rNpf1299gd+0sh9FHh2PojQy9bOWWhMzgNSNHTftzlScUZP3x3ysdaNSNVy9XN2C4B01pkd+rY7yCI/CuPMeJH9gBc3IJqh3Ozk+kdluMxlnGNRLAsML/DOAFyW482J1cToDeWiHhasClySErXbxJ/IQ/3Ec9/aiiEDo2pPWJHmjFWsDnAta53AJp2DMKFnaMBFxwkxAvGJC6gP9McQlSymiVRQu6ZxX/VXKArRtMOeiOUQYC6yx190oi1NWRT1T/Ejn06/S6sCMSd0Sogl0HAXX/oi8pGfFBAFePFzHE8b1ZiVKTR+NfuWr9Ia6JA50xbiEVD+TDCTfQTiD0YHQ/S56C5jnJkKI7/9Nbe+xSihHxIJOqpQPM7ic+Wy396vm8tbS4TYuttXeqNK14+DReVWgepooXH9IK+D1szIoIvuGCK+b9h0G1WO/HS7YjmvXbn5+j6lCo3m4LJLmnL4YwFC2c0VmGrsGA8R7KlENUFzfUQjF/4BKSvcMvllOx+Xb4nyNbHnOVbNHbAeWa8nW4X/cyKHzOhbn1g8gpI+8bhvY5Iw06/rixnS067Js28GJUUmYLcaq/dDT0leSW0Z+ftKk7eeg/fbnEHWnD8RmTS6nP2Y2dPKk0+nBr1g+TnSndsogcOP+Cj08ln3BkuP8FD7vl7/1T39oh984vTNU26UA1J0g2U3jSdPiANVK3OGPXo4wSL8Zghz6Zjo3bHjxteU8DCi3XMvO5vfVUn48IamBfJpt4ycVHhsvDBWrjzEtzJbyhGB8NFpx1WG2xNeB0tg0tdBPAUZknW+YAffogtP00CPXJc9eYNHJcVy/aQqgKaZ75QhzNhG4C4LNXbT46ptlzjcTcmlluCeRuu18sSRswO4D0x/3HUlWP14z7FGNxCaYTS5iDqss0e4soCRDmTGmmBCZUl+9uJpiyxwSOzkO0XVqdWJPm9qqTr3O5HSAOZnatKvP72sSciTEeB9Xx/wxYK7incGHacdf9Vua8/0zG5DmN9GVMH6HYITAVqOTaWDFp5cuMFnoTRtbr0ydHk0DSPk6nsPwmMq0i+pf6ANCLF84g7Q3qeVd46TF46nLqtDvxqwhglmd/e8eNcS4hAJteM/83HGINPMv1jbc5aSALt6wxaoZw5iWNEUOXAbu/zYfZwanzUSqh1eURIohgObhb6o7N+T7dT+EgSe/hW3aKE3sHnsP7PEuyV7IAtK5+HTAks+9Zp04XHUmeTp3Crsps8OIWOO0sMf15kRM3ULm4mP0z527wtbQBKLBFV+DZMvBIpwlHrNO3xcNXWZ47sn4/LtRwr+GOHaOaiE2eu2tHz8c7Icg2rTjeY9pYEP7EOwaIorLy9Ju/IvtSBYSxuwMbM787gdvWdN/oIB3k7RIhrMNbRHL+p2TJ4cQEqswc1d2vDznjPNvCWWNb92h2Y9FdzQZRW4juxFKSNVuxco07r0XY5zOfRAnPG5+qYh7wH8eXqu78JxLkXxz63f1QTvpT5snqpP6ruYlNYUzyzCXG+mkT2IWcAWNLDqoZd4mdbT94VI0peT7Ad6aIRc5F7HTnLakjJAhLFbaaxKm8noJNme4Y+WXTP9/vviHS+zCtpMjU9JUSgB2fM+uYFIh9A7MCNe1XpTAhEfvdlMTtpWRZR1YVOrD3cYG4BobNwgeTcPjfRc053fEK9SV0D1/9GYPAffFARCOEvxoGCcMZTne2v7rIk/9AZNIJghoZqGFlYx9+UDqXbz27ZyYsRQZusJdlj3Fxm42jBmHY/JLL88C2vLR3d3zgf5A0Y9/1a8cS0QfQnfK0fWzjO8Jxs1zAlc17Xz3tJ4KC16GJ6F9I6m4g8gsxpqjdtzRVCRAO2sQZJKFDsxES+4t6njlusJZYWwm0+x9OgjBXQ0+3BQQhzrp+kmm5QcU+9KWro5UQq4k2Y2cOgLlpgXt9VJau4HHfKxRQO2eCK6P3LSxXvnOEx8513796AkjZL0BWBoKEvLxGgsuhoQyagT/8vBSBmZTDbUC4drdULP/mdo3UUGRVVwAjURzVztknEIocAznV2S2yHpVRgFCDQnMuWF4ACIQROdsERIpgLMCplLg6xz2BibUtPn5j+1u/sprJAzNE/19lxbj8cV2zHDVaIIZeRsvkgWEe/OwxKeHCddPnqiE95KYzeKseoPQL5g6K/Efrm9wJXzSZkn2JtTZ7Zj+yfbrMW4UHAt7pOOgB1ZRUCUXH9SQSYBcUduabCv8kTjILEKv0bbbgBO6A+rasG7U13cKz98fULFlUXs1OCt3zWUmeYMJfIq5a+gIeIDxu1bVuli16gVMefjmudxRNcJTR1rihunRtpTSrhYEeoYpKDxNCnvcOQLE3gYoy3UGwqFq9HP8DndMczw1JBUvYhIiWwkyjUKr+PlYQz5y+J++35phiIdLCbop7dY8RIdhHu/MF++N+Sd+vVMaBOTRuwYxoXwGeZV9Tg54EwAobyF4NMrs6AJmuNOd46+GhBAhWm/8qh2Nfn5tFLIC0cBpSVxCj4zzoFkwaWJyKixSqRJoaB88t+QwcOTGbYZyj3KpBtnlxoHqkknaqurRLdBU1tMIy6p2/D5mb9ZpIQcLn6OyiDlXLuLS7MsmLGGzwUbtsdr9SaJsTKENB+y41MEBXoSYWTvcTe1B85ezV+CitWNg2h4LnA3r9vTodOCbj5GDW0YlkfYh4BOpDUV7y3gEUiRO7XaWvQn662vT3oQnIQ06WFW1DxrHm/XjaoTD167j6UMzq9nD7QgL2lwwVfEAlD18GpUcFcm/j6gT+G/qY1UA4+7w1E4bsc/6HsqzoR7AUX52ptZV4pims1HNqPUBSLACMO2Ay3XDsAzcC1pvuM7+apX+ewXkj2TUOyi50yxCD90Wi5OiDWzfRYq+/CZYkSDlVTxfHe4PeV4ihRsxu1/jtQO3TQodD4vLuHuymoNR9/GwNVdvghbHuQ4pAw1eHht3nf3o+Sm0lcqn5e/iuvr2o4lgzteZ0T6AFSrldBU4FWGhgSX9DR64zVZDLNiutkcBlgRKzIpZkUoomddp+0jvuUcW8qgRU5c1bRy9gsVvF5QepcNv1LQ7mdIQ4N7sgEnuhGo6T4X819xivyIST9Gk8McRchSU6OQ2zD7rSGIsvrpwKSX6CBd4GE8xj+oC/xqEYN9H+xy7V1YwtdVxK15KisYGbS+hCBQtXmr0s99Cbf+pR5k1eLS4dFbu4nyoG/wlpoU2aogV/Lx1KZcN2K+529re6wfx9OT6nRR/0RuxpmolXdkXfxlYvBGzhZ2XUWURQXpwhEd1/V3TvxDYjJ50vyXfoWo5dBnhfOCeEvHWNM8LCW3uZw8ND7WzqFldtk0Od0Oi8NCnkmLLqvfS+KDfN6F+OmjsEmNIWqMaE8or0vKFEgkSlyVAjIdx/WAfYFEAx4fW6z7Uflqdaq/rOSt0kNsRCodwMqu/gI+B74NcbT5E/Ok7icqxEBmtjOgMHY78lqvS5DjGhT9+3fcR8Xlw6h3lXTPk+p6iwPMzjY3vis6iBVO5Hx5YMaZPncj9v9iVBTmMA7aQ3cAPv0E9/fMVsJpBPU+O8BcDhuM2MTCF9qU1UzgcEv+1XCDXbbWydqr1AGVkeb5tWM2jqhpagcn1GeubPsP/kC3BA+yP0kPY+afyhkEbAZayahJwYtzwUxnc5QrQQzDwbVQIfrYlncC8PSLo+TakFUAfiYWzYKV+sHCgKzAnbjVbu0Oef0z8+XHX0g2/p0bfcU666cFkMNuF3XMteUZZf4xr0bWrGoMUQn86tCZaOzQ0Wz8QejnPNHKt1UjoFoGqoyzYzbbWWnPcqQyXPqscj2fj0rGp6S5qHKh39AeOO4ZsqGQX4Pjgr0GLvucvx6hpnBgdfnXS52H+qjlNcd1RLcd8HbXcAcqnjD3TBM+YdC+igy2jnflIWTvm0saFYfGXAh++rAweaajWY+gZv9kSPieJFjkjkusxBcjCcNUaQmJ6UoxnE1eqcggTdvVbLBhCWKPQMvc7QDvI1YoiUjOpJ4GFRfAduseqPYvfzSQfYHPNarqMLBh/tqZ5OJ58p/9bjhufunBdM8awP62gw9mkEPAmBxkqFStYFhDq2xOmL31+5SZmmCi3P/yRT1nYq9b5Di7WlEhp+4Cw2UjpPEKUSaBIlyd/HKvOkx5i60CxQTIU2KKMTUA9Ip4K8bHWFvhbLvWAfSCxSq3kCMENa/eOGWYbKJffz5tNuPUpxOH6qjgxvhwkaFE1aQ/+XEaBJprOnfDbti/qAV70ddjZu87AxjrCD12hVu6TeskA6DmHun8z7brAGQ9hAjrB/ELqViaFg4TtYF9TDZLySK9MVsBkI1/6+i1YC3pMC4Q+8hxDiejML+vsjPvZ6t2h6xBzJUyrIT83EFj5mNZbdAcWirZ+76PIBnj7BwE6jSyd0t/IwZAFPjGxAR/rCqmY2JQ8UA4SUEkn+McAa0pgj5i4DCYSvkW38LgyfrJpdXGvpfjRqG1uX7O0c1euJoqC6mtX7HXQQmyTgI6GxwoNOr5GNkJBRh7Ny8xNYTU3PmbT+lhd8+L26rqs5xunxnOcukWCCOrtlu/rNp2HHiL3/RR93SeqxI40pKfAg5XNdXt24O6/ygOQ421iFQDB8fvv7cgjhnOqcLAWzSYWcq9je1UPXhaKKrdKkOAZzZPD0gQ5Hxtf2XASAljJUUD1NOsJOsmmtbEFUkj1E3Klvg+nAgxjuX1tOxy8C6a7nSvvauZ9CXn7mfY/JjYEf6Hd7+mqXMIZpz9ZYgkrrydblAYWRvQe5ST5kYHmy7b8tfohqe+/mcbowf4JdvlYDcbDHv8ctDf2cRBkuCRRZskMJxhipuOm1tiu8JMkPT6hZ+w3K/Rzt03FNgtCHWkPHoYWYfOuUypo3+/bVe1UVFFxdTJttTA/UqfbJC1NbnJnmVJWIkNr1JA7JfoAW4NX+64ORwb+jOXFr1H4MIA/VBa7SMvwBL2ny0WWZHAwR3pm1mmm1DHKOYpwNImCJpXizLZHP/IXdK9kPQUA5MuI9ld1I7x1G+KIKrSVxOvMHUIRYa83N6rt9DjWbP2W5zzTJydSBh4NmyUBuc0js4dumFD7AfQ9YUTbgEYXAqP2r1QBUuWf8EMHtkb5n01ppf4ND6G9WX1K5BuCUDIgg+bwm58dAaHlsfFDe4tcraZ3jIGzWUMusRdK9VFDBjzsnFOcbPJbD7mYWB0S+EPMQSYnhaaX/H2h9X3Sw2ewfm4YP9MZgsG+RDLGPgWQIavHCByrWen9/tyks4v3VVPh9jH/xtTgDRhqEpgDSbqeLQ+U5KJKTAPdlSk3S8TEzsFqO+4H08JHJlmjOAcHVHZiimzaMrWADIcXeQDs65UpCGSy5E9mDLeax8NuJ+DIIF3qxESOfAJKH6+G35y4SVrZTD1M5iTL8dK1Z+CMctdkDpUmALCtDWwOS82lgmPU4o23foFw07NHM54QycJo3+HMfcB7mHYhfKA5K6ln6V6omVmOvDu+h/ad8N2iuhkpZw5likVPbGDj6bGTv39hIWYFxOmCAUytuIr0767Ms2iatW+YM+TF0ZGERiw/dHuCOOBqxgswPudEUhpk4d/wYwEly2ip3AeyA58tAZWlDpaRJs0p31bEAZ6mUnKjMUC0FKfOf8KRHipvtg/0z7O6I4yWnL1E+eH4UIzVxjyw4xKFFRM1WpIXRUR++O+EQ7PanRPMhhK5Lq7/hDPadpjxxyt1GTfUbyAORBjE97RXFMQzxtUPvLrFWCGSm2DuMOmjy2cde7Arr5Px7mKMLvcexHe7JbwRqjo75+HUeHvYskuB7LiQ4ihY83INcwWAYvzHUYved9y7mmsxAVa/EZRq3+J0kDw+A6UkkAd0vHFaqev8KJ5pgISV9pFDD4h9F4OdHtLlsvngMZqZro7wERt0qODhfE1mvBxoGPN8HtVjjrtobaIeaWRjx975U8AOT4rQetglXQS8YIfDqFljnVDIGir9RwpkDzLwy8zUTWC1n70NBgFkeg9GMaF6GuCJow5yO7ULCRUeoQZt6OtVYANMiltbaQd5E0pI24MPEjYlaH/CEQ0I8ClsLPO9OKaY7Gk01g3WVk2syHDvZsKZx9hv2x0S6wFAeyf9GAx6JkonXWT8cbYrgtzik1u0SyJropPA0sDSwLUmofYbLQaGTWY8iyBOjxFR0AVeaeDbF4M6vMwTU5IzbGPyvaZP/uvtfuHcoASuOa8/WLHpicDZg+3POWbO277QX/CzjkfKCyLNvfAQPEKZbareZUByO2drp9H9sfNn0SYJG2cDjUc5m0H0cUAkDx8ZeuZT/o0fB8DoT0TQi0v9F8Vbl2j+oDFJyyFm3R5KevEhpIZ0Rd3U6wrWDCIDlZ0k6VoENFpFs+xj3k6fCFwWV+j9XajO2FnmGLdeXy6LMLTlp3j8UJ3wxoLakGFg/jG9PQYZJXye1E2r/rMGbp2VQMJD3g+1Fpxy80vuOgj7puQu5cNuXzr91hkA8rS5O8J945Sgy4TD99y/oJapJbBJlIbh0Z1Y/cSk+kcv8Vz8uycG+01x9M98pG4tsxhFg2zCNR9d74LpZ1+DsnFEdWNpOoSgR7Q4Qxrl4I0kNLOjGGYfvoV/RZ9BwvGqMqD+H3i/uLV1sfP7fbv8Y/AA7GLuHnBVj7qjY00uJ35oZRn5VGj/Z/pT6Ep7Pt0vTcvHC7wMb5wrIl621OAXSpzyBhTWC2XqHN9WjA6PdjCQ5OClXVWNbhQJ5ENFDKJV7HIJQHH7ALhHrP5NClZau+lbdxE1CPcvHgEX9z7QXDr2kdQBx65aJ3U1uK8JsB7IAhfbDoySNfbTnHd19opMrdNszEqs+C6gxrKb0AkAtVA7MTgblZcn+dyhy4bC8GHrJGvlkmUazm5SygaOUT0X5/M3tQP+JOgbGauitwlhRpHctD6s8MxndMGdldTpTvWSTfrRbZ6yajMzpuRtD86fpvGkhPDX46Zr/8+13YJ6AV5Fh6/yP/O21rQaylyzJQIA9aNo9YWSUqxGV/kEIiNJFQKIb1SbBAPZBVmT/BTzn4CVa67vKu959r3rqpQqUGx+k5GQ45sa+hukzOcgZPeRTyq6b+0di1u2AmxY3wnv29tnfF58nyS079X/nTZX20gbok5hM8XCJw3j/rAvNGpMxTBmJAIW4vUdzjwuq1vvvBzOlsvEGyRctx5pRKoulAo8EhboQlaAITBMu10dXa36r94eLp6K4y/Srw7TwMUn4iahneNW51kBrezZdo+52xyNJ6BA4NlzXmvJFqee4gkCA5FWo7ZKyEB+o83vK3OJzxO4U1Aq/bskW4fWnsagJ6T0aKwcPsiSM8GT5iXbRmd4yRLx21wtPiUib9h99i80AYbYx6FFBR2PkS3lt8blAlpnNsTZEvU1IopHguJCEOi8DfrfhtoUcyzJxapKUMwjlLaaw3y0/Oj6pkrOD8XAXUrmFU7m6UePvzVlHBPOfiVdpCyC8iqMyvrTOPNxK+VJBmkwRIa6a1Cvh0nk9hgvGx9Ng10yrpnY4i1SQN5Oc//cLZwIrTvNe2HuiOwxo91ZjpyYBWeFDcBs+QslSNOEEv7wPJPV8cDI1RmDGIo824/USoG7zqq3nAd36+ADgIEV73ex+AOwmQO9bKAInYpM/P/+MJr/0I+0jwJAfYguM1c9VLKvPmrKSRtP/p3PGRGWORq7SeX8v5mJFrGELbQdpn0DSjsha0argDz8F098pXA3dtwvAJK7BeK+PQVOYTc7gL9pqdy0ygorI60XNcny696xPSYbf0DcKJlGg4/vglNWhddqa6Wk4v13agm07UGKTh36ydzfKRi2v66fXWHT3O0Yr20ogtt4qqVYMulIx7PNBTfifu+5pReCbuaC0HcW8Jg86uVS0odgBGCqWG9ioQwCTkIbT8UZfBHPkNJDxRTE+6B/umFNTBa98YzVw9genoveSWDk7dkIb70zE437KZ6iS4thYExEXAtP4PF9FGjA5Cef9T7TnLvcD3ysT471quBhMZg/i7KErwepGqGksBUrDLOfXjbXrkNoOdpb/WHo2urysy7pdoNVrswwfYiUpIF3vYlBFekF7PnpgfIgTqgjnqDSoTd6p8Sh5xC8dAnCtLzgrNiU2wHyQPk8qxV+B3tz9sPpJf7/vjnkG7NiRUpHFuvHc+8cDJYf6NLTEaBa4Y55Z3NQz25tKLnfoH6gsF67qC2cagTIWfRXdtt6j6Iy/yVa2ZhB5CrrI/oEycITLdchbJPEOKWLfex4+Pqul5ksEemzYtJ1CE9dApidRqokI7AM0t+OQGhLiMxNwkxhn00CBAu5yatfsxbUginm7KC1gfJ/KrCDJhdxZ74ZLYa+N6dtYl38Ho6SCrbnFfZ/cuBlLyMY8Jz/b/uuPm4SjE6h+LKfvzAEclfxUYI9px8teScg5sf9yW5FBuWxsHlUZFMr3McRyTrIXmgGpE6V4x6tUQzYcRE1ei7zgRlY18ZDinKOYkXpuRMwLMFE0aaJl0VqJOSctYy79FN3sfK1DJ/geTka+Gw7646w2AVsZWJmDhNFTWLh7ACPipJDH8pknto/7O5YyrfnPgIdBnM/yzX6Icz9F1ZEGT2nT4foqgyvuVrU/Aq+7vi1HA373+D+JRIQeD1gKDFP/HMZ/QffvDGtOODNVUB4b6RsCH17fkxaO1ITpYa+gvoCgs7HvNSSGSU+yioo60JVNaeitq3S/KRjONPjvvcJDWfXQ6SWG7tdhWSABvmNkajNfh2+TYQo23c5noYJ5HMgpnzxUmEjWZNKGEFZezVhcg9Zhspi6iTjLT3SFjQajuZOTukyPJn/5suaLYHOJ2VgbYgAWR4vFlen02qBLYwdfofuy13pCCBjKkdao0FT7o7cuP70pBsXfro8Bx43RPnm8KWgDHAZvjmGN4ZKdK+TnxOvxr2CMMIb7+eeeYD/qmDm/7QNKzO2s76j5dy8+YfBsXjLak8JSRL2PBXkzv2tDeixrYcP2leHkNZZii/NfFHVZYMvJBjbKysB+0tXxv5zeMy+muTaoIvcqmDTX1Fpz6cKHveW5PdldeRNAtMHF6EvjzThzlrWkej3mroK309Hy25MleeUiXBGDdJp3u9X9hOrd/Qa5EiMZ+B8nNM75Kzj77jMUeLZQGsWkqiUEy2lWfiXdzgzG/4kHRWks/+lF+KhZT+OOASfCWpv8JwDz/Q+Z9lBy14Kprxaaf0Tl7H+0JjaDr4pwlqpJDrwTVnusyrSRITGjN5HeUGhNSTDX2CZ281hhhRYkgp4jxfUa1+z6CBOI2M73yXGtvL9cxM9BEHjDNbbIQssVkBL0+V/UgFVd87NCIre2O4c5SDRvZ3EA6l4hjdPd9q6elMrM4vw3U2bh7JJT+UINO64RTM4It/Mx55jPJ5fbNoaqf/7GebGnfNRoRfqB8Cug/Zf1RoJA4rUGssTcVsjb4K4FVHcGR9rE0mWDKBXX2pxA/kigWz6j61LIP0sY4KJKaLqkbR/dWb65shOTI1+yjVI2DI5eFUrRBU+ufOvpg6c1AJmELFMYzYL+xVB2PourQTpYbfNUZ56ySMUUOZ1siNs7ub8iIS+OqFdIZtammaEqQjk3++lynif7fiXrObwW48AeGciAJz22omkl+S4XZPZ2ub8dNY83vMUNprrGc60C9LF5OeZzrtcsW3P6hv8ggWDs2YfMvgOcUGOetGhH+kYZkiH9xR/fbarufhn6qwpggfSsvRn5iZgzDfl1kqDH0hq4L8DFdmL65az6fp1kKUdoYs+7wGZkC+vbURtWMDreffxc0PVCD0jlRIrVVBv6Z/iGVh+jjuI/9Sft78gmtYud0p2+wJyBtrd6ZC6omOwM3LPauTg54bpibRFNFmn7VGpg1ewYr0FKwJ6042pVlak4TFbvD0NOMgKHS5uu07jnhX1+f1K+BRyzycvprP9O1uNQt0tFexgyWV1QoD/NPY9rdKzKyDkzSfq+1tKu5iLWQkqyeHCDpSX1rF3r6q62TMp1bb04RikJUIi6Wf34WVpIZi2IwNnfEmr4RJ10uaasWDaZiIbMiFX29Q06PSk/SDqfiFs9WAdxChwWO0PeshzMpJl7YqpSmlrC50ydaXhpQzId/qC6GGeg1TQpm5bpHSqeFxpT9Qyl/1GWuFec7f0WgXZUa06UZLb9c96yaOGWrzz/bVxUgkB2bwQPbC7ix3Mk8AMvYevSej6U0D+NhP24SdEEcHsigpyAc+pKdss4mvOjk6k+cLq48CJlQPjBOLqJBQY7EkNBKeKET18D7BOabvGCUOMli2KFmuUFFlPhaPqo7mCBRFsRUrNf/MHctPpXQiphDsUywiX5mY1NXn9liewpHiuu4ySBq132Fp3z5Ak75ZZSvaCNCstt0XuW1jrvgYVaB4YX8fff3+ZOhiETplM66iq4BtmNhmaociz2ZicQg/pLVEkpCaHGN2LqwKAb0gO2Q/36zpKmzkKvdjL9/7S5kYK26wLuUNMxK9iNiPw6Yz6xCjl62EDKQSRrHwSHIWEuZbeglGVZ23UV30A1BlajDJnWmG5odIXVyygWN5q6NlsMWYqxCofrZ11jAsjfENtbe+dHuvLuuUa+8nPVI8lS7bjBJ47oHDX5lidl6/xJU6Z7lJKMV49+bkKvhKEZqP0Iy2TqiiwOS9UCIVLur4vJqdG0HgL83U2SJr3BYqcf27mfjo9VoYaO8/ojqQM9l96LB3fEIug3vHXNyrpws/1sYkZjTexM3ajH3G3EghMTY+bVD0I7Max+t+x+AUzv/9sOl0vfcatEQxX6K2cU0IMcsVGIN4KvlugHAgv3Z9OlrxnhSxiPf3QJZRte9KP0+nfMq6i+Q3U7IH39X/vCy5cmyxXim+H6VvxDnrtRE0FWv1J//m44hJdefx2QgOBXBOFgL8ywGbxOFZ8xamd6HF7uaYDAqg5CS43mff89k6u/LMNePhEEBqU4cbFyFCuEhj6PA7s7Y/a2YIPtUPXMBQS9eWG6Vck1yMIvzs+SxwOBMZX65GKqUxcxpUrnb+NmTmwR3Xbhj3YjPHSBflDF+Xl4BEwnHKc42MmN2ydXdZcbaXMtafZKXlRHUd8wDxL/ZGs2DHpbP77pCcyF4p70gEj2ruuZKgt9J3z+DGZy+jWE88BNl93UZBXLc33400FYqeO8Dg6y7jDVJE1N+1fc/R8GHPqW0wDtcwuSGqBnbcUaLFTMfrp/GwNrn706ZIiKS1Hry4ME9e41cObS1Zc6gTctpXSH0HaNv/m0cFonbYZu6tZT6WCJ8ZVZWY79V/A5VE9EMNC4d4KaXLb0LiLAFrqzEJFVaWAwXp/C7mXbPctnJqF8P35vI3kcBRPbDhWRFUpn/+DN6LbbvaOGMwDbnrwjN7Ve+AZrZ8gelYhpfqZPhS6LpF1fuZU0IrM7+CxCAf25U7YPcs1t5RCNAvG5QP+2HzIcvMPyB8doWcTi1fz3cxs9pNBwQ/SJihDRP5pOQMu5p5wce7dVsyMZc6OyvxYah9aErYogrSdOgTWzRynkXgJ3qvTmFloUju7COaxhAJwdLVBYqZ2iCo/BDuSHw/Kkf2dRmNu6zzd/DVJwtyvrukv0I7qaqIqJwLH3jvxYFBpQDYL5WGFUQjEcV5/g3ASM/CcmWZFeT1ziURQ++lL8OBVB0vy+Zlnr8QscPmLUJ6oWNlg3ZbZAan8xr2kH02s4g7wQJ/wjcx71Xbl0IHYENK+BgDeFlfMfbF+qgipalPyDcUiZ4NryTIFdyrwpjEDQRw8FSSWzsPM9Vd3HmkP6/sWm5r1pnJXzxrNm/A2kXaMeG4F2bDxmcRxptqNBrSdiGuBxAxUUMHjf9MegPEi9nNgCBDhuLQM9DNaz1mck8BluYADvtVOyaKRkGmTBbTpsU3w0cMSLjkSSRbWGYlGg1/OGoT3VKZzsBhpfOLaYoub3h/szwGUEdLqTMry6xNC5qBQQShVhzq6Jhq3SyvYrBVND9TK23sso9AuFnM0mXA3i7NUsKKb2eI0jWa1PKv1FKnK1ah34Uq+TzQUeB90sVnedsp/d0/uIxCtaGifuOm0RKzakEKOb0uoFUIcnBQNchHroHkhDGim7NBItJj8aPo1WjY21t6f79+jK07TctJpva8fm6jdBsDp1T5ULa+5Qm3BzT5M0ew9/0dmG2r/BFST/ZCQ2x9V9w7Cv/he8/++fWg2W1RxUC5T3mfqyAaf+afA23MJHVUblu63VGFRyu2DlQFQNji9lsEVX3Ab4JcjvKHBiXN0mRHNUBwY3BrNYX+ShgUbdEnppYZ4vP8iIAs3nAB15V3GAVtySvbCdnCK9elI2UEthwBCNnt86B0KSP4j1xHKA3VhxkyVfHOlvfgKPaDQfhH91pfRb3VFmmAIhdIOB0c8pSja7UxCo2Clwxvxl6czw3A6WbHz70+rVL/je9YnQS2loKcHKvYuk/TvLSLDvi4Z/1/y2qBa8hkDbb1x2lgY5e6TbXY/C8OVIFY8qDSFHZNhmr5Hnk3N7Ea1sD3B4J5ozI2EvBF3Pbcr8/HOVxyqOzl6dMJpHBu2Romr8MxI8bKBEsgGXk2KbHfzKnJHOcw9USNnM68BDfsoirPQj3AeE+ExpqG2ANDgveQpC2lJTRBlBE4DNBBszl2v3H3BcTplYkKQ5I4hmz5YysuT8gzLJoxzBi/ngkcgKOfMkJb2lemOD156YWj8xm5jeA3of0pBtMAu/wJ+IGSATdIQp449uOkZnxdqwqXKuPW97x/AOuEnPrbZ6r79QqYMldbYpJf7jFHa02FlZvyygweUekb39W2Jo6xGQvZ5rB1mE2mpmOkcd8g7ruXIppWoCGohZJg9jfYMY6E+2heN6XMM9N4eL5ngboQGezQOpXq1kQthoK5PyX+q9xsb9w39SAe7lCvIG6BC9Xh6rtvH/xvVackqmThhf3cJTmJWDKwx3Yvg/2+Bz9j29qG4RcOhIJUUJUB9EDk+hwGk6DloPWgVqLaYH3GugOUsgMV1Uzgu+Ih741+oK9bzJXsUuEomyGyDS0mWqUvD7X0/WegRDfdt5F1nnRwMw8wB4cZUpljEkjrU9E3cvu/dklipRX2k98riUATYbmFUn3/0t78tnDVuO/2amFsXQUnrfHyxD+zU0LryM81GScUwsRf4S1+VCQlqPbiwOG/uLReLSYRxpVyOTJUp6yPe/hSVYcoPlntO7Rs4rfJPJJQQqXI8RnahEqgHs6Gm0HDSGn3169E2c5I7YokI/6lvRI611l8olyGH5pAfhB8kRDdCxv8mSkccO36gG7u8EWABUplr8k2JvRHH/2zWIqY9jhTbqxiLjVl/+O5swvokY4kt3r+7+fnvgZoXfsLPCqxKAU+s+amNS//JzlcH2Vc9hmO4Qu3tQ1noC7C/tyDrXbIGvd72AdOOC/I0udiVTjRYmkObX67D2W3Q38S9VHg+nzbDPuBAV0cYW4DJnUlzKfp0/3HJAujePXgq2sCDtUcJTdiwMe9oB1N6T//pXRAY5T5Jmk/SWfKv5WLEsjkHXdJspO+fP7dWF3PnOr9L723pOERlROaeWGzoFtp/syBksAxVyYoQ0/fK8HEII5xgj7v0EkPV/kQKBVifBz7gu2rYMudPClF+24yNNrieMdWjGEdHagEMb50iFZx7TN3T4i2aM6NT9Anb/HfmQ38z8+JAO8lW/CYigRtl8ICcpDT7apezCzULHGzUpzRJCfayUeaOxSFmn9FJCyKDs+b8z/qp+lZXIpgJoXW4RMEYMRYjeUuhqkVOcExtvpQoa0IhpM06S6vVLvG1GfKwpO8vy4okcO+HJVyay9br6/ld6fQpoYgbW92u1suzSAom4oLx22YEXeRrzq33sIa5Yn06GNdY85HaMeDLSB+S3JtpDlL1Rad5xTavWODvTM0VqX51d5ret7Gmzn0vRuNhNbt8PSSNwrG38TOiJJHIjDFUfwtoh9pu3J1uiCYJUyriQiLHTd7p5bI6KSIwVmWU1tNl7KdUvNyqAxpzgtDB91x1c5dhoIUbKU3AS6jmNPcqbyVwcPa5Fs/90X9sQCc8A6VyDRpoSFDTPvEKMxKxET7NYSA68pKfeRYKIkrow8MX2zTaWrspO0NbSu+6s1edOfcy0jQZ9eBXlAVR8qrZCIIjWzBCTi2fhnDUjNIjYF9mqTcY4/A4+zKcUEOdcOV9d/84YRYbHVUHSaaSqBy+fDOtBu4lNRBZq1W2jno1ChxAuN098x0VPYNe0fbZMaRHK2UZ8VHfEgpnkdeoJMCgBuXb4e8ohmzIuhSoOl4YEhBmZbIkeGDL6iEamqkBKDSjMxp0aMiWoscOu2a56OsqK2XeB5D5J1npKXJ9iOYqv1BM186/J2JHugn+MbRB7sUTpX1+sw8V8wEyOoO+1Am0kEtXw0hw74CPIHfjSHNdrjvjIlKfGMbDoo0nG83xmmAEGDBDqCGT+DFKh/jjDuG0wQvrWhoQzE0oD2AdIHpfSDxV0kvmaCT66HZGJ4b++LZGV/eopuyvJ0B5NSJm2JfoGJRDHT4hVI/AhvGEKvkc31fk266ejfc61ESbOVMSETRzX9hMGLHaqax74WN1YRUVO1KH1vn5WdnqMYCT58mhTD+Y4dO1ZCmbtetiTeieIbn3LOUIxO9WpJFGHlsZIBeIwlk7H2R9aeeHg39iVPS4fKj9STcVoM9enp+GC3AAIqv9UV0zQ9gnK5NQKDpF4wAgmDKgxxRFQhFs1GDPPX2B4y81HLRAz9KNZYsYSOwhGBFERNNWYRccWXXq3NbPNzZqrDWcD8laMBqb1Gfq+LWOg4vGm8pNfG9LMguNosqvcHZu1yywxayqvOlk/3iY2oreUYiV7Es2XiJyDWDS4EnYtRaE6ajP1Nlu1kOm85u+Hj17cACQFIO2cfbOxi4+RDygIBHEFWM3u0BOQssZvUxuw/QNGV7AsffdVjP5f2Wx8BCknp1rJMk2QxHXbATfbkdERxgpBNq4Mk3Lxf/7YR95tq+CQuxa5aA4okfMNoyStNDp1i2JSlCMVhdnuUbTvlfg+KxMG9I/eW1ZU+7TUNKUflku1LYICiXjO8f69hxQ2xljQC1QCrW5T6CAZFMhKDtf9pqipA6yv2pg8l3qawzDkZtLbe1WbOx1ehfP5kYTWgfckR2hgdWbwPaQFSNcwAl5sATCH0aca5ne4Gmin439tqmMFE9cfWh2E6H9ZTud7+s5RtZ0/er5x3H7+jL0lj/OIc9lTRBwGKs/twGUHDcA2vaX+K7vY9QtHib7vJo0yF4vh7Wz9RGOx0IXlt3cY5/pREefebj+qg58LgmMAQ5jaiB3A38t2XzwSQWWKJnK06IZW0Ovo02gTxweK4cBWC24M/ddYlOlTNDcczxJBbYal3P6Qa0DBWuEjcRNsBXAcTViEeEI+0d70N8RBvFCREF5Il5ln1rv3HUuRBu8ihc3GAq5bwnOkJQRCLHcg/twe5iXe18qX0uVlBWZFbNXx1q7jWVUZjtiB4EMA9Nr403jY6GjG2KzE21ZDcloMnzrdMGRk/bmA2Vkp46alRZllLl6yKxajw3iuEWvhSP0wUz+i7lE8ESzKh8EHXJTCR/uk7kFAKBbum9YLa+uE0C4OSSvJI8OWBCufBNxYxOyp5hQHpNEU/Dr44GUc7jN8lm/P0XDGRScHzSBVzsmtjoPBJLHYKTH9yK8jZSZ3BFqWEnwFaOZNfjYea6xQSdnngWNpIdNHavSZ1s6yCDIopsMOXhNrp0J6KEttGXu7GkBqaBTcMFFVMG1ikwOSkVwlokBjS0YVD19MtQELT6g8iNUDudjxj/ZcMz5L8Pq0IfqHgVqL7Vurr29yXGvVPZpBOdSt1LtfChdoo13OLUSfWFF0KNCWt7YwEUAqlzDBboJPnu1ceBibdpVfv87aEmbLPqdxmHgXlbhH6X8r14+omyGieBLoqmJ6VCNtc4mx2eUjqp9r45Zkt5a53v8kzIendYRl+tmF9+Y3DApjzg/1nEe82CO8+EIP+HMm/qerFiepi6GV1KMiNpeJkJ/dGcBWfx46PJVIijhlLxa7HbTNda/O5FFDzeN9lxuYsgEsRiNrzR8vJGuTU3M8tXJbssfzrp2AETX8eJaH3e6j0Ax8uHZzpbV8dkiof2ZGI6G7xd5g3dZe2vJNeQIrrpmlj3ZIEJs5j6Es0Y+VIVSIA/EVdMYYflMeYwBJgIBuOORMkN2i9H7Ky1S8JBV2lyz4RmB48xKw+eG5JZSgZEgoZQu3oKa01jU7+kNQOdrjr7OLQJbR/sKby+hTNLO+fs8BOjXKsIYS5NNhXfkDtUxzvsMYTMKdwD2fwa9iEZkPeLejFPcjfRmIFvVbh3S4dP55++R365NUR+uUVegz4KUDJsqib55rYw5DSgs3GQO30gx/8iFdELcIrTfrV4FDIw6BTl50mLVX54ArlgQsm0QJH+NsBdob1Z/GACKdBSzQ74NGzrEJMasFoRJEa7jdfN00toqHxbVNscRKKuhzkqq/5FiKPv0uAFSl5M37QrlLPIXRIPxpIgQQMO6as0SrCEg6F1mniu+fAWFDRpKub+XZOh/t0JYXOIQGAs32zLGazBlYW6QvFQEo6aHE4EE2Ta1QVS9V4L5E4oL2rjxIVRRelWGGNimQbqWeP3tWtk76UOIWxBHpx9iEIDQskSmba0AOGgMgGEKHqeTqKcg+QJqTNkEYu6dcX7fGGt8ddUMd+jqHbIFfKdxu11/wbOGhqrhUocdKYxCkBZcV/E5PT/jdwSYYSmuLkW2x07jw/h089PG2/Y1aptRguBcftU2KY7H6EmotTM1L9K2UhDDWWkM8fvmMaJ4hFaXOl5ompYXeoZnbFigmLJTTd6ZeRT1Fm0nGevLF4jd4OImVMFELmkrghJSabSAS1HS+m4sAW3mQhk3G9WcqTzyYB5WH5Rbgh33jrMKRJHmxrTz4BZ77QkNHp6k71XOkEM9ImKNh63jDP6pNwrXtJZL0WiSSHfbGs+juZwhZVWqzNGNuwibdBTeAlKCj6QiYYN1tiy/cMBRrdiIBea5pM3se/e1jWOBkuO3oKx7dAcPwYvVgpSuz04+2s7vR6acF2i7TuPc6O/q4lyZa2t9ouM8ujSBWEZe8AUIfhgIEVOZXwgTaSzKLBgo8WolxtAd15HpDztUaXgielzkdD0YZ8iKnAnwE0h+7EHfLiwzdMrVayFdyQVEBPN0AS4al7hX67ngWZJeIZNPkqXInfHVgRDi8JWjc1Jzoq5Z4PhTMHibEYHKTp6P4ux71yvTDOXVaNmsbRhwy+FIJSCJuUFJ0l6PqRTf0eZ6i/R2I8nQw3nJFcgto/V4l4WmTwZkI1gdo8RqtuLJ0assLEZlD8dtjhV9R82pOtcCplmg8Ed9r1fcXXVC9DjnEEMe3x/KXTYZ2YaFdF+oAS/6zTj8iiCF51CzvTMdMiddDCxvcjvPoIvamPQpDEPC/Jl6LliMQR2o2QEP8YY6lDt6Een2m0YLkA0NpEdSCRcFQU8DJOtWi7DoH1rD9umw4aO/kBiOnVI3cf+u7+r+AAgdD1Wb0k+Ukm0G0ixl1j/vHfLryUGOY/ztvOr+zOCxlnPPHlUuxUO2n3eF8BgI7o/Nxfg3IVaKzqZDHcxXh33CQlk0sOP0wZ/5zd0rkvbzavO059jFSXfKhr9DJs+9ViYqWi8m7O0g1ayC3LWcDI1+FX3QyPkOAdkcFdMoQaN6EBNH8vM5Jfro89sHRXOewJi7fWepdTGkMzkRBoJbRb054P16VMpopwvKjqMLAXstkRg2Z7L1ip/Q/Q4blFgJlem/TMFKh6Znoc4mRG2W14oZTjyd52DP8GhYhTquoSCqxvDuZzU7pAnauOuipaD2QAkaLYcEg40UBz4qQ8/HFYU1b2dM7KrVu9AswvSUK44yrvvwvRlCmS6Yl/fSEigl9BO2sivy5gQFhu4i7ARfQvo514u2C0o+zlXaWwEX8m5VzBtGYJ0KPXhYbHT8oznnhD6Wb+WK0QkrbQqHwojk2g6r77G9C1mDIF5MfgRjgAb2akSyHe1O9Cax25tYl8VlinHLzLiZgON3YpKCH95I8C4aAd/sz5g6vqZyrOYL0Qo7Ef/eUzywE5gzlYo5GoHLf+MKaj7qyv6egP9gL0txvDTfzP4fSlVdnfzI6RComt55AHw6oEUhdWFPSa54jG45+2yi9FB1mvhHWI5MndD4OB7afhdAHfAndcljUB1oExA/PWhHatAZmahwMciYoktvjShXqecjkwzXpDHBBreA3XTt0rTe/I1CHYU+mXkaJa3HrrFLgW4qoEWut6QUcIm9ayGc8mhZwCDcqKZHZ9ZW0SUzgJLtuz5PHHZzoK65FDmdoIhEJGmkNje0wiynxfh4KkgZWQRsHNrq63YkmVqqZJelKbu63/RgtFa8H5fPppjV0VvGVU3YEXoK8W94A+MfQl05ivdyMuyuRDNwlm7+s9g/rO2EfDi9StiamAIn8kAfcFJzKaYKtWQp57qKTuffBebmWhTVq6nCJSjlg7l9LCV1kz41DGjgcMJdzFM89EJlJZenkG4JFpW8pblhK7d2H5gZhNk5PDDMamg8j81dADHB30B0dbSEbtGBhlTbUY/2+h9mlgHWu/jqPb0C1B/TwodfPH/yrYkSXba0Syr2Kkw0fEwUA4k0FlAnxAin8PoWHJJ/pjKPaQTCTthUJJzJ1ef1B9KrNJISmFHRCK9PaAQIV4nlY56JTiaqz6ecL2NxgyRGw6MMhH9niRbNIbxliu+1fTiHLSzKY47M3aDnK41+iHu7Sf6f2d6ll/W/BQfjlqJgMEBKYG0QegSMAuNhUCWhTXqjRXA2hAeYd2WxPHzTdIZUHDAFO1eZF6uR+bpL64FFip6Be6/YkFziniIPkUQ8j2lLzYXs49i+fQXyitcEUjTfPGXOQPy334aNA59UD+CKEXul+7k+UtaLLQJyz0ldm0VPCfTurqTiJebUZ2BQ0tq2jNR5bhdKvNJJ1rlieK0G5semkY1CpQ5jET4jKqGR6WPWcHKtuUUWdqDW+ZiPzkchUQ0tirOvWrsXQY2DXGz5mY1WkzDOIapop7PZLB2ulrunOTsCqTYMiRiPBGGLkj8uXTZjpGpy4OQ7n9lrAn3ai9Ij1xtEH049yHF4BYrNTNei2Gnebffi4cSXo0VvZgnYby3lhIAd4MKiVDBMcUYwYKE7WU4QauntnRzxCpdYsbA5KhCTCyOyse9EWR/Gi3RlXOFzHv5S++ky2gIPm8/+079N5Mix9fy7hPRnAtvPwZf4WRVzGyiTbBujwu/0ciu56M2AtbuiLoGaJthjxt/D3+70R1dO2MOSxbYdqcIjjbWREQDKRzmKot6qG/8xhosEteh2nrp+w1Nmduj8yNkkV/zsRY9+hl3RZriNHsTg029yDHVHGLCJiQigdd1Ebaq+ie/z4F9vz4FqrZSeRUFhUS0Xwne5ElhyqS84ZmFaEN1wAGvaulrqqrB5Bvczpqj62aciwOQGA9bzAbiPDJcLZFJqQ4YJjOQAGr9Tw3Ky9jYQardL9a09D3iNv6QClpDFLjlaWdDAcyGBQ0yGlmQJOCdbF+a900aPgSHq+gQh4s73Sf9Lkm8pDn9Ft75nhUe5Ws+rjhfz1U1bKg/tkz6LqnQAgsKdfxImPTG2SxCoVe0dlSXWXKGb5yPrgDfJZuZvJM8qMq0aJyjfFplN1II8ZdQi38DDeq0SGWd6174dzsFkujFy9+OpPPsTuZsP9OvuAUmpa9BuzZqfTMGLkeo2Z8wI4MoWm1GdQJuBq2Z0lIdKfBuTU0mUD+le+LUCqdNu5Dz+D9Tmf8BmyDava3YsHZ1u8aJdDyZtuedGHQHNCJbsWKxw0krGdY/BEZ+jMf0hsvaMbAKmX2h3sRch2OaKu3fZY0xxyjqXp3rt9TgKh34Ozkyyi41KML4doT5747sNdES31iyBf/ytfhAvdkQhpnRY702pmDdHYJxvKVF62O0WH+E/k/+Ok46ECm6k25/ON1cGfWJxEfa3B/3hbO9sDzQLS7y/x01zYH1OIG+rD1rziCkwsHibZO69QCI2bZ+p939bT87g3aV2FjLo+KoboxAdpso26gGUs+eVjpPjTazGbGaZ0PoAybNigbnSDBru8KPeSFTmI5UtZwfI32tZo9wby/5d9n3+u0RERcCbF5XQDXSk3Kc5fnpOxbiFwegqo4O3jDJYobf7UaP1tP+77KtDqvbpmysr5r8Jo6tAG8uR08898m3yKCK1bRY+o6uOtD/62GWaZm8Qg9TegxV2JD6WSArONyvPD+TxoY4vn6AIuJWtf8g0P7lOK55FW5eUy2tqKohtJ+63PecVnSRYr2O2pnja+UehYZbvRJrvFBKHWA9nHogqDu4NJhZBQCySE0GnLzl8w1EDP1aaIOibFQqAYFXu98lzNjQTNPbcjWn0piQZ8Ui+59pCiF1eDye5+fW8mYYNL70Q2C9kt6yDL9hi56p0IhvgPKUOjRv7ZFPaNb7bcpScqTPuJWnPLEeK5FqWBC4ujEE7SNtT13//3En6hrHHsm4rJY5LrOkp+ED6hQLKXOABvMH2ZjyC7Q1jpGp23SockeB4pVz8kq9SAMr6uyAirpFycpaYxRKbSsQDyW3yyN+9escbl5qoX5pHEME8I/ZXyeLkiFuqbye0qO0UL4hRPzlO3/KlvmJ0MbD4EbsvQAwxvT3np6OeGclks7IUYREMLFbUxN80E6nWCE1OVx7/lwq1lFrmLH9dSeroV1u3hV/4zgXIUR6vFz4I1MdpWYzooHWtqh28Lm9xh/K/+pVs67D2+n8oFFGd0C7SEs79yyOCpMnPEAB+qJUT1hi/FP1KQEnQjlZO5M5rZe6LMO3HLRZdwf1px/T77uHtqUgPb+eZSiGi8d6Ct99PgIq+ygDKYfr5wQpvVov3OniO5QnPb38ptEC6xj6I7gK4KTHd6LdDJ6LSSsxmqNJ8SBbwTvm7/xFr4xA7O53TGcLfQoo1IayLmoHNQC/axMO9fDJGDJJfR38nsILW94+obljFuOGsxpcws6bm5RtQ4KeKhltpMgD4B+jrhnv+Cy0jCPBXrfOrCjZHPRx6m5OA12YHx7rJrEefuYwrCf/JF4AZEUIyKmWySh0euOhWCW9cBNAv2+d15xWqJ5oeq/znA7Bmz3W5QcVXxx9ozHINNy9rizOzlKnIBWQpaeUWVZp4guCeMvORJ44JtvUvBu1DEATMzL55XbjLnxunKIZMMXad6jVYELhfbGwe3ERH5wzNO4ixICnmOqfuIf+YR0TWfrxkG9lBZU0ZEIhtqkXC64CSZo5E9GtfwMqS7xHOlbVmTSw+zTvH1joh8gkic/xcE7EBMyjta2DZip9zSpEKb7UbbGnk7PxYn5msuVYTl74CeNGxNCUb90/Mkw24C6Bq5Mhi1ZzQhIwPeOY6P5Lz4R9DpDhB8d8nMepPgaKWEMDYvP/Hdm8Pp/+3P/T4q/bw3zmAM+R3ISLH9p24F40IGUx+4YWh0m0EXooiLKuI46VRTChA/sMfZNyCSyfMo5jh+fnsLJeyB4s0uRu1BVVwpGs/X76krvXzBas9ZslwIK0Ie3CciIIN9wgBjNQ9dQ0CZvATiBEZo6FT41NFqi2shLfwlGZAKBI53NENnjUR8/ZHu2JFwvPZz23mbgZYvbXn+Zx2yI/P9y92oEXKYchyipB8K1tVaV9ARHdLMlLWNpGw1TYKUwp+xZtQK3osIl0BHOUuca/O/OTqzhvdk7umkjuiiCW6OEBmpmIx67XxOPXbPkl7vWs8lAwWb1qkKSMJ9CDAgxHHsvjyZL4Xv+J7SCaFrXj5Cknec/K/+V8XN/RteqRNAQ3AlVrXPYwT2/4llzYmk4ZtorTgqg4/LpO7wVznEsysyUtRdrFWtQ9OYTiAeZR5Thovh3uE/suLcr1yZ+vCmtt814naWzs97Py1Qk5cFnLn/4gwqY7fwZUDC5ZSrHsH2jCUzQ8PjoVvmlRFBK2NknQzKGZ4BCNCYzg7L3DvtHXVt7fwQrQHy+kz09CiCgCcqKhVx3bxw1NcCqDsMztlKOdlQ6gbzJz1GrklyU94JNInMl38kXVBxqISSmEZDdPAkPwXdLwVfXlZQHU/ZhH0vKBP95L5Iud09dL+lwcDfrlWQjRiBTFvQCTBXHOKV7QoH8oEAXwhoLul/QiNlqG8o1mwG4dO/Q+itqa5iEwIeWHbZQmeS8IICSs+j6SGGsFLa5IkDD+dWGSZKT/DnYIzX+U69fNCQXoxXv6l1uGJnJFNCn3UyXdG1kFLxgMq7yo+0BSG0RgQPDJbn5p9s38dzs+IDqVNGkaaSa1yvCoSkSmd0WNQRU7CgIYi+jj6kBtroORe8OkyGCUdpqcWFzaMeamldlbLylfmYIAMEWEF9hVScsAzbXxquL+kdHDWQ5jUpuvmp72NF37I9jzIhMvKV1ulEagYWlCV5/o7qdTxmZfR5oIeJ+Heq6SRuqW7v0l8ZV6QYF9n8nySG9FBWqSGrRjSV/eCZwNO57yba+pE6AAn/Ql+G4PnRCcxrkzty+LY+6AjKvKVDbV/hM7TE7jIeZGtLH8Xmt2bW4dgYS7ZnMZuHuA2+Y3KTwp9Xv4TwEZ9Auor3/cnn0Xx4McFe3mVWfO9WOVh2zI5qM/UtU+S82JBCjgj7I2wnhO4+jfDcDHpdike2q0vB27XMgXxM4RhSG9cNXCLALO8TvxGalm4w2gr8RXoB/12Q2oECA6FaFuV1wC3fjs/fzu6G17+0xGiY36XqL623wbgYXnMvA6NdvWyX7C6xTmthi74jW7cVg1i8hWpxDqiWqNdP5aWwB6GF8JfhgHHpTQim9nJmENsA/7fn0+uRQoZF2IT5HpgB4P/SNA53rQDdsA6CY8MaHPKPe9ujPHrwRMVMW1cqY+amCRRiLwTltC++9YJ06QcNRIbUdvdkr1GiSkwohxlNqkY1i0hi117ByIXTWkpUvwO3BE+wVmJW2rr+HhTlrglVvfpdwJqrV0k9f+31okd3WzDaRS2opho7TE9bFVCCjj5msKZzv7Sf+o3wyNqlZcrNe6QgqWHx3N+qE1C8YwhmnzXLpsyTH6+ew7FL5wHLHCV0EmQwakLxMvdKiheiaPOMA1zd4M+DOYZg3aXnzF69tvqXEnzgXhQdMTdav0L984ZPNJBApx8gCxXs1cEXfbMt1Hr35pWBDPw66SfFoYIZsBM9HbNt2+FvSgRINrrKbzhc2rjzAyWjKimu+lLymh4dUKcNcfGgxQhLcdBz7h6jRlyKwMse1DAEyK+e7AhsSysprCRw80zCrn8BhEZmJSXka2KJ6VjsUdDjSBpKt/2k05WYgNBGO9BHTkI/vqtkb2Ah+gta9zCp0qHAKphSM5Z8qGKIMg2iWIGyGuuJ2ZQyg1AJ1EegrVqbHjbtiqba7WgAVcLyjZLUvhs0tJfQF2ZjwhP3upsYXclugZoaw8vmqdIrmk8gYmit0TEDfYp5yjbGTPD1SQpFURx1oF3aFJ7JRmbzJ8gUHyJky9a9t2Lx87WQw8CvJYZFefTMn+Jvgmf8qaBhN5oYQkjznn77rznRRfISNxDOeS4vbkOCckNLZW6SUz73y2SIEkjLoY8e1Fnqbx9eCiPFOvPPEc70+sp9RHn291KYGnvxMtg1jXmTmVVq2DKr3RM2UuLHbozY/x5rmwpkPg/WLbIAl/V9z4T5fZFnAx2VdH8eb50+dHH3f+baV/CNWQDFyfKQSZv1QliDflIp62X+UvlbdK5ahaZ+O7zG+dwch1p2DRVL2gexoAuKMeTGzxF/IrfLIeGRTAaeNk94NxKTEHJVHjXL5W4KfTD7cWF4LuRRRaeuwlEsicw3Vq0drwgbhPEmz+fSMlF03+e76yofPp6MH6l1hD8hEQ+SuC9Mo6ebc9OSPnOltafNQwFpwT4QtFM/i5UcB46vb7msd/6hkxLwuc1APDliVQkiSsnQkgFDGZGZTfYb+zyQ3YndwwT+tRyCNrI+cx54QGR9G1W2r5dZ2DAbnKNm3CT63DcyIw4zarKZejb5ogs+ApxWi8cVPwhzIGbKXyJC7l739kq80hQXqPE1Q4OozASCDtsEUQMRdEIAlgrIDaF0/RYc5WdLsMk3toXKHAQKiSQf0FNmh7cz8bMEuAHvdQu19oSdTOLjhimEsxEO6rmMTsQU28hscpwXppRzMmAhgSggBmrD3NSgDfyLDdODCGgbtnDCwLPTsN431iEfQCM5YsM/P/TSJLh2hFpko3J5fH2ZV2C3QBS8q2P9/HMbxrFB2AiA2xIVjEoEwyhiTGjeKNFY6K+eUeBn1aHIhZR0rKgj6FP+P5rpiysuXNRNIneYiDoCxxAkSZpArjQmUUIoIc29WM+DkTPHHajFlWCmg4l4nyxe1bv02iRPZKIMcAn2l8DOncx3PaW/+8JV6snUT7V1HsnHGx6zx9q8wf7GliSl1fOdfhKN8Vd8Epq5zSs9DLNuNzae6m5AiFoqfq2uZLrt24m9Su7CXnw9L6ICzowymY/ull37futqATPJK01bPVADMDulYL4sPM5HBFbo3dDgOR8VtI5w5CYy0JqjesUkeVSoC5gZ6hqgV7lPv8hHmlGfVNTY+QfB5bH4hSlihi0o109fmypJFZVI9DPMjaocUCqPE7HL0qcddOf0UUdpVRIomkrzErauc7doy5/hOZapWTuq9VbAUbGkkp9/CV9etKfDvmVUSe6G8p8vq+y5hDk06flK8rhFObXUJXjM39tnKcsItJDZhhsvoY06pP9EwGFfjL/VjCNwtx2aqW4PHLfHZAj65bzIvUcDeq90XKozyRWJHvLiJ17qa3r7xt4kSvL5Bgp2bo/Or14sFBU0Hd1hN/NWKXYV8PtgqfyuQv41+JJQB3sGNQFx1Cxj3cNgxjWypbEwxW/YtT1NdU4I76SoTuaTKfS/6OI3/u3okKd7XY+QiIkVJt0Z4paJ7onZG9TI144I5KW/4PCmghrtWaEwagWWw2Bb6AkfIhZbu/VDLH9/Mfc46Ujg9eP7ovF4/71wEcHMe2y/DJ2/5sAxd3KkHBQJRI93147Pc8Bdn7OhJvd0jWrlMGZc76LeYVi2qo4ZztcvxG/lFCMbi/3Dvmvt5OunwPx+a615Qc6h5TIOs5OCTO4HCHYx6dcfcYX7oLZXOuqANECY/lw2FxLiuXuiIe9cRKs6oe0FNSAgQTk+F4hSDdS2Lekk+03M64dNBqaN/WS4ncAHNYE699mWwSmkWW3nlu3pMP1vbgEePAdI7mxT+4NDq+loJHznVAeWB1UyVzJrbPu97TI0+Hwzr7fD4hqSVfShJ0WsgNKA2fkOE1Gi9kDkeDgj9lUhlJFeVscamW5RpiPUVI3JC1+QT3393NU150hED6aX4JgK6SlXSboVgFO+LKuJB/TZ5EO+SuQ5KXL+PVzvXpcN9lXBW7DeAs1CGG7L7EW7Vs5pdANaWHPhkKfD+HFzzd+Y6DY+asOt36nXiqtc0Mn/GZJk5J98DHbhp+4Xw/CPfB0DkSYselb2hSxO7NhzpNy2i6VZDsQON2Ager2wameM8WgFJZrnAVu0srFaA+Q/hOsB6h+beO94aQUisSq8AwFZ7XMtE67qvSFVoJ4si2PLIBw/od2eQHU/fHQfruSmjjhJscK6itdTic3CnLDnXuWNozUwqgqh/k5lt51EMb9rzhhm+pCrRb4sm8BPgFcy8Bxf7jUoPY0ivSdnEGXPR9W9KC73FUSoyGDbPcvVOQZl2QChcMlXVN4BU/V0AjXkEKfDkBGgMUIzv5dUpKGadjUG6vHGPO8E19m72Tm4d6423imWvURAje0Y8ea081XmoytucHxxr1WrisH1pbtmNSW7c4Sb66WfGDFBIegyg3NlJM3ImYDe+AoIAcgNDJyNh4DmzfG2yHtdcLhmGh6yUz2W/Vt7e2wzEVqfr27/GjgA19+xYA3hqcQgkG44moY9NIobyl/H2ILapdhLc/xxrYT+Y25eSMZSA51xDBHV+CA5T+CDf3EnR2Ggqxgz8XLEXzm9Xj1Eb7rWdgJBlK5yd/+eBXoE56MPXK41uyJQ+ZE8rIawCdyrsnjln4rsHdpsw9PmzCaeYB/8TDJkC5M2IEfQvnTQbTpDSTH/MuLlmvzXncolI81QzFiH4eXKUtibb0ehXtNM+IKZ9jZvX608WbfJwks+xvWPZpm80Aw15nlheaIHYh3udN3ykxYnVVQfTw1EOY4C1zDs6SL8yqBpyRQ0gJFLxuMHUljBHEIcwlVJLymOsHlxsgrkvRwyLitYluQkFoaWDA7Y109OkXseozBgVa/9PR9GQNBXWAVctW1TfqcA66wLHDjAiHwOt7TkSpBQ5/HE2Kwre04v9qLMP+Q68P7pver/axKRM9spBzMsvaMUlEjYzXjt1Oe/DIrTI/G6quP4AvkFsycurDAslHT2+5zuUws7o2xQr8g2j+hslYoWcb++7vwXNlGgXhItCWC2mRUsZ+utuPWh373BTl+8pewbhJ2Jn+Y9mUPW+xz8i5stRypgOvAzBvkqGFPKsx4YG0Py4P/ixR4LRaKvsYgfwIKW7wLrjR1X80NrAWD3sgqXsWPqGxBbIGa/KGCJLvdrLhHR9gHD5rRnRegbCQ1qcYCGItoe80h7CsSPlg5EFfLCe/PfYTg0MHCH0QA+UJJGmi2UW0pmDfw2U6QomxJJGz4mfe5Un/5++c18dY8Cmb4IC6hCzIWUiIyYxHMEeEmGmWEVYwuufXDZ8ahU6xoUPddbDvQAyE2y67jNwflq9FZtHKJGdbu8QTyi1LSsN8QBQ++Ns7g8QxOf19eTrY2pqD9jvWxWMNgim0bpxZUcq74JA/3BlW5977JQ/4YEyPduk2AgEpnjpU2YcGcDUJ+Nc96EDGZ45N5EhVWCQKbZT6UyWFtgpwcAKZPckK1rJIHnnb8J2OxzrThBo2IB7L1vn83o7SXuVbmOKWsXa+XJIpq5MM0OjOyChc/MCbtwW5i86pXNquVIgsMne2tckX84C6xQQDNYweZU+7Y9vIHJVOfU2Za1wXn6QbLpJHPhwzB7mXJTuW+Ta5BS+fGLBjzVPD5PtaaCpfmskVzfDH52hMrZXmuTA6FcX1d87fbd6hHoZZyaTBeA+ePatdFxFYy5eC3tGF9Ytv/AtPh1Z5KJ5NQSMOkzR23ZZj+k61sL6m9gm/aEp9yTjhIkfhURVOoYchHHTsFzMTiVJKBnYbRuNfuZr8FG0Df/YDAxa+ffiUolrfEDZnjdS5sQYi9SmPI+hbUKUqFRGsCggZ4umeDWUqsFhWoCMfCtQ9mJs1axFeksJycSFs5St7kzueHSppYOYEWCiYQCVP9SBUGpM6bCrJWF5NzxKj5HeASgGGqEafkCkLiFXNcb32iedS3sLo6rSCRv3ss+vwziE6u+SN5CcVC8/bDOYiVzhJ1X6ccFiAHbajVkLCcIVYgUDYIaU7gDKMe4kilJ5JDRBetD6JlOrExct0m4MWqgWU+Hp+WpA66XM6/MfOXMGY9SQudd1GOyhEGoJyJoyhWpJmRFBfB7fRXahlZ98Fuys/DvoBEngKnK5452YC6PB/LBXxiFZNvT3A8teracN1tLnMomoMV0bEfA2F1m2lKGhXX49yCnDRghXsbKiVcIMTUoF7Bz7wOJSeEH3LVN/Lt/6Y8WkY9kX4xO5EKY79ZzV/tuvL8uYwfAWn3gr8vicu65+8UvSg+5OcM0P+Hcn1vUurzzQoikCbRnbvLLtjY6hmexQW5w79P+Q1ELk2cXw3b9ekl62zV6gzMCAjSQqUK87lkNXk05NKpBIOTNGL4bYEY9VExuwq45KsRQFSIHb2K24lZhhcDnkX+6c/X+qKYA1rKOlMrLeh4WOykzzf7HdVRPdLN3DH15Y5tP7x22miRZ5OICg/6VQ5sKbvgTKH59uzV9AkaQgkQVmpB21YCZV9rXUocnCoy4XUue+4Ysrvr0mkXj2nN603fae8kDLNZvDn1n5ZgVjZZxjyPMZJC6+pTbXTRLCVoV5G+wgNU1MJYkY3fm4ybS148i8a6gTazriehVcZbq5sUXolbiJsWkip7EXtDkCCvoivNGY/Me62BWmfO4gRNux6Sen+u5bysrL0jAPRtQnHxLbivrovcnLOfaqTrm77j2Hu0x4yGAaoUjK7HSwO9VurJjaBJriecOdK2M0Jfx0AiNkjyx8S0kNtjVkyHEzqFGZp6v5Q3CBEytguKJVVTmX9gfMdsFTRa5mYCgccht+D/1CSTCLrsirwYWAzP6Fl5C+6iFUeUpVYNVK8n299GSOWvE3rOA2FXAe+OHP9lDcookVcwXv0zJ5Ss0t2V1CChIvxYdzHI6/3yOX11ax7eB1q0/yWsERrm77J7cxhcA2Jkpp4kFpYtBzY2ZOFX19JlNKXytJBPmw5PQZ7Gy9uGOb5mfawmKGT/73yC2oUIVHO7bdCt/4q01ZbjzUTNXMZ0Pze9tmNECjlPtKbRU1qAABzZckgjKzG5XoNC7ZyXHk88hWmlr0FNgkt/dMd/SAXIuMT+VP3ErwysYbiKj1OCPYuvVOIUF+KmrsobVhIjAl8JS4WCjc1ibnxVBlITxzQqgzwqTQSR1m/2j7ryfBug7k1zFV+jQaDvXE3MCQO1df924XtQe5inQsZp4yuUl6x1Vuy5k4/MZCyINUucsHswiTTD0hFSMUppXInTKBgDAdByUo1QwN1aWjZQwHhH5pn77IeZLlHlD8yIflk1oJFFaEJKL/FOFlyLi2qEM6uMQAUeU4j6FI4mEMd6G4Gx+9zzN10hayRH4mHM5uAExWbCRiWSVilnmEx4AcqkwmvmHw0SAFOr5BCTe3PqZeK1TRQ9TX0X/N0smbFVIkDRMzPRuDS7IjpeuAxUeE7R48xVBuOeBLgENxYH8IUWOJvPHSIb+IXthYgLD2P2kthcm3QWKsTo5ZHhf52Z4/u7geNoaGVJPPFjCsTyQ3U8nRBCueRgHXFaL4ldahuC67pIKmKpAbnb4aeJJj2CgCjZbXpgQzIhFK3RlermBZVqw1+nZlWPeyYxeFEkEoR6aBoKG+K24LkAAy6h/ZcEDoEm7B550aUM99umYraQEX2XqrtzgxsBpkmAmxu7ph4eo+3lpPOIN3E+KoCh7qQ3ODkh7Gu4kh5Ai2ixwT/rhvBchE3GNKMNRrW+m04zsTflHoH3Chrt5tpLS97ulG68aa+OSnnzRVGg4qSvU48A3xzfypBSmiG+AkTsv0/MDZcloE3GnSAzMFMtCha7W4qP1wHsHbLcwuMzNAFRiX6hLaoEEFlnSAx2HVSaEN4tkFt6Y5Y1VPdJrwRPvQJ/qWDlFLbOmiVq1nKAZZlg89PMUwgtdC8DaAUoET7tTN3Y0AAa27181u41tvg01fzF2dELJsL7JdQDIghHZnAhqpnXcHH4J74j44ZcoBfY8NaNWN/DtRNcRHmkGIfmAVkTWd8Tgblh0pho1HlPjeUlVhik+3AZ0pR2H3RYb415LjRhxlzsNF0vKkWZqMX5ixKu03QfKUu9fC/Of0eYcRtW+Aqz856Rt5MKrNtLXFym5Z1Yb/OmAp0zsJFIhFD0Lhv3UiUNtckVacHm2zD+l/5UnsxJsAUYjhQ8L6qE255LfAchPbu4dezeyAxd/s+z63f9g6+xNheIX4rFiC6D0gOtAc2J8MHsYaU7FS+/Jl2M5XCblaDEI4FzBD/rzvinpEf26EZW2aMXnBee0oUXzLvO9N8gPvcrGsBQAabkCaPMMjtYh7E+QQ73aK8llhmdtmrO843VeUr9lkniqEPda9E8fW+zEcUkzpbS3i3xF6oJ8Z+a8bJ7f8IMDU5RV2xsfZybHSrm1lFP/4ra4oQBM5AOboCdwOTCzzOT3dZe27I/lsQj3yv9ao4nrG1FuXN603MBU3Ac8Ob0dRjj8LGeqsoLU4XGfi+QNqr8FHTy+AMBlzwsmGqlBQjq1RrvSyTHOMnXX2Aab/DeIgad4D8WonJbxhTYNMuYEpPbAp2gSRMqUclUIR6Gb7VQ2Pycx8FZF9plpvLo2yDasvZfuwnIsZKrQCTLcn9F1upWYTpacJdfqRWGGn37AZtwbO341T/ViHhG0n7GT5ErCQcshvfgPgP4kIEDkiUYrqPH1OsUVw6cwk8/J5lKi6GpbqJfI48QcONuCWL/zttws265x/ufWDqKhdoSDLMejiIJVDB6MOVjAJCCMKu5eUmF/z4bZ4lyaAZyki4aAjIwNSr/+lfdKRSOb+CmHsRD2ZrojbX6ZmKRZwQXIfGXPNcpcSVFOdtch6LJB/p352CgUzfGV/nXUyZDWOY64DV5NFKTXclI8wIXfoLRfugADhoHu7pD5+jUM2NtsjjtJg9Viml91DoxZ3a6//uEHoC3in2oWzu3kYU/X2KGnx3sEuQpfGO8eaR9wQOI8sWhyAo2xaWhGwhU9zkzENAu5AJV6goIIGU4LDS93mFumxoz+ZL7Lx5jIhVH0eghUMzvZ8TLur5Z8n+aGx49N2BGzBi8ZPjVePer8IWMZ3atHMI8hH4q3KC7+/F5VyUFE/zMSU/C+Ha/f7rUKXJ2gQUyDwWUOlRH8eYpl53n9arebXPjLIXQR1myZ8lzAnxJwPAtoL9dAIuizKaQYexlIKgK5tMSKZf2FB1oipC/7ermDptU4+x1VdpkpWUB/faJZJaNSUIw2NJ9qtgq9G8qAvRlA6gUg/P/IJIuuwk3F2FYShwdtbwScCwFKShT8QiH/xB2f/xoXbfVsskEpctGPgs4+2HhyvE608w5FzbX7WYHYTaPyYh9YNRPfTpvzoK/Y5Ik8ek7xtXXOi+EaGOAKA1VO433vyb7wjMJHqA1zbuf7nkwMZUXKFbKVhk4C44Z1KcTUTyYJU6xsKiQkKTF8bCj/mBZLqM2IPRDaDger9/rW7qIofPK8rDLErg5+ahI0ocznzyMbY/19gBzrkG5ReYiR0EtcI5jBFlRK6yy6E57bHsGobMD+slBCMEXfdw9PoRMtZDSUhHzeawjwphtvhLKpPMsAfzZcwEHk6U8yr3YdOUfrthMFJq9ImYySHRCpsv8JFV+ePXFdgo/h5s8DfAQG153RVy3zu550oEnshm0Ek7BhkCT/5s3tndTcDO9iLbTIzwvcHn8sJ4GWA5V07UHGaKfE3MnjklTwEYWG/mjHQtz5fFsaiJ4Mv5YjcmwecPxkCStmYvqIORJHFXfIK0jhthr20O3GMcGhbrZCiMdzl66231RG5v+6owx8UJvxA3DdghvlgB+4QPW/Cx8GK8aLdp4MVWlOg42Sre7wSnnn3nYENdaguE0Uz06Uh5/Ix9Satn79L245azW9tmbmJTjtQLl0fsZDgtHyP/Z2oTS2D0KPtwcKgykYgVvh7/Qg2ehqkVY6v3kciNrOz8AG7tJwrwfKXWxxCtqkNAktQyoCAorJQg1AFo0ynuqkV6x3aJ+QDSo6koOJGS1tfR4TnAt3ADl8CczTFCKQMSfaWTIPXU+yYi2G3mABXRlibbjijrCCni32YagGS0WMq0SQLszmTmU/o2Hc7e7uGrC2/C/BVZjdglckhv63VpyBx4Kgm+OlDDw56tNGgKLT5o5clyJ7c0bfm0FEhDVmKcgJ39wTYUvcIX7HQktZ8fiYmqBHe8TSMyKlQgxlffRlSptGTncMtr7t7woSCHPLoZwbdrOMCA+13+6ZU+nUEQKTrS0KQpEmoLzv20llQnzExLjGZTQaxZgyzFaNbc09GbV0pfUDv3Maf29HNuv7P8Tx5U/1fWLmkxeMZHIjeg6JzCNMKbUROo8eZnr8+tcmkBWNcQV+WH+qVs46L6KCVQOUfGBVqW/2bMAWZLz/c00Y0Oe1nYk9C2rVpl0RyPjoupW2nfuFEoZgs+DuQ8Mo2iCiLQ2ONhdFiYJuyOfeJZrOLBy+pSZth3TOsUMJTxVASQno3Q9FxVVl0RUDk3RIpiY+p/67SxqquzoLVHj5JSciDosAH6sSNA5IuQ9hgVl5Z6Nve7mR91QYJchv6gFWuYBjRvrKdT5i2p44paspVizqOi0hKqmTpevFYiYsmT2TOKJTlYzPyJM9cwdDZzanDkmzaOUJPf6M9RGYUtCtzsPqHYztRHMiBbSKbQJSJ1FGHaM6k85fObIKgHsiU1eJlp4tjppWymEqANnykujDv00jzNIy1CgBlB7Nraux16ZFwCLTt9GC9My8Uif38ecpE/nqHVPNDRxvWmFEk8u8rTl5Ht2qMXruPxedwY150FMQS/c7GL27GBHcSOI7qyXyn4r6XNacPNjyoUt0954xVNTkbO0R17Hpa3oORsRwzZxRIDumEfCQPtro4dtFuK6lHtuNB8CG3yX9NGOd0B6dEYhR8LrMrDvnhPqDfX5AYhqty8JnIdQu9hT/DOSHVANzq3voW3Eb8OlC/nS1M1/VjxQpK/9QfCfOMMekywmaZ0v5/OWCQtp1gOC4qAOEhFZIhj1UoUhsk+Q13BTBddGj65T0+rMI+PZ9lgpXVeYMlD81Syne4oARZw6KCkdaiPh7E4UkCAh0S2mg/vS1vIx9FP64OZdtHxTs8lrGGfzR7xF1BdJ1hfFXv1sthVwahNu5vhIAKavkri78iUl+jSe++rbjyumhpeiryhby8mxiS/32tyBQTZxQjujZU07CzEkAZRaZoaqXA7YkT6kkq+/aO24uTX8oFlVd4iOgfzYQ4o7BjQ46pwp0uUTeltUFBP2LG3RPKIvAgjTu6MD8fc1cZSZw8FsM8olR7/Hj3hpp/oAutCjTnOBgLKt+7zAWrNU8puvLi/6EuUlYxvAJiqGkCA5X6dAD9Bp3spiGM9kd0txB3axbtIuSLY8UkrbEOZ22malR5ABIkZcfvdSoLRhH5H/JKpuyVhKok7f4oSd9cA9IQhi3btn1rFG8ElVXKuZEXUYxuWUFBQAGC9BWShf27uaXAsWbBicc03iWDU7JWYuVq890SqqBq5Ol+VerA/ovfAMrPE3rLO2fHkh3LqyVQGRQkskNajJNVcMDJA08N3uYGyI0NduUpH0bTeXPyIxVn61ovJADCop7TS170rbsJK5Djpr8SlZSplsuNaA23aproDFroEGH8ovjv2RcQYMg6+26k21HYOn89duwkfq4XyWVK14XzPjdXjceZGiylIBgAg6siELHWLmahmXquwyptfXmtKRXVU8K8S7QuvetFoXLw0TZhvzcRn4alKwXFOVG47otWbj61+5qf7H8KJAxhZqhBA+lLL2q3tmgoqrO4Akflj3H5MqHxIQ2JXlB34T8MbcIO/op9w4gUIV9n80V4a6OYlZcd7PieBRSfECn09qF2uoTuOyVXoYyfjZJlit+JMC50layn0YFLptJPkdmRRnXq68qtamfL8bmQbEg8O2HPHUaVsyx2LCsgnkTnOPXraNoNTyimre87kCrUJl7yzGj8Kw/Vc/6qvEL3YLGH/B90gY4HE1voftYMvxGhUfRykN22MMldfYT0D66aRXuq3hkDYVC3n3cvi22owwOzncbP5CnLlgY0SacA0TJESlmLMF2RA3fd7qaT6ybec74eYmB3EbJVO6Muc/6XStxoj4ibumGrijN4sjIMtbfr8DdYU0GsBfarQLFuPKcR7Ey1YhOdThuwV1jPvmvCA4UjLLXsEhQweZaxtQoKsUkho+X95Y2Z+SFO9PwXEyTXtcqUVWu+8RqBAKQd7YNCg49xronNBVRZO8zf0T1pxPjHphHLo6Um+o13v3TYOFepoO/RsKxj7tnXdd2O5GaRTFYa2zm35rjN269eFY+WogqcjGJR9Ob6db/IDNAjM5SaEfIzKjGPnz+kRTg/RH5v1dQzUhlkqHI7J+RDN6rpWFQbV3vRLPz0ulxqS4Q6GDPMD8ENSbgkjfP+ZU7SWRAYHYHDe5cNS60Gb9qVrF13X/bd+dM+gcoQeEPL550Bh8sXybQnOowrx0cE4RjLIs3Stx6DJ/JmVHWwDpzNtsoeyrth2dlcZiP4M3SeFtS3OAV4mq8W8dUlzVyWcm5J2/N99iARrh7IOzXRpvSLhM5zJnKkifcPmZYnvWvYB9dDHME9E8VnKr8gU1LTU3CAvAIqiMkApRMPDxoZSbIBUExstJufJ8QXH8BKSQEOi2qUOvmXw1iGcnBHUSzZitF2LGujxq7i6doCINAfF8i+WNUDVUqkNfOpR0dMXcwcx1hLuqCRsGBfMmsvuiXx0sci3sjPjTH1fIYhE+x8u4YLVy4gkl+jaCtuKoWhcLANdxYirDa5BX9R4y3yfaN7VZwuWn4nAF9f0E5mOx1gv9+MnGYbM6ChXXpN7Q+5egVF0PECDICul+xQ8u+ZUNuQxAL32usrAOriYcQm//DayhmJHj1NmeJ715EGtGxTwhNa8Fl4nZTDPHjMT05vlcv9ni851f0Qa2RaOeGJKqMG6IwMB+YOxkzy2T62EO5y0QGUTvbjB5TRnpVkVQwuuMvWzpyuYsWvT5JZ6qIqG+yHvk8CyLu+jH3vgVk02ZWEO+8I4BNPUIsOYwZcHUgRlmtZQ7OgdjJCrlxzuBUj4bsRG9wvzlZWPa8MRQU34ytBvwXantNtNjsr2dufngQEd4/rC2XtjEgrw3re+FLP2O5LPS9ZNbC8y/WG0ArI6hzvKUBVHxzhbO/nA+pCr+cvjAm5m+OuHnHK/nLvrhU81HKTyS9+ajUbKKDZqg42aiGyBdj7vDtZLGu88GUrE7VhcJXaOsOq/4vZddQ1Y1Zd9K9Fa/C81W6xHhsYaW45zoSwA1rE0EOSOjCSVNPM2LutyAwYQuQlXvGHylFEeTyjxcPLwDRkLlJgKRnRAIo7SWdemS2FKWMP79pSa/Lv5edE++RDG9tUKSf7SGuQF5TAsdnNIuMHSKPHSP6vxMvfmqyGcFqbpeWh8nfyBpw+u71iQ48kSVrePgPIvePjifBkI169z+axFE+OgCP+kkhofXGnM8hsDddXjqLMBl3QTleaApwdMxOsc9JgRCSaEe5TuQro0A3IaSvju8PsLcd4Su7SoJTt2+L2ycwbZ43Y2nkdEaVgkpd8DdQ1H7Y4hLr6eOxjp7CNSWj82UU2FAZzfie+Rvutl9Lvvz2Bk1cSFUbttJ4GCjwA5bCix1Y+C0Wg7ObAl8dphjcYDVq+GxkMTWito6Dg8vTM4XgKmzuCSMwNQrY3DOnLWrvudNZqr+9EC2CKN/afYD8W9L0BUaQkHxBhenzFl/JO/gt7w6o3UhAq62igL/YXsRY2xcdyAmd88O4qFtRJDxCw6L0c4ScDKjLM4qylX09i+hAIHYyiLxPdHaD+nkyhOHq0Abw7MqtOYOOUuifH9jEvvjtXmtBuRFUP0nKAWolLv8LUOCTC9K+TLTlJQg5l2P4/AmivqynszSnrviJAWPiW/TSUwwpO2vyI1gOKmW5DH6cuxNhLTZvEM0osol3CqGAVvf8bqsG/2lut0wq/aRanB/GW9/LK9WKxQi0ct7wsOkCRtF2eDThe+DWH76WMZIRsxE4tRjTwQYngHeV/Uei2HFeO+1F17pl/D03DbpifggSnBDzgMNLaF9EdwkpjsD/reHRgMV41nGW9+ISKbfn2zErnjtLNSTvP9anaLMpx27G/VTKwH0d/ibUaxfRlYOgWX3Cw3vvZMI6F+Ne+FkyAlUQ86lumqqZnFvhl7R8L6IPUfCycPrr4zFRU4nqtrr5zHTJnDD/wwK+otkNiAa7GCXThE/dCHe6nw+/rwNgoZBi3WN4pDSfdEsDtTAirJ0nIQGNKStcAUJ3XnHtVWuzHLU70RQNwV3nuuwRVVgZpqwogri8l62KLPKRnru9QkYEqjfTYuliZEwaSAs3Rwn0RsotXIzeD3gR4UJzPobXR66Vii21QA+rBSpESvo6sh5a1ST9o5e5cWxXHhJ/M1X19Ru1XjlwLqQOGjx5Y275TtDzIG4PUU83HPmmBz9TTbUz7lWZpSFcs3CaarqrtPD7njov2k5VEDC0IXO2fzdIRoiRdA6hFYV2XxuVDDr59kkY86MgGxOUEaMjsQmCwvDbFL91EtsN/KvGQBGkvIBe19Ys+DCoFs9Nq31+goD33RUdDt42bffXOujWvjTgtJDFeWM1+CnkGG6xIqfFNUJ/IRF33RcBlH1ZQfI8oKLPm9E+of58iL7IsH7V5lW2dGaWixqSrTBDmehVpoawKnU7uHI9mLo3nGDW+YJ1V7tqUqAxCpinXk+8+PmAh/kX9Nl88jeZ/MwxZpdvjLQhUFG06a6e/sD5a+O3cUKKW04Y7Awax6fgUmb+UBrvWYRZVVjLXJUIeM9Tdd/Yy3yeksL7dsnvtkmfmXwm0SMp9qbsifKasNtS1DYl3J3b2SmPhXj9/m72FasDpafxQJst4M+GthL7FsUlirkZ8IDLSzVZvMpQZcyXoto10ifTf9M+ZfUQXGQbowZp2Q9uQDllafurBtja55LaiuzwwbF0uldD8C5pIwds0bqd+1RRpBDyn/w4PL4wnwzXz8HVvuMOTFKsTjtDIDGBNY0GSxADtsQpf8RyHjvDuhDSkFNRf2Dm6DE0Y/fbX5jZ52tNVegqtv1a5WYd+IUH5V/XTqlS2Wq1zgPZMIZmokJkJzpHPd3m5SEO8iKYrEdLqFc9l0g3cGWDD7pduRBTvdMLIT8EJGgPAc9Rt/IBx5V6b+yVPpSUI09fOHqGCpAkjrjxjGUp5ynqnRGGN/K8wRAumApkBRQbrZQgTx6ncpApSnKIZJ37JfHz1HVOJKmRw9F22l8R6k9Hgn6zYzwJOQtLG6W7JYJTlL/6oM8hi6wlwF9GDHslW3oIxQjPjCEvxUG/d6AtIqE3g8NGZIJ3lIqv0lBbihruwQO8lZZFWN9IIcTqqkEyfMXVWUBuYJZ+oJExt1s6TJxQVQDx4Dh+gwQyq2/6qBaZ825rUCmdx30l4FxoAMrQbxIE5eEsZhCl4V2b8Y8D6eYp5rA+9yDQ0Hz5pDmNaWdEFNBbaXyRV3icGb86OoLnaLrB8quLpkRIDD4A/qeoJ6wiNSk6EDkpaeKNAe2oqA5nqTPMaQjUZGP6ctesvWB2I8GoMOGfm3umzWciLyexA5L71rlw6z+fQK5Eg/+qTrZDi2IOlXLmAFfLnVAzoo/U7f/xiTtEBn4NVHKz7NeApINfgWHzzuBdnz52l3uv/6nA2HtQKuBKPxjDb6ODp3ibIg43iG6fCVsOzyMrq+AxcpchYTfLCoHtHSF0mwzJE/F+siPRfH+AJu4AI17zPj9PC4BGKoFpqyRpHMKuqdM0QbWPsNxC5byIx6SPqNv2vVhygxovvitiFVEaBlgnn5qay5hp+tmghCyQOIt3mqP4g9vgsua43YmCHB6+X40HN6F+pMa8t6XB/MUV/nDUGv72PJAY4f6ixg6tcAyzWfAMLDZqjN31DFdYGw8npF7BS1m1S8VMGEBzPSGgBDohdqWSqdAJZFpx4Y0iuoaU3+OaG1l+rqN98ehTYpU3fGzn98nAqOw6cfjToBaDktcWK6oGjY7RQAIunSuYVtfZtRbJ8Uz9qaIQ/VO7tZEz1NF4dHIi51DRR+0E23MW0eWpIRJzjGdzcDZ1H6MTz7/7+Q0xC7sWaP7SywiqlnPBbUBtM68wPp2BwXrL68J+ki7B8uQmwpK/3emr5N+h+fxOCZYXW5TW2n2e8b3J8J2et67xXSBGJwBdnfkv+WnuYVf/VzrtFHi9CNIihFMNttGrN/rJgKJauDLSIHHwG9V+1N6g4ofrdTHUachBQcrXIyzQzh9VlhiVsbHASlgdgCFZ8Crr2xjEFzfPLCW87xBZELS5Me+d/uEsmLEu2k6naU8f3AkoEALKUemnIm7cgMGBXsKr7SFjBkVZ+SNiR64ju3i09tE0GhEr4FvgXhswXS0I2YcXQZ2HX0dSPNN2fLCGML7sgVweIATPzjdAKFfxW5ggDr8mKG/4R0msouHEUqSdF0L9IW+K9l35dggMbqWrUnAQ77eU551RuieANRmn97vx10k70+gvf2rsYgyF6r7TBKeT6GYGZC3GDO93caMqxZZVA1EmXqGS8vwKUo5bGurFbnifUDlyTNChVAGvg+g20+XWU5pSt72vhGFSK3+h2mv8ylcVFekszpTlg6UWTBTQXUxJzzE1Ximq4sSgaK2DZhTULrZ05is6JSKHTlcCBn5PkzGxcmBvyjrC0mceYRxPZ3o4OJDyR6o7oOeP00Y9D103vMvfgPAYXvdTWiuQJe502nw6RioODN6Vc9YzxVCOO0mxFBB6aFnP98tM2sHVp+TFo/faCNaQPjXjEP9cHm/oxlwRlubs1ZRcjuJubDL8KnAwgb5PtQwDfiKvgfvv+AsFGSdq4tXEJMSvESBlAQ4xgHNSb1rdlB1B1RkyQ804kDCXv/3ZnJkWWASWl6Lb4LOiRdJ32g0yNaFxATWOZ9P8TB1NoUFoR8/Hr2COaWlgdGsnuaoNn7nDNxeusWG4VxSazIQisGDVEXUMwkjZoV3GFyhEoXZdUb30a528G8P00CvfuQ/ZVyldlxRxuS7TbfDIM2/1ToBgj/unpmmBQW0ypIrtJ7NSDphKWC/SWoEugx6ZfnCNK24D97ubRGavmHR8uajeuhsR9ndi3W857NRs7c7H2S+vPK+pWWIDvSPJdWVV+VSf6c9PZGPOBVYXWRor1jT7ZqDy0UVlDiZODy1KKpimWyLMVc9s+G38zBcupWfE+/8SU2b8EP/dPJmLEqnrhJuzKo6ZDpxowtZf2rUnQgWdbVMBqd7Woa8qR/MPmka7S58Dh3Yze2PP1TnzMGMAwD3I8KI6vMdi8DDT+cV4K89Xt/qC7ViaNRD3X0G2qCv8VmOCw1escm13jb1ab01XegaXQ0euNr1ik94bZKVjtvglzdlfkO7zNFhZBZihkOOdbvYu7mBfBweTBwHkxFNID6QResIuJa1V/qncPuJ54K6ytcCv01lvxdmxdoPSqoS06HPJXnnNu8F+53H5n8KvDFJvWrHtqUQVNv6SdOEkCMnKbWNJt2oV+8FfY078HFy+uiDlk8f1NttU+KEf7u23zrGOyKuFMBOhznxB54Fnl+7bjUsLOPxjz09EEXpLh/r1YBFyZIGgW9oWD049KwlkxgMOf5eEv2gsJTkQh2WH93AR7TiEzqC7Vqlx9i0jlySOjFBt7Hc+lH+sRQvwzhuvE2+CAit1RgFwnwYwrpnI6fpyM/UuQ5rv6gFVMVOX0lOeru2lgz3KL5ArizGgwvO7hFtJzsIzKn0BvNAjii8t5SQsEK0k+mvps9Bwx9rSqQf//4nHwPij1xRfDBNfJQxHIkKZhfZIGhSunv7gYO2oDBDmqYNHYMNvtHdP+0oqzv+Aew1IJB173MMDGYC3pj6VfLhfJ5fBrNw07504f8XH1Ax50ccuAXHxG3FAtOD1YcuuNPf43DKK3NnPH3CC+g/L33aErhUvz7TY9wQkIkyI0nh15IjjyHuC/4dcXfyzQ4Agy7fDbS95tqvmVabUPng/jvHI3uIFFxuS+8YozXwMHnl+JjiEcTZcJ2uFVgera+2W5vA/VJtYuseYeNxKGwVakK5e1pqPd3waTE7xeZjVowJJKLUtZIl61NwLDNEtxTqTr8qbxDNlfmGFRg26Plqll3gICtNK01+iawGVQLy1nCI+u5bjenNr6mvL620Pi8LStuH0sJALLJluGeudlquxy/LAl7Z/Sfrqa7Q7RJ9QRxQ+JMqMA5ks6wimsY2sE0Jo4CtSiJeVrI9Xx7ETvbjB8SmpmEr66PRhWcPmEMgv5KshrwCQlKoN7ooMJPmDPNzbU7bTJzhK/C2bsqetnDENYs1AAMUXXbW8wJbT9ltUHJhKUfeaIp2PdTO92UwJGjUUXwIgGaPWOmKqHJb+4c7JnVh3SQLT0Kz82leSnkg/8JjdDsvngoy0fudLlTcgY2yGId/YPixiT9Iz4Ys5eJg+nzpmn6dIjNfMQEq+20xKdtkSUtsqCEmwuLA6Q2SF5JbiEt5sncOpXmXw7l4O65aNwteL6/uItfwSGhOGY1x5gX/BaEKh4zIbPdiup6QzYTflxzrAqGA2ZlZfV8bT1VXzjXQlb70E3MRDoLVWUBzRmr49B81jYBFBb1IV/mhIV36VFY5e5Bv+qxeW3STS5eGvpoXcYJKx0Sa+oDVGSpwKImJ7atrLf+C6Y+vo5mDpOVoPkBC933OtFoy3y6jPQMcX4h2H60G2/e3yTRoF2udCEcOGIzUrm/QaLBU94Ec8oS3ZOcaT78urnaPGPviQtiDC/NuZujG86tRkl4Fgs2QyAW5gHWr30UthMCdIFH7c2/zdTxo0qiMNQj2yEUJ/h8D3RrYeaAk/HMFHgO4dLADwQteZlx1wz8iTgTgfgHdXd0+hqptLBYVZHCcxjjy3CI/OxyjNMwUmPgeg5mC2J/S+R086rFzmMiYWn69fgv+eDNOOrEpMBmDvomHh0Muq9whOGNDzBmaEesf//RCDLGcrpzRusQ+lBT43UAP5RFJsZRIFNqMLWKEb6rth7du/vLpgiCUogqg23B2Yk4iD2y/Xe+Qs2ul5xwrjjBEyvNLRGJGkd7ZEq+EghCiZUjS8Yd8egSWqM4z3R4GuNcbrIR8EdVeJsM+J2lLYCwGEDMJYWMoMQt+zoLIWFBE5tgUfIFWBy0+ERhlgdZAbjykPoNE3V6vnEruopIZm1eB0YYAmY4RZGEvQv1e0P54YSmc9WfPd+Zxub/Q/eJNf0Qlo+9/r7PafdsqkuSdwYQUTDzRu3HHe5ufVM00DPYaY7B4uUpPRHvwDiF/ArdSz/hovW/O7P8Na0Bz7V/YVwhU3gc8xMLGE6LIi6f22pQXfk8DjWHAptp8bDiSSsGxyeoZVP816V3+JMb0ol4dZaCKJiWq0jgzWBIeLQvDuBUDM3f8ROhNW4WRH6cPCyaciWZjYu1i7i/TPGzbfUty7FVO5+i2gsieYERrE4ZNyLfZU0y2ekV15RJLriWAdqE4bwXqRPfNVhVUSLoV6dismJpJk9z+HADUYC8qMKvn8CndhNJHHRAwWPxVrJGxRM9uLcEixw2LE4M+2Fz6oX1HQcUezHkwkPVIhI+O7prWjvGwb/Ztg89Th5W8UovO7r9PX3mEc87Hb7g7rw9dSCc/6wp7LJUqCNW8Pl/AU6wZ4aYC0GSBVSsZs89Z2XiXGJZIUxzbeWTR2htqdC2HGmEXmAwYwQ1fdYeMg4eQS32v+xMnAGGD2yQWLLWROFB0iuNLGG6ejdTzHNXmSudSWeezKPWz6bvn30iiKg8pLk7gQYBWnUbKzhmGc6Xh6c9gIQ6+3HuLHZvIiuNfc898qQkjGPJ2A+INm08T0r0OCiLZnfQfuX+atMSFzh1qWpcJUc9gKb+j7G/WoWNuIXKSBXlwH8XYFjRWbe/0VW6lFyE8wwAin5ZKJVnqodNn9SC1T283eLTE/sDxK8d7vonWKOUsJ817pCguw+EKJMLBuLM+cy4Pjm3IWv58XiKb3H1s5BtZrU9kiC6Sf1tCNwy20H/BPm/zuBoBMlWUaVe03HRBOs9Wa0Dq6kvMHsdEI+/Zt2HFLEfNLV/iGBJ+VsRXyMRpngVB+oc14G/CsgLMQEslHGwu6tnz3MDuOw2+KyolbZfW5AeCfXuQ4UyM4g7jEu4OiDUClgVDUvMRdDeP+FcLG7AdsAigQsfemA09pDAO7CxeU34t6O+bDRjBq+kRLtMSr6NBdvKeZ/5qPGud337xWgh+S/L5ZF+j3bJ3H7PLuv0ixPK+nYSLKzNdb1GdeePzES6W/UXI/B4KG3rMuUoAq04kByKTnt+FXz8pJJ/Vzm8BmPliaYOG9KMhwYHJXdD5uk0kxvI12nNiQ2gckHSCAz29ZrZPwgBG2acgNXJfCsYoNCcpWKqPEI8fF5NA6GngYeSTe0Yi9uYTNwWufd0TSkXOIjP5sZjMAd1oKqNytW1S0E3cMu0/BI+0k3Xndeb/rZwmsV5k2SqKyATGuHSPSemjCzGWxvtO1TAEQaV2gMgibDepMP8EmJbFKao4y1Ov5047+6PrOFDJUaHImoySYClG3ROKZQ9dRA5Gk3u8mkkUCc5ASfiUJ66VtIX1ylyQEaMe4ZxjILG1/9B8mq56JBlW0jrOGr9yHqUsuKCd5GzKYArFFi0IlAjpyzFnJElUcan/9dvNoFv5NnP2oNaoLhS/idI8phjgM9U5k3qcKG08OkAPOEpO56+yyIbF7hn6rzStSWNu/jLs/p26WMyzfcD/y5INR0s5w/nkEOyV/t/ux+PjyHCEpI93r3FMHgPKrgGNW3GlGwAmdv2Z/iviYiKhUhpKmwYG+fMX/5UZhtj6HTGMbB9sL3B1hd/XZqAGTsBvxTmwRzMlRfhTHdLbb3tbUtd1/1ampYGQew8i+oteebTIl6XxZImr4Ds75Npi9OP/Q/nZJWlNf4UloSRuHsKFB4c56SCsStN8sQufHG3zYIvNf5AeqyCSNoIv2MjEwFPKBdvdaE0wnVCOTaeHb2xVYKmpfAMjdO9/V1L0x2uuD6LFnbQ/1/D7rS6rcjLqOBCamx/i5A15sjicIHyGLsepipIUCB+hRqfGWIs9JLIcp2M+C5Ay+6NTDkU6ltpbaJCKMl61cMvtMXtIPOoHO7hAhYrvxP6FpWJ0XGryuiqsX/iQH/dnhJiy2jFDtNPECQlNlBk6lkri2WntNFeDdb2huZePDuuxBeE+co30r/I2MLObY8R9VQ9z3W4Z27HtybP4Ulyqzz1F16gQ0QL1KdW3Zb2+HuphlVTQZ8nAbX5KlK2O8tNzUv7DX9NVkMtZNUoh0TCRMevFaWCFL65NT5M7sagdthJWtmhbdYbk/3TIUubIOMTlqSATkuMngGY4nMf0OjhTq6eJp/xx/KppbFoSq1SrQuuQoYSk+BxicV0K4XMEZPjib3eaR8MV0tQ3WiMFTVbaiKuZVIqmooDDonbwSkHT8iAljE2R6mc2wmLFWspznEp1eB1UCkQ/wDy8NvUOnFJGbv6Y0AcN7KI/AeEPIVbhD4yMLW96+1QwxYiQekZVC6PIrNPLfAMdslmSebU3i82vNw/xuLUGGq9TsnWpWbChfOpKxsOEqo+uZgf3hCZUvPdQv2LA8IJu8kG2Ck1CU9SAZFjwYzaX+909S+ZA/IydH5MfiLF0RjG72zXYq66MWznYCNsIqP6SJe75R3/ONwRY2DLx2TshUr2X0hIi5thCXLme6jgqQQMmyfL40XYePXJkupZPyOetJI2Ju5f+6vtSh26xc88KrIg0aYsY14s52nqzf1OmT/9L4B1NCvQ/ZxlBmiQ7zmecNlv+KYS3gphXHiwwUehWZqMCd1M+lW1VlVRAsqMYAquto93J9JWdCPWApzS4B5LyM775wS2KjWm36guIi2N2n1RAhzKhwiQWOMEh52qNhC0veaGItzat2eNwWhrY9PbbcSyD0sEUrTFohpm1RWP+tLbSla4Od3tJgw8EF32u2w5N8Ve3xQxTkPuoObG0J6mzPYengS7uNwu/4SkoWfxs99svbThys9nvFTBHRjelS8rydbDlIOs0m7e7w8SwqLgvwYGt2GhCuR4U/JsGvHuj8mHFL0qYbdO2uHbVtcwp9cjYa0lxjUD2UX0NvKEHTMYL/NLTVuk9zMEjBgNS4TCZE0vUtxKHbgrIZtI8nIlbmuV0njGJWixVu8AjUsGYFC13s3UjpZiWwiyt9U/M+Gqtx3d4h72euY9+wN6cKoLm9bdUmlq2XIBBui4yyzEc6asN7Fq4U9MAvHzDVOKVlQ+bo6VcCvZWlQROGZLLKrp8Sy3HtW/blEiDAFKzMFL+jTggK1VpIK91d/rnR38/LNOS1BourcZzzoIHWmzXBAFqJxN63bZtF0PZEI4SvdYooyun0/ueVwhAf1a2LZ4ZZQmJnfSNgY433soWcX/dlX3p4p8P7Lm/Jrkt7DBBLGQN2HLYodT4pcKDdzo/8eLAvaVG8sQHGo+YmrTN9JJzmV8Bk+Tao8IAPA80mMZAl5tI1I6MwkILyo+VP9xcPnwvxzIQkn+30Ud5/dIBWSwtGIAgdhA+FKl0Rx4i2liZJnR1nT2fr4tn3qBHhUXbxAPB3uk/kxOPCx2vXWCHidFn7QoXYYaupO6SuHrioQSqLW8VqnOQduN8oAf2msmxfp4g3V+U4TZnm6PojymL6BYdMN2IP10ijUG62B2W4vh/UpiP7Vy38T8Rb21qSPCghLmR9YSfevu0Sq78P2zhW2LzLmVCR6PnPlmdfdPyLnWmCRvElJx6PXEFwDQiVlHCk2bgrw10JFJZIHY5Oa7X86RkaMSiGNDvazq5NQqEmsBh9XkjWld7c8KXZYFWKzs0xUwncXfZPOT2Y2HJYFQeHWT5vjGqsu5g2QK24FvNalO6nM0GbnMA34V5raqDC+BcwANGffWkWiIhWdWEqhgzUOM5PXduEFK842nuOK/A0JGJZ7DJaZRja4n4QkgUgNssFhICSiXaqQ+j7R22sBllTtGrOO++0FTXtatRPr+xodgNApvrCgG4Q/jj38P2QAGp/COdldWXjCRXxbeQ6hH/sgbkhNT4mkzrhEKRfZ9lJIxmqsT1VYkTAkanas0X73BXzQp1ItE3CK5ZHn2D2bV0OmPkf4zVoqagza08kbmpcun5wGj+j8k3LD83cKN0xKoNg6p52dIZ5ooabPqlhuEzy0oEmivvFxLx8gRh7HUMv9LpABdozLOAMcfDmtZdB+u2kWhTCImfYuFXUoICs/irgHx6jY7AJIbhAOoy7uET7SONvnyPOXducQIDWBFDQP3J1yzDFtjBTpL52wx50GXWi+8k47o1IqKwrFA0JS05nd99bM0OLbGZE8Et34bJdW3VF+MGDFWkpCiuFZlkGfjy++ToSzVnzmYw9gAOrM0xQfBCcCuslqGx2dPJg4i+cw4WpGcsUE8JVPRzy44wx4NHfwR8mCbBLPgcl63vFYB9OfjnT8jk8jIOOlLpibdNuuJNTchfaJZn/4ycLChXP5IwrcMGK6Sq9aIXfHyPjq1nxrUDjQ3cDCWGJ4cl/fH0YAflVR46T+UPiN8tN7MEO0aUBnCRrBe36KOnsGmlUFYrSx8lm9WexPwgZ1jshGFPnPN76t9CnGXRtH1aRIskHPnz7rcQ9UdVpt9Wcj3LRsv690bXSUd6a72FT31GRa+0DJzcgCH+Oe+9dciaZZ18KTEn6d6Fl5ZhFPk26sH362WcdYVKbb5p8KD8EUr0oL6iuT5ZvofTMYXEah85vVJ7y4Opg16Wx0Xsf+EswLzp7+ch34QZLCDM6UIJuNIWTJJFGnHiUPyzYEa4be3BIQ+bsJf6Jmb1PZcgmxVYgBdcIKa9ayqirdP5zAh3bgPfGo6+hUYH48TlaUy39Vy6lqoA+yui+r6ERvS0qQ1QJ8XKMkgQHI4l6RSSwbm+OdgPn0nPOweSJZiZCvNVXLHcuJLygVX1j0rfcy+JhRRN1nGCmgR7d0iDE2UmZaLNgrJQHidUPyhNciI4b8wWhKV2KNRL4XlpGA0XMJGWcyynemQ9fjDAuH17b1ml3hufxU3asbo7z/SBiKvdv/j2nbRdVOajNMuywU9ODY7S1ew9rDXrVTzYlPQpxVHy0dNmCfvfJh3ihaDNUX8gLtK8q52JUmpftqqS7lNOt5hLBAl+/K71I7bMqrJMEWfyzw8Qj/M9ySLu7t19EW/JPFGAa8tXLQqa8LtlgLlRRI6V8PEHW5qWmYTVAZ937380AwWNe75I1GhybNG5lVm/+XCUIO/FI0Y8K1nfXvav7Go5RHSvYh5766FatPPhudmjPWnZ1NGWnQmbin3B2N16i56rVOtd6rE0RG0hi7F0CftAJI8kNJY/67CeFXn75qpuX9eR0wwmUE/MFxhe+JpZlRPzvpk/pf5YOczBeuIMKP0HX4Bq2MCzESqGUGMjdfGQSEc2x1ko5VKk5YCzb/z0RtFZKBYKG0CwwgLe2ENkB5g4wOiNM5QLf3Tvaw+R6tQF+bJkeh30eUZT/Kow/rK3FKn5QmnBWw7zdw3Os5AX5w8DoarO5rp+1A3oid8DE/OIQJLIzl02rDf6UPEQdz4wysqtlRRvbiUdk8ApskIaLXyc9dRnD4IlHitYLowg41/3rX4I4AOfDRv/OAWZ/JQGFS1UyWzxt+0T2Yj/UTcqJBodB3/BRNbQzRf9JF+roe8wQVfpzIsNkj8MeBFRLGeT6cHhyB/z34J428LtTWDrhj5WtroIjV8Y6suko8KiXnXV9p+Vf9uLQfMZCcxQopHI8BXxTzTaO+1/WpAc3xE+hum1PBp6+iCXvPso3sFsyiiCGS4qZ42tJPMXywOdvuHQn6uB0wkRsvQ9SozgMV4TBzm3YZnucxgsH0dLfjDeotFq9V2ek7vwY6WpQwqnovYqfexuaWni69jRUm+/cORu2QBVarSP4E7ttnMtISz/9l7kn4Vpbd0QlprS8aMLs33AVYTL1WlIgHrNJ52e7mwo1B+ZexrSZWdrMQKMSQlGm06GbYKBkGHBAiJ+0CQ44rFcyAZEUZxM+8WVxhQ+8NYLBGbF3xsxJmJbBPhYIqBF3NHph3i1DjnlvEZMUv5k5XQN+I5GbLQZCvAydavn5EKUmeXDSgYXF9PgTNh99eXV5SLdYKrVN543Y0E5s3AfDG4Ryiaha29RSGuNuG92/ANOCuHHCwpooNmeNRgsjPw02WHo9C+iycEGVH5av2TNhBtfdapmxpg5Rm0K0RaScm9g9lGsmgn/39MQHLcyaMysHDq1oDTEPw+bg0Z4h/dp9iWwK/Yb4q1y9sCjJR1xWvrM6sALnMIn5d4AM5Ma1V33zLk1eIK1RDTOE33WH1zxa85o+a2mUSkVuy5eSBAG7Mv6Fhv2Hm8ru5p+NkO6zcz0Npp/TNBoDsNkNu3RdvgiutuSRRgkdMk8gL5c2PS45vQTSxiW5UsfXto+KoIZydBCh7GJHQLK0b31pJTspFipo/1Jg3+Y+VcgRd0bGjX2Xyr20eYZIcfjv88vFc73jPtJOwa+l2ieGUQIlmET4WeaPJ4FmDUyDCyxDjR/axdapD3WgbfyhyD/qYFGsNrF6PjRt3FIOb0ETaz0o2QC2mHEUB0m8qhYfpIrZWgIA4oKkD83xdFLss4mj3yGCBsfUPqeGTpQTw2PYvcs7yfnWBgM00IYYRBOSXQw8cq+CmZNe896zm0tJ9qPjHZcvDVWomCcVEvaMAyP+FayyfBdGfyml2yvAk/77tYxf1xCl9msFJQfWLP/rmhIssRjM3HiTjVoo4PsenW9NJz9zjtgY9oA0N3zWsS3JVxGXWPfEEMzBpUUm6PLgVCb8U7XL5NZAp8+pFesyZ8lUjmkXUjr6Gc8EUvJ4tIAT0DhCjKjCeT1ZqDUOQPctHnhs3kD9M/j+fRMrKUrlRsZbOHZAEAYpiCLx+6etvn2Hjci60su0cmvGi5o7wNpJFfDoWaDjghMOr9fWBAmgbmtXcFoKBhr7n9sEJ9ssuqBqEVG/w4ktSZzARkItSr4hPq8uzxMIeaYsQVYy26kz8eZoUVCQ+5Ip6Gqxd6nAuacSzZyk1v8OLoUvG3Xy2lXu0uGH4Sd1qqO84fq/v27zWl1zGJo54Qd5cAkpDAZfvEX0SlK52aLnwCdMhbodNjMvz5jP8e1pXG1e0BZsA+JTl0cBQKsNdAnFXTY6Nxv6SiKWDC1AXjyCfkBGuwbL2pPV3RMbmbcnksfvTsEV/KxkwvUNaOVCmd6AjrycqpzJfkD9+YxIyOgk909JGPUMS8J9NosMm2bM984DTMbB96kw5WQYmuxUz/swperJS88J0V8pc17qhjB1faEyGn3EAOEKRGcdcNiRdnMzfnpcOYmBYIepFuNQi8X27LAOu4Y+Zqj7zottlAPwn6d5pIzE+e5tZCj4pBkWVEsxCq7vI3RwUm48OZnPes1+5s0zuBhOdAErWhh3+Mqkr5vsuq4+6snfm04xpOJErRMvUPJDvnIFGmaJZwDsH0QqbeEJrzsqy6/wgd+imWiQHqAW7UTA5DhJSvFrmJ23IiJdrff9b/UJT1DwxIZ2tZux3mT25Yhg6yx0NzRO3tCVkrs725QuU3hhGcG33Z1/uSTspuJYAse+wieaxsRhGggXbLVg4aH4xUGBl01PkwHBMs725yLGuY3X7v09zfghUtBmA0L6xADa9b+t1DqybldriaM5Kl/vgAr745D2cYQhDrTVW7iyNLWM28cDgl2NPMbPd+5WddHllpPifr9GzrsaWQI2bHBgUeM1zLH5es5jkNVtWxoSVCZdyhbihszvUDRj3m4KVWLAiQqXk0g2YLUTvVMtjpoz3YqoArdf4prYMZrLtK0LFyNcZWBcrXUDOKwcfPMoImoerXZW33/q0GzptpbTQQzrRp2LVreT2ULNry0WLQLf6VdgJOmjvwTPju14jbMbeaoovy8vG9wu8mRL6Va/HVYsMd5ijeNM8TJE85ohZeMMasYhN4SNCVv7/cIso6tRTAUkdJH011kmIDuEF2QlMpGRjod5q0D6/E/xzwhSp/gZ7lrmPKQAoznao0GBH4dRjUhqoRvPIG5odAqOYve7RiE0tFwrpIhVj/Vekze95V52o/Y0T+j+LV4sudb9kVS6IzZzNKvvYMEtjl2RGoZClsd53rYvf3u2waYzooZkY9zCpDkr+fVKIFduGZtclzIEkajPrhSuKOLJM9bTh0nntGEjHzzB5KrQLm2MAffdI9iCnzh5uCyO9iFgC7IOhgDDJdBCliUpaqsGcnfxJMD92g7bFughJa6WY3ZqXTTlaL0DGrkMX9P5mnD9G0lYbFKda1FEuITCi5UFk1ZKRVCsadvb2fCOIyixrB1E7e8S5FTLlUkkf/ZpMd8OI2FFC/Y1SaVkBzbDQlXE7v2gpwjUoiCZTMCBxHFgWqGlJDm9NF71DbSCudSahgDJSNbK7jInrVtSJJFowcvslyN0L3AozKBnTgIonmLY0BJYkNWQjx94FWWsyirS9EeJvrppzYGF/akVSD9iuLkCxjJUKQMFoE196Efwnb3OfVufvq+8LTNeRJMby8sOAjTJo7Jklu0h6zmXFaQ8OyGenZC2RMYHz2cJNRTOUaqfI+Rv5zi1yNUyJS+LqJwEGHQGkpA185RbB37AoXws/oQL6hE9Bgw8TKGmov87WIHqIf2ZCq/zcNRHkZrJt09yDvnLCDoZNg2hFNEKi62kKm0qQuEuVGraHvNA7qZuThJQL37wG08n3AQlryG4o1GV24A3PKNK6iGNzrSsK8HGLZyMzYqGtoxKRYqsLpdU/iY6d+BM/l7slPkH0kJIibsosGwnX2xqrSyb6aPnhw4etCGsKgF7q3pwHiqiQNOdv2VOcYXhhoQYP4+BOCU36eXMNFmj95XqWFVvm556W6iyxDz4QfiuEV26UJe6IDficuXp9qs0D5692G3kTSeIFeOqY3L6rh/ginm8z6xynKJozoyeZB304Nhn4AWecgXyd5zj7odYCwl+I04tA4QH7/GwHt3dOzHDlZK4Lf9GZiAbf9zco3A+51Z8j/SwCF2RjQtc5PSXBQM/sxNBSgbbyu6UgG0fQ/A9Elx6j2WHEUChprSq8lSDlpNAafvr+XfNYzA8HhjzimGeCbibaEdSHJZn8gmToJWtQGFLnivbJhYx+D/U4x6S+LEG4qaMzk/JqkrgYo6Q1/WQek5zDEdGJbphByWytTKryhRnJlaNTXJpFvFIUUfmC1SUILphiS3dn0KBLj/f+gFioefP/52xFiDmvZ8beKGWrkvvoNthwry8EwYxSb+Ke0vxsji0cSuydLCqTOXL4IWikxjGT8YekZZiB3Ak8a2Yj9N0bUCECQU99Rdo7w5YoJe0A+oReGXgExl8KzAZT+iVT2ZwhQAe9Q3N+fLZiUyqAqFn3KJk3VwSIAuGa6Dau3UePpy+NQy2BXgmAXMYcYwV1FlGQ0Ts2X/QRGi3xeqBUAv+F4JOtANUYGsKccrXxCkf8w1JHxQo4vl0mi0s+6RasY4JOBX6mhmSECVGF5YT9x5j/hRDLST4wjyafJG4jbkXw0UYyaN/w2uKM3P8wZG6LVpQZkFH87ZqA/h2+79fnDqixV3qk1WS+97chVqLKCmXNGg4GhErly08O2P/UdEdm+CiLPF7LAWGzq6lHgl/jXbo0RPB3eDsUuJi3vO3Bdia7ggTyNV55fYVkZzW+Xv3C1Pn4QzScnPFWjM8JmPNO2hvQl2l3nuzORJZ/PCaRXDVC0UsV+1Zl+tF5LoK01Sw6SfaBS45K67zP55ez7T1X+SwPBfD0DTEkMq2b5MrmZO2AHJEbyh7LQFIl/8KiMxXZD4qKiHWMx5KdFw9IRgfGgzYWlN2rakjouYtFKD3QYWtAUUQmfBLewW7FYjC0IL/KqimWD2IvJG06qV8/DABp4iAEL5CNjbpdO5cQZqjhx7Uiyfkb8K72lBD0dNdSUWD7Jok3N7KHZl3Kv8orJOSQAwOyMG1Vppk214r17WK+nn2VLIzy2fT0rf7aehSn3iVBTXmUXFJcwdW8qfu8GkLbnCzaj89Mn6LKg+P6vkorNGBpeDxhKuVeQhnT4dzZu0QXY4rh5kTFIO45IpOZ/DCWAjQsLHIyvNukDlxJM6AOdrFEvxbeQrEz9lvNEYmLnGNTbM0lO86uqFtHw/PTeHoU0xVDmAoyvk7o6/BxUx86f8FRe/XOZ5Y/gfon2TJ5t3TEbWYcU5h4SAUJf1dl5ao8MFOfCHmBra5b6VSwRdt+LZMe3MOyOjERr+KCxuURppnoiGpp+Y8ZfTxHdHQLiOe/OOlUEXQu9OaFQWbw7dC8XLPNhqjggcMuw9+OzlbdXkkjYfOEpROz3tOO0ni8b7MkIktlbZAJvHuv2dsrY56oxQoSg/OFIY9iJgNKg9N5z9pKznmMXT7qEOH5QShlezkiuf4FVeeo6697wHPtBPcv7A/UWsc+7YrrxRH4GD3KLsBgz5p1uN5/SfLf/+8+uGZoas6h3c6Aow/gQ4A0JxjTnngHR/dM/iDXTUOgPgAB8ok3nHFJ5k8sIKSiQVjIC/OHALcqXMf+N1mgLt0sEdS9dp/at4t6r84fDyJfnqQj6QTuvuWQfw5WF+HX+kyqenQPXEtCbJWNgOvz0T7KoNP4ISKfu22G+/nic5PYCN+PCokUo7VdOgkjMw6z3D5ciKQ6mWeTMy03jyMxVCDnKeGqZprwCEQdupWxd18UH01+7H5A4r6xyqR70vC1lPyW7gXQnaZYH+5KVq5y5c5lCVuULDrPyjJisavNPMPI/NSQslbgYeVmtXe7GY0XUrqI7egMhFNgL7+HoUSf2Ox5oRA6Nkq9ulUbwdZAmmiiRdvGPwZheVX9PjKJNwDjHZ/IHQwWci490cybAAyM3nKKZDwDdosNGyi3Ehy2lEjhTnsvCGgRmVybvcd0TMjN0gnJ0bFeXGPsBKyry0FoeGQdkkqNrpF4PqdFokf4rqZWEdkkBtkVYhAevis8Nwi9RlRQyEr4vjraMoZCtCsn6HJgvXoHedV2BRM7FAx8yaElvSoJ4lGdL6LGR1I2cRTlI5ipnKuYgBws2xu+z7YLjfNwNATvrgT/rc98Q91CscY8RRQry2nlJNsTR5ROM0EcfzmPyqL3Ys7GqGA07RfLYF0rqNfOuIjUIfwDD7V/QNXjwZBo3YZIc6m157Hxt3d0V3H0DiE1aewR3rLh1Q7MC3Y2ZQKm0hZxP51e/V081+rBdUlj6bT5iE6Bj1xlNZgMUZBXWg67vhuEYyCufyHnBPNoqd3uuekqnbC7nrUYQwXkNc4KfTOQroAxxoNcjGntQejR13n5rA786pojRjvFZCbr68Zn8wsH4hIYWljQbvNS0AJHKuayMVkLkFLwTFsgkLFEL48AUubYwkU4N4e3WEv6y3nMwzv05jn68aJeCaCUdMmqg4DFg8TWyX+TSw+GW86kZrvsey5hOrR4eBXKRaL4D7/QyKxFpfkyowuz42zv+RrySrompV0P7w12gUul1F+bC9wTCcJFICKqY3RYE+W5v2VJYmH79Nnd7TU3aHlUT2gq1+9PRLcUfIqnPBQfHPTXn/EK0YnkCGzmvvqU+xBAq9/8faonpkbhplDCI0SNic/rhTuHEKTraJTeoYO2K7NU1pyzF3fVWfDgwBW/QgEMrKrzkbGVWxQ1a3UKoPsWrNmOkCBLAUbFxyEXARtkMOvw+tJaOMIjadm7AOO6mcGNkB/mqRvi5Gt16JFXY+uRocGZK1cRRPcnh7DU+Yh41MK4rDijQ/jbqUCKY8rTfBqne72DlE26d7Ce0DcFvxQHortE3zvRkM9xhD5wR9PDFmRPWXtt6TSBUoao7J2082r5x5z3+/vX0NBpzvbwhZuTbmaiC4wxuoRcL8OoLnhZpR8lG6lEUhvwSCll89xrDH8Xov7QFWg8xSQE2rgEZZpj/KzdzsdO1CglUBi3YEcvSdf6dS2W+cEdsQIk4ll8rRPjbM13Tv+nYZ5dC4NCoPo6+/0OroncX5SbLmStj59n18AEMeIug0FCq1nxcWZWR8DrY5bw64kDKDV9LH6XZP5dCw4ZUw2a0NrDWqZKBfRarCkZVNmhyK05joD2LJg+gEUQQj8t2Mr6qan1hENXDN3E5hi220gHQnTyw2XWLnWrSw76fFHwzvJccSoUUwDpE+GmkWK6aHpwBbT9qcGByl3WlgmKCl4Mir8oQJlurOk7rnb3VqaIFXnCX4+zbPHcGrBTRSWW3OWrqlQ7wAvsLsU7mjDYt+T8oDETrFMzNtS/JrfzGzX0UWg4KhStoCmh6ZkFaXF21IUACRjMOHlivHskWEkG6vGdMvHKrLX6nePyK8ACwpHliauwMdXH66xCOxan8Ui4/km662pApKUrUinyg7o8myfWS8w/9YTVDKsglXETFLeBYDhgpqCZpk+8TFxWQVhG2fQ6rl5Nc0Yj5AXc7rrtGyGRlvANNAh84C2B0YjST/ERDf1yK3jeS2wEPS/0QuSCzVjs+gdZ7JN5DmoZNz8FUbCRU0r8JhwNpEo20pYdoXtH+LfcfsK1t1hMgkI8YcdEZ68PZwkr38o63/4V9dxvj33Oie0MS/pNiSR3R0iXxFa7rJipzDALtV2Pxa30qd8L+Xsr3lbiKPVBsNl24OYsuWEfgHuLqco67eoU3COvc1aSOth5LDZj4ztZqrK+RObiZN6pq6M3yKxvVhSV6uOIWB3bOMLUfW3+75+85+H+vVR4ltr43W5LPhMK7gTQJRfKZIIa+JJ3iveNI7unfNlIvOSiAIzynUo/s7KVSE2HDuJLl3F7jXRYbRavkBI1nqxjZhRMa2HLyR/cz0V7Ph0EdhAFjy2p7THAq76USaTve7KHTPtgXUqE1d+nDFgsx7lC88R5dxNigpjnt0jVbDar02nc/yCrqSmNqwpowrkppaIrGe13/mzw15eisohKq07Gt2cqqF8P87WIlfg23r91/Mnc1Bh4b9xTeK1vCxI2pMIGsaXKOm9s9pQSm1cZGIpMdRbcG5K3VnTfZQYbgFG8V4u+u4WLla4C03bRERu5Dkx0pWKZJwNHHgdQLZb6300cRYf1XTbthLlgnmzQcDKOsg0l3hQ3LO4CoZAmASG2B539oxxYWJy/F8mGsVgvlb+/CHJz/VDtFq8r61SbsWX+nzY3Jb29CyO/IWXRoMS9rwO8CjAQcZRAEznO+NH60AzB4L5mIcPVi3R3+HIcmF9LO6VQjaXCWfYbbBhgtxPsKfE4fP8YYdqPhnbeU/q2uun2I0CIoLTMq4rVxbPrcFdPDXGCMFzBUrzfr0K4VEge1ZWR0CR8y7/Zgd2iCdb/tScP78rsPwdswq1W6ObsGpoob2LTF96Dwk34jP0tL7cvjpnOiFuZzBjaRv4XnnEpknZ946Y5DDzCb/SLq5DmtvWl9mhOZBuL6rPHBO9CbgHX0XeWGjvxnqkFGazgc6yor4cD7WDytUhkCugtS0IeejRLJk7m/oq1HwHdEaadWsxwaAihKHV5ixaNiPcDKFUoArCbSJjlZvjcfMPD5Tn92bw0Ef5FyJQ/bERYgwJdpoWzd7ANnejKVc0lQCIt/6uc4QwM8fM/mJh7fYXCYFq/TLSMZiXi4fe+ulsrEZvXJHNc230tQsDG9nJcDUUnz6fQFTDiJ9pbags56ptTl2sCZsedIoP49101bWvCtyXpdzMbEz72x8im6dvUgoAAR5W3Y/REq1rq1jgE3sRZpwIEDcRlDozLrgTGyf7P+pgWYwcwA0i3g98SiG3Cojpx8J9ZxgPv97qdB8k4tuTpCNMUL0kE7bRMOAp1EWL7rNsVz6+kzxrr+F/frxFyFW1fyM3JTxXLmzwooPS9em+Kz8VX2SoSYXat6LFkyxRjpD2doYlNLJd4tomO7P6qh0Tuc9/CmFaE3DMys16QdRcB1DwKDLJULARoSPVLE4ecKNrRT+pTAOtnLGsq2H81FkqDuBBk6VDVNRhVlJw7z3nXdGVDxA1PwWP6dEL9o4irzIpwIhVjWEI84x2/npAWjKLbwixdvnZ/b381BZcC7wA2u68Ar0DGu9d3GmP2G4iiCxtlwayCFL/b7tZZMFLF9FxXOxb3Knr+YD7aCFjNsIJNY/5lewIIPEUo0hjFUkeL6rS9VszZCvUi3jv8wakG4WhH7u8YuyKQ3naNEj07klyCz9x/rTJDSunFoLW0cQ2bQ9mLfSoHkNIr0aoEblswrwQaf7jcRnofTsmNIPWTjK+xBOOydobAbS6tn0wYPXJO2MCVvsYra6nSmuelxU7eKeWOPoKUpgcQ+BMkij2o8QRY5RHP+FpuzQ8RXt0p30x9yQLAhcwIMvpBfTGzppjYeWD6+uGIOkmkFSxjJo4U2//vrhCquI582NIY1uDMHOO7EPnSmMKREK/ZXtcgaPZBRxIRbe4fT2VAibf8CGuOymH4cFc6KVG5WJyVVnm/MJg8nhX2qawqzrzIiNtmFPCV/y16GFGF/taIGEWFbr90dUwvkTo7Z3qSyENYRvjAHhNHe7Vb2bxU9b7nXiqPlCBw0DWThOlL4s9nX7SoQD702kHblMZbfM/kfwIqW5dFCupvV+STYSLIq/9yHp/PDuAwfgjVKXwe1EN/IKTcHacLPILMoWMrHU7aK2Dg9hK3i1Z+Ij+w6acXAOjaEfH0tWeN7iTsZ24Yj38Svp5iV7LfO2MNRG3Z+IlwjJr6EO4eSBUfFS+Iy4VkrmVxYCEbs/tbAWTXQTy9Z6cpNZCRMm6Ef8C9AxDhJCkGQWy01P2GuhKICcriKvLrl3zHhqmdzUJVLWz+HlPdY8ZG9T+Ys/S9cibB1T8yU9M0tfxer1/3Bt3bGHJ6nBgCWL32uKYMvFRuufLBFa57ZUm8DcwUmAi14e1JR6QwQZv9vx51KyySTDwbbGeQvFxykVvIQN+4qpgs7+QkVmF12yXT9YjRU5aY9O379G9JFIIxAkte4n70fLUV6pR2kSCI9IE77hWzp0YERaE76BQpP5a9DEJ1e3RxbrEbhIfiWLmKKiPfdTpbVBunKxQe6FqZvevkwjp53iwwK75TAIxuP5Dg3Sy6kJ7ftiuOTYPl7BlnxZeQszFrd6xmQSJ+9D8nzOUY4DBj5FU1hRSSu1loL+7YK9Ca7jry3dUUsjhKbMhWjokutYNEbQM8LPN8KMPKK/iuysKRnblj23myvACa4UezxKTvhetPz/Af6nzWX8WJr7hvFoD6fpktOSbRN0uYoSweCyG4qPDgEA1oaY23OSjBf0plLM0Q7nNyUgVCZ6jqbHd+4XFkTBojLuZXduotPOfWs1300EUFclxuchpCRU6BQkcCh+YvMzJdlDnoH23HyurIMJ1xmMNEEaLi4GZ6G127hnamN4k09Hng+9ep/orxpwVLUEbwNmv/ADXRqhdspijIEm1JU249K5HcyVvMNP3x64t8+EOAwqPwWWojPUfaUj/TBhvEcFcOh0k9kP+tM7pVEhOEh18TYdL9eHJEnr50Kfd2AZBZE0LvMJQzjjt+jROJOaW7a7JkN6EUb7s2xnofiC7taH/f4/kBmnyr0cCWUkiwAXKn+HUtoFGpa/wxvCocHWMyHzJsUQfDJr1zZwFpEFLpbzS3Rl0dcNtZxesPj0T949uzlExi5PmTC0jXuEelUlClxW71vBGqJYHIVmsv2XGM4SDsar/MLvLE6AFAJbSumjzlh30RVxV2TflWowMYc5mLcbS2aNztwwVa6bdmveSBsmZhsLCZXe3FAwZb01R8B3OQi/ff2ia3QhwhugjKkjQgBIAaoT+oydKa37GWylUUThn6CXhSkK0blp+6qaUhc+kGOPbbchUsTNb2LWOo+hvNDjiAdTQxn8/uB/W/CJwqBba4indQe6ZDKIGzSXmpRsNnk1BzlHv4cz++LSwxHikU4M5LASCAHMkRLnvemiFgx8sxjnrHaXKNIKVLi08OAbCCxDWM+3e8D5TMpQwoLAfs7UqADZ2jkwdO+ec0WnL6HgfkwrkWURxg6Q2BrZ/dCd+0phnaMeu9FiqivYXcdlzECKMqBo9tiiW6nUjbfY/5Vr/0AIctH1sY7kPhr2UjpQ3T1nEWMBdXRdoL7iZlBH20Ukx6Dv7OXtlDbBmAjOUNnDxxXjrAeewD31lvYjA+Ez8lG48hgpQx9/zft28cmXSzWgbmySwX4CgNG91k+97HTbS4u8E9oeZlVnTxxX4b0l+R2/sQxuKE0ZhUFcHZ4nj3NRV5khcIlwmYLC7vWJ/Glk8NSpb13SCoc+r6/LJqjeA53e1BNfokbQC8PMActHXBM9Z9wByYB1Dm8znmnnq3dmxaA9KXbjS8NvvvknRPKmvU8GFmOqJjk9XUwIpkwg39DBgINY2ubFVUx9BFZBsBwj1DaUhCLEaF1wDGIZJmkEd6OAszY9qG/UmsqP7wt6mkD4/duvO5fAaSqJsQEqoKZR9IqZ6nne/XcsZTLsXjxd1/APVqE6ThwTaPrrxxB49Atb/UmVs4vvlOnCHwFLFm4C8NDvENvBeUit/7SycpyVP7oBKm68RLPCrGv24f+EFvgWZq7iNu4JepBb95StsTLwcZZj9cKTCdlnLClu9NCggQGSjdS6zxxvx4On0idG7yH1y0rNBgwnhwULXCswDHj2/u0Bcw+xPU9K8Iptyt2t9g5qBYdXnKHPTuS6yPg4EDddtRiBPOBUmnxeSiqJokRsrAScbp4ViCVje+OgOAoAyz7KyjHr4k8QZKbX4donlN9/vSeOjWNU+fiu4lG7uJiBTmAYKgLWFvXatLXPuJm/vEu4xPy8sSL+ZX7vagOoj4hB0WqYbtTh+NIDjCmHOwrBLDTve2pfaPop37d1uZ2INtTOC9oxRJTArZ8QJKxrHbDnBnBQHZIDoR4d2kis2aaTQ1LKNKKT5ZJSBn5lkkfSsuNhKW89l/PDGUwnmX3TO+la+BGuKXSaqgy7FZtcm+056Vyt6k7AU1VnyWWVj/JDxtuCpYPDfaVt8hEZLMij+l4gg653+brGuD5PKBdmWBZnMlXAKIQ9EPHIf8FPAj5SyL5SZayXynndTQ8CK5flLgcPpIzVyoLPGda0Y2c/f+t8ljGONdy2xm7uUxQVSu0s0Fr4M28SpZTHyxIjECsup6s3DYFNIhKnYWFvomGn5yAoyM6v7bUC/LpzeJLiDpxhD3viwH55cR4eSZcRIRga9zush8FiIRokfUfiYrebzZgrWGAMs4bHx7cf+5MB0lRm0kbPMKWnC+XHuOL6uwKcJzK2aACda/llyGX03FLUuUXR3Wk4MBTj1hkhwYx/BTaRniFs+IwG3bvTChJ6e6QGC49bQtESmTGi416ZYoXVrU3q7aXHX2452sqg52rDGc64C3BnZpXaRAM2skU7hJAZz3FKnQHxsqSeJb4FPtx4rC8ZnUN8nbT3KXQlijTIU9fb2nFFVHmKnFSq+kShdiqcF1t2HtMFn29XERpRnl/4mKZfGYW72JQoEOU0w1l8fD315MhXDDiuv7NkCFOU4durBwADMhDTWiOTmWqMIqx/lgbr+QrJRuCWkA6C+sTM+tXEy/C9zWtohEgWKlkRg9oY4IKsgUVeisosNPG73KSfv61ZOttKTn/j6991TkvZgF8h+ovWKt4dEvn+y+10H4oPNDeNq1lxEIen5jxOsyI3iNDgNkNVtNgPme3z+39cnHCEffoPTKCRcJQ/3Or5voia7RKEzEYqWEyC/28dWpmX2CP1wixT5YiJAxn0vtitzkJWWNxX2CZpW6jfb8R3icqi1a3ojUS7FKyBAEUBjfCfcv53CT6hC9FhRHpCL8NKRieU6fS6UzHpXRQAXWiX+LLCTt3kXDsamQKp+miV+T7SAKKMbmSHTaJqrF7S1Gqkmt8GFhK0gvvyRyZ0ihIndUB9FDB2MK78CyysDnMDQHlR+b+xWdJJu7GYt6oLkzxLwpa9K9V78xF6i7dD9gUBKfVxZyJdwUyzmL6iotOBK76TpF1bYOVl9i+JMWDMcJUYG844d8ChMyBorPpjPmnEvLzr20/sWRSl51IS6SbQ7781Jx6d+2RpXIR0B1HSiZe7VewgIxozw7+LuawzlvqIogVylogzA6JaCGx9vQDmMNMndgzO2jc8ctB2ClHmoCpG8SKdRnDxzniypGsMao+QNS4OqWIqSBDloufFWtfKdsFZDR2OPKGV5d7xqPUddnQUTxJQ1sf+mmkGA5X+379geserISsTPlqJfJPl+zPQRHS1N94cU+HeoPUUkGpM1Cgcj0Qil41H0T+FQ4CSoSwGULic+QTt+fqB4XbRGrd1CpDIbudBhPm4zQB7hFCS987uBH1i7dHaJohxRn9aXE+EdeHghzKgr/SeNHNP6K2I18GZcSiObEUtFxcz+vz2kK+I8t3CgWl7l+/OVkvTpFtgFzNIUQaDuMHvoHrp3MwpQhPGO//ZA5R7GnTR9Lv8BZ+XwwbNs/5j2uWnliEmZqnkgs5VHTbaowvGX0LgM/iBhHvR0xiSlzjYXYsKN2/22C6i4WWozWAOdEhr30Z15onVao7PrFfzmidKpYmdWryrTlMaa438ao1TV9jUS4lDh0Vo70cyXiI4xBk5P9wqOwAMKlX0pmgu+PrIU9yDoga1p3wj4bHp5hJJxxxajumnfJJ48Nk3076wK42h1QJhNlE7iVDRbyartLI2CguOGrNSy492DUNkL6dSomrlN2hi0L4ovUKeqp2QIQIPozgLQf7XcCIgXg8l4MTk1sacC/0yvw1dasX9O4GnCvYxCICSFPNWhrcuI7kDy4G9IN26Iz9J41a5exykj1/Qpkaczlkzud0tZwcJ44T1vXr6G9jVKMDrMyxRnNHGpTLLcyuKeGspNByS0DDnZVo2C9KkAsX53LnTePWRzBCCokpAN8dOUckTeKvSVol7J4gAfGLml6C53/YDdaYcyxcURvHysd6RjJXv4R8+uZs4TYosO4rDuTkmJ5v199uez4FuUowVIHZ6XSsvR2lZpUWiX4FmI2QOEuAzf2ZmJTRBNbJZOgzgTk21hfXgY5mt/RPDu5UYqOmyco1/m4WFQ3lysj39YgMV7C3e6FT/i+7jnemazgCySV8RdLUFNuyhvM7HMTcYl5Wi4DXQOmd18Bd9Jo1rvjnE9TzawpSS4S49Nt9TEcGt1MCIdN2spZwtJdJQTkOFKoY/z0Hvo/l4jdBqLPaiEKeTTN+kVZh/sPDByqvANqJza8UbEjTYB2fTMQFYXHO+RBsffIrTj7sO12Ri6LUok6+iPrsYK8fL5SGzCRv1hKQpI/UGFR3OxIhXmor6KAK4VdVZXiZo9vFcaBMfi0N3/hKM1dzF7Fk9locnrJUya6QpdoxPf5Auqn7X0T7Qy9E5mdkDdtCyc8B62LmYiiTDqe0MfW+ghbXbeG2SS/3txrFaBf9NiUkFwXsbp+h4iuBOo2bcC4ar14Qy3SjO5aHCDX2xviYXmlO2GwNh/L47NQNWRuWLFjLk8rh9Us6bhejrzxi+Kc9IvDw05oNkahrzWiUtJLYuLKr6kpPrrK0XdqMHx6TlxfJBfZNhwtZjjMq8tF3KDj20mygh6yOWW2nUIF4eNn5oOIx5psb3em3qqWC9oXdUNXcFCoM/gKALwBre/3dOypYal5DVeZ3dCl9Hgf57TV1GlCk6ddCHYBSWV/dYoCKwG8yuufBH8fJZ+EGUn/usJ4dE20SnfGAhxziUuWJpXcMD8TSRRwJ5s9m3k/b3UyG+5cyGzZAgObQvYbnzc21NbFIoKvOCt/2wyzny3UcwwP1mdD7otfFs5qbz7rbHxFxpWa0g+zqdsJ7uZR67S70fsC1Rpa/84jluaW0wKT/qPXGuD7mSiKaRdmR+fHPdutwGhHkiBVP5SBrGa0L9EmrGKIn7s1WCGpdpopaX1FgdmS+b5Aom5EE7psNhEEGYAxOkJEmVMROCCpiol2MtE6A9nqif0lMGFsSgOaEi4Z9ih1VRquiPXiPnWgQFJN1LI8wiJ7RHqcI1iXlSP8oO0zrrpyzBS7sgfpn35oeB/QQZ1IEkMeYlpsX1DuOgtG8bJEU7CmQGkz+tCl60o5R0WJV+3KShvF/ESvdicgXydDyeFFIFy9cO3/fM3aHWIo83I7kH6AE15jL0sHdquip6IDDZRHwBTCvPk4snexrkTasgMLpknkkPz/H9ihJzbgdNnxgn4leOl2HsMo1Kw2YNtSkSPvj5y6xmrCpFqnTSclaH2jOZRAJAjmIxJQvJJOe8OX49CSCzYQP1RgUDCBQRDMfsFe3UGK9CiPBYze5G8MxocgfuHHawBSOD27kiypynwfi18RTDb14UJB7TjS0fwa3GshqjtWdmEJ8JAJepi+ZJVb3F9HSvXk8YKBOTDYX1WqsU0KLMBm6eDO1fY0CyVJ8y4ayJZGzpyLADomemQ2AUTSzdYOAdhj2BSaKVSKZ8zWuxmAUTcPXhYt+hq109rzhEbYWcPIYHCpZCNpY0kP+SIRzhLvc9H2bYgY7Mte4Sz73uwdFMH4EIEReMBOAr40Z9PHiXSXlvbBQzJuy7ZURuSeqKTyoZK9V1On/NEl3EstdG4D6cCWMBZxXK6N8+P7KqbW/1Mn/3tPD2ur++O1jdQ2xnEnJXnxDtZ1anYj37OTvYPO2knsDUD+5EwjpF5PciaxWUfkJmQUWGkGv3W10bP+TSx1RvwnziRUl3CxgTA4ZQtXOg8uPn/ZuATngVGPPcVoAxb7kish1gN+KdevV+AniUSNrtWp1VYwv03DXCbGrMw4ZsTRboL17Db+dKamtpiLaAZuxqcJRSjeXLb9j/5F2OtPBZiIJUCymzPPTERBofP4ulVGMaFARoTJvSMmNxNbOKMxA9v0wzXhxxQg9IuEHjKYMg0/YDQMzOkxC5d0MTCsvapu/IkOqJnAP9xCvBHUEQw1wfkCHfNbDydUC6oH18UUALjDD5i1TuKGsyIto7Gd7vbteqkI8rMdFbQcRGVlM5AB/NGFVoHb2RZ7/XvigB68EyVngjfxULgsknYbKcnPDdNDhgg1JEsbZwRM+k8oXSzt0/+xjsKF9qsmf7KyLMnL5MO9TC7Zd8wBykTEUvwtR1dHs3HO3s2J/k5XSV6rVIhsuSgh/PrRbu1gv5wEe6fmcSS4mTY3QtdqouK6I0z/aXUHI7l0MF/6N1uK9u6jyrfrv/x+vmP//cb26ROSRQw7yEIhMGocQ85RqfTEuDPDoVtcLXGPVR3mIWSQFMXvdQhw7c5E8mLF2UCtsPDlV8znznOJzwfK1rSWgW4XcOTYF93rkwYx8zyoX562jyogM/i5ZFEZYjibF4QwPpu3nqlbkpxHxyBw2f/Cmh8rz/sISuoeIuKEhcibbU12FJEiXS92KzQgZF4RhUfJJl9IN6ek8Jsp3h43F9/tiZFcc6Y+8va2NyhrzShFmhbmlnb3FhEzHwejbfra/7yPzYCvlLBiabIXaGrlC9GG2yzxw2Jpl7wDY5/yE+lIryiOwpcw/GmdBNH2ixyoFOAiKbZPAwJsDlHBkZicLx7KgeThFN0+ULw5bhSYcnHU3VHeMHtbIj7+g3FGWrW35tiUX5cCe5O1X7/KxvfOuyp0cRJWmOokl9ZOyPqV5MOVC8mCphvbaMXJ5zeCf946SO1T8qAkVmt9/Y12RazzBt0qBLK+Z0zzlZfdqyRuDAnuBkCEYMngRltcHT1A3EZCLQF3BbzGPPDqKZAdBeMVR/2uCwDK/0b63Jx5aCBqKuAuVukB6DAWGcbX+WGyYxlL74Sh8iNSLAWbKDSqQq6vACsHlerevHDIEw/Wh2dKfYvl4eycO25aruMcLE7+nyOJpyq20chEyglPUuxUB4gJvqhM1R52y+LYKE2b4oJvIRm3dh8JVrieiU7Pd3okH13/FWYW+C8qWxwMc8iLHYhJ8GvC6Avgi9vq87OlVLFpwL7uiG971lRPbbVtSHGC9upRAznV6mgcJ3AqajR6tCESdy/E9Oh/m7dIVGqQLbWVzELTptFyQLw/Pdlk5QvHoi17ATODipOqYfnk29nKS/NAmE7BMi/B1lNm20fOAgpdr2FYgP1PDBo6SZLNP8RK5Rk8YXci+HxqALObLr3vO4vMQfeQfyX9xSAdwt7a2zhV7xlqm0776AJNbpsYxQGHS1ub9uTSZ90riOjztZz0bbCmXxHVdNftUA+w1uBMUVuW4D6BTs3G4p6qI2AQBqsgKveo/DIaUSQ9owsO2/nZm3qTBUK99tT3kA1FCtSSQ2k3zgqABq2iMxtUu5zir3cqANY0AtBQG1e1OzUIafavNsbrSoYMIr2aCxisjiEm6XcZkI5ZEl/hcl987dJkYqq1wK26JPU1S/CTc5LKcXT8ddS9JIJ1XKo0SiG0JGTbLXjzesGfNkkQK2CylvP+PWoaeiEeH4YBJjjScxHDeV7K7Q67qvJ9ppfS7mXCng9tpdmGR86wYN0JQ3cZP1Xx0owKihI3hzqxnsHwQUBpZaXC0OzMYmgIHOVJuGvlT/kauy4aJ4jmRoORBhZKOudUIQ94bMCzWuDjIsL4RgKUhqc65tjZzSfzUXYAm8jyCyEZu1fyH4BtZzbm6q7ycyeyg62WlTSly4pmUagUf6HG6bJJCJgyac0lMjfsGClXE4PughmF/vVB0aqmmTA4qic5wBi9LDvcXVpq5I1oDLSfpPHdu5wufruMO1M5BcBMiBhgAm/7UPEaSTs1DzmBWaoKGXU0E2qenWx3UCJsLK6i/YD5nsYL1WLsg1sLYlfRNuXxMeY/pbxQIePlrYCZmU2P5uQsXrxnJljYF32HT2zJG3oDwVe/rQlIaT9cqGjz1DRQoC0uXXmLI4uonNRbx7iZ9Ez48OPyqcrvuD3W37y56zbEb/RPxO4Cgo+MvtuACU5NMXer4ClzYf49mZxkl4FveSdLq5SE9AEk2kC6bh0I/oLZHjAN2FHpcV7807mG8hAUUmrJHm++5IZ5v+pdyd+nJvgwDVqrlfmbIM6F4SpuE/CnCak39ncE6EDPbECLVFZjZvMtixYZqN1BYyRjvQGdBnXG7XZoWh0g2D6ArMZrpoW5/TUOfUWi/aMp7cF1RTLTkvXfpRgv5ex243KoWwPauzqI+6jJqKbRgt2vSGKkjtq81l94NdArfZ4PzoxKnlUpxapoOg424XJHA2vokJTuY5vqNR9Mo6Jz0FKr5U5ERcunanIWh6OHGa8ChsWplR+rpFMI+HXlbwgnUgLi6BSSeL7pbebrCieicP08RXwDSim69V2f3Dv8ktfztZnfHn21rEJTjpiQLSE7Euu645gj3EMoCy1Gg/FzC+PEuqyyBuUM8B4YQ6j+q3vF8LYfgpvF/Ywhi3WelmBUD+nTWi6n3kkTJERcSdJE9olvCljsaDvGvIVa8iklhDWKZhJbDrovTc294BKJ91kD/I8+csnd3+T1HO+GrK1H/CktvhPzB8g3Zc+f8Gx4nsgVdQ0aVTat1F7VJtu7x9QZ1NLm4XR3g/zLDytutcECBbs/dCJnTmLYv8iH+HiGSfGPk4larcsMAfqAxT0iecHE2fSrZs4THzFYPhSH84PrhMSBVB7disp8+3zRWJEfwrEPwjEVX9deBFmEH+oKEuYhQx0dzawF4aNe5mJBCP1vaNHpUkGjO1FekZ4MVL+vzvaBWr7THhdHEfQ+98oWDHUaM4dnto6l36+esURWaKcQm3iUa6Hgol80pebyz2B3+FHcXdajQuGxwwXSHE2KmOpNRG/HADYtu3EF5NboRnAYexjFnajb4JpxjbxlZyqo8mdCTWnV9lu6ID6lhc+EiuPB0l9hZB+NSRujOADV6VWj0HfoASWqJ+Zoc7R36le9XOLReLrsOcYzTugxJ8OcsnRrpZ2iBvGBmcRshDfXjv6Kw0lYfMsfcRd99wOgnwhLh2FrbTnYTI/QPZiWd+6vXkQlFpKkVc0TUcM3sGSot4O6lYbHph8QpQcw/XAqhg6VvWOQ5At6OVTGRogwVlMrUUaolJ2n1XpFyiEAEYPEPovKRNKpkrp82EDWYum8fCoNzT3407J2RIVFDCbCjNY9w7QPh+Mpaz0x1uSTdaVi3Y8XxG8pyu4XnCY5veI7oY3n63VCg+zIv2NfWVKGe9r4+gbIGGrPW1oUJMfdqwojjnWQ0TXBJTgZ+3+FLnruWy6g8SgbIZXEbm257BDrj2j3drkJc88BfQQxiQRd6qmSJSXY6Ioz+4RQBEtR2doM9o9kZ9p7e1PF0DM85XOynCQN5kfD3OfNYFTDvHojUrQGMHXkf7miwx+YJ0OuOW+TYSySU6spm6rA2QNVoyD276lNSFnRQrvhl9/nQuYdmJGVdwxjzksE2Q1ZqkZ6Ds/RpJ/8hbcuJfoopqSTYioV40FYkKMudtsaDJttsDpu8cZbq15hMEmjFh9cxPrpJeurJaqsdZaqmhGyS+OJkQ3NEY5mXhBN7e/3BQalgNIN3Jhdb3/kJ7lsiZT7/XBOlsQxC1lUGiUkb8RbQq08Hp7WdVQ6b6umouO5yF366UnSMSoWkVNZsZ57DqDxRKNBKz97isCwKtS9konhxoLrbmdqhlIJZtQn17lzpEX2cSry6jw32haaBoo5d/wYx8X0Sb2k8Ip3fHPi1AmerlaUu0cPiwlbpIbz6ydGT3XmPJAFkkNZtbRbHljEpTK16BxiLR/oRWImRYGnJuOKntdI+u0r8U0duE5C9k7fPj3H9iEHKi8nZL2oQv7haI21V8w3ImAlljQVPjAo1PKQuHRWi14zPDQG9PyMPCA40pNcFSxod9mH1gnmdfV5VIirdVSZlP3DMMPlPVpjyKTh9Yi+4oZmGuIWwFYYmP2BP0vyvHQi0GmsdOcR/nr8iud1ypeS1aVmF8P4m81wXXGXGte/3NeTlOPtpDV3ErLLWrgCeUbtRaY1Ke8OFduK2JX+yTz83mMSMtzFH9odBMwAgx9Cp/0E+L+wQoEECkybU+0XhS92XJKMy/hqFJbklEz8kjMT1aFoWz0n3GpzTQCrrneo3I4AocgGdN9UkPoMyvdYOmTjmMh1Kf/ShMOQtBrl6yFARsgxwlupPzzWuJlIxvlMy0IgJg/4jJRa8w6QUwLYMs4XV+0smP1MDDaAhV5+Urd7kj0rvjCqX4vM/H3kX3EW24vQD+bcPfNCsN0Jll49MQKFPNlUQ67qCh9R6iesyllE+Wz09IuKTZehH/AG5/qg509EdfY4G/JOIdR+0kylF5EfYVECseT6Bvn9dJhNcBoisqoQkGC8ZBIQ1ZFMtWMvLrsuysrpGsl2HcN+VP8F4IoNaC9z4Id9YCcBSroNItITRtF/2/F+y5/91nNEOl767F5sO3kB3wCbpHe0MHAqcGczrZpI6EtsTWg5LNTDxXMXhjhfhfZX2SLxberzlgXD43XDnDdpF7LPNOLdh/xDyWkgWpSdebRwsjcaeqUy8sqn/r/mOaANNde/ZyNUV8J3Fco2OBh5yMtmB5Ab8vQOft2ws1OsoTvEqeNVDSQZIaVlN9E4sb6M4PZH8qeWz4esirivQleyu9crf6suSZkB2e7kSle68axKQYP5M/+tpYXtWgoWWGebJqSk/K7Aw4lsmWomGsnkzylxLxsNDjCK8OLxfYLsroEE2r2380rmaMt6I/NPm7jiKI+LzEz8e1CFFGcfrAjrrJ6uEXZ8Oi6qwoxGiGMwjPfqpuVttGGdboAsJHsVzEmUnUKIL3Okt6gcj/8P1Ik1oTNltlRt21BWxHYh7gtfUo2zEW4rSlBsQZonyVTVFxnq21EGwq4sRBA2UyLfvzhz7sJDmuZovudo+TCjGsERNUxbmqC4PtQUVoOKb9b705exYUanreriHIr/5KFYawqVfTYQuXbBNQ4v5XWFErRpWofbElkcN7u0GnWjgDFzQ5wBYSWvAXibztl3UZ/x1sQ8bios4cIpi5ZPV42Mlv+XdVWe4RW/LR33nbMoE5oL799DP3GsF1t6O/1WMmmVH4KbaLrbDsmrsrEd+d/PDTGra9GscKyhGniEgXLSUvWy1IPDxCQRKqPc5qbcsJZuSqNuUMc4iF4bJKfMeiOnt7PpDXHiM2GXC44fl++S43OiU7sKQiud8v7Nu6Sc+CvtC9IiSHL4gBhk95Qzajv3ENSII/q5Nv579/N5lKoUPLh0W13oXCFLbdguc9Mgi1XYwK5lv3ZX+6ZBK/L8k52EV894Q9xnIqbF3rjlv+8FTUGlWAggZNzQtMUtWNgvYneEwqHv+8qgQsK7GwKEKgagfocGFsvIIjdvT+biV9wh2kYqev9FiMJ6xpTW8urn4yoNzROqA4GueY3yJ/FmTn9ipVT+/9ewOfIFPJEHECGM7r7XXfj1d9jrNaanAngJaInHipK9yS3BKfbiLAxEB0kj3C8a5CPWMYfMFTzVOptjqNrqU/8fTbyMkmwJZ8E/YyXi+ATruqh9yM1pSse4TOZWOywEC5VGMLz32GSOwiKs2p2lCQAwajyGheL6IbAoDtbuC1Ii+uGFLdrvVPzvqsOab0RVCXA8QQdJE+VJCEeXMwfCV6+SypTnMyQJd4ohYMwFImgFa94P/9D4+bPyFl1DucHf1zwa+6ft7K6sDSwYyWt8PZTbxvgBHy0jq0lEWTxRuIqUusCDWWO6ya23+SASeWeL3OFgSZlFl46I+GlEgllCYWDHb0CpL6JkuByCnxaxm4gl8Gl+Mgp77mik5h0xw2wH7Edf0yE8tFIsPKVPNjDZyvhp7FCL3izV1eFsD9BBes2xbtM/OfqBoO5nq84V2lS1Hpg8/+Lnb+8p9c04YEDEum4PFs8eAcQvgIMVSAv0YNUBRg5+DtQY5zI45IKUVjhesLbzepK5Tp6Sz5YfZ0MhMGR8dbKoQVnAyikhr/wR3SwVc+CqvJSXf60zAY+ZW4UuwGjIFroopPMJiBCQtxYmNwdJLjDyhtX4uR03/pYkNYO03AVb85gdg78BdIdXv9B3lFedSBHS4z8GeiMLiNRN58K4qCzNAm/McW54ugvHVtzuMRcdxQX4LDUDnhigSSwsuK2BAqwuFl0KCjBFRgs2RMckCUnsViTiVqpV2SaxpqE2CZajZ6ulbfS6fkd3YZE3fWalyU3R0tgfKBggdKsUTCvL635s33kAIUohIHSN4Jf8cATtsJRFWAfwe8rAZNa4U/gCiTeTGL8ZIMA9Bmw9Yz056JZWMC70/nE40jgYkRpCstAZmbybx8lMtcvRK5dEbsX24p3ycI3fUL2ipcX3FegP+uESTrMJYdIhYvBvNFJF3okC6a+S217maV5GraSktewu+DrGwYW15yjKk4TYNVTzQDXt8QZKYDr3i6tQQ2dBygn+SIKml5tF3CIBx9+hJQN2nmDysTmZf/e7xVTbu4D+FzWICBFvn/HDwJX8/4BpVf5hubLFdHStn1FSapGpxr/QlCek1SzVZ1I8qmEG6fSvSEA/H20TvN1ifdRODgxEscxudqf621PClNbLQMjkS5JxeFibxdwDu0nPX8xGMG5spw2ARj9LBqJ3KmEEbp57hfjlePP4YbEXsq8dYo/8HGEJVppnGdIYDuqD4iMAIN2XcX0UodkZCPhuPA/9MEqTXHE60Zdh2r+YcpFBpoKLSmvVWctP7Brh2GW3sTXct5wogCnkQqrvALxobGP7TVYjMWfelZGlOK3ZP8oePBnjA+IeYD218LFHnx1CGdmsSmAU9mfuBe5TfVnCy6PpsqLs1ynqDi/05D3oF8LEtuRlBtjYOl5UU/wvWqI3yjOsdafDXvd5b/K2FEQwdycfWB4x6MNUs1zmBmj5qBz99F186xzVmw/vyvKLFryIBBawyQXrofBUj8N2JO+VNBxC/5qDMbO5YiUDeK6QK/U47UubpGngsnieXAFPx6yXfAld1nmDB5hUsUKlC5cCLydbjyo33mUFNYwn8IyhuZYrsazPsfOt7hishm+gcHqjsbx5aW7iFFt/xmo2vTXwzsOkVLWtcs8OifbtO2EUV+XACgWjoo/2mDSLN55/FGKablXpteCvprZ+RGrKl8fjPvPD+yKFpWSrOT5wesqPDFmQNjmJTQGUo7Og7eVGRP0I1VbUL6pCeglGx2IjkpgwY03c/A8HQQKTJQXuoSSRJB3f5b7jwCIsBnkd/A5KHYLOE+dxG2U+kgbT+4sr7Cs9i1DIUbNomzljzPSX1rtC2JiJL7NGnHUbNFYu8hHHMZHzjpL2C8wSW5WttVNQSokvBKid/hGLWh8bMjF4FN4cFMudUNlOgZ9aZKr0KKPJLIVKHNqBvd6RmT7O/qTYcmLoP2uiyP1tdKVNA2MmyaTtqZMRRCe06JqHhqKgBVhjPZCfAzNvPPheMDjzPk4jbNsrpztTJzH/c7KtTbg48HlGnMBkv7EL8rWZ+XqEg9Y3MEK41QEqZ6d+uzHSLAnLerKzqKpMfzUZZtFk93k51xdMDxEvr1C4AWv7UtxUeSfg+KQTkuymhE/eMbum6K7eHoTmcz0lmKxzXqTDGGWEEb6n6oTe+BbfjTu7vp4wk9j+HWz/Q5UnOCDE2/AoaDrsIMAPmvm19eI9Y3EPEweIrTjun6AjFelrCNJfCiM6HzI8biHLTNtNFSvT9MggZkRhZBGXj0XoPzkZBLewiCuwTVGnPnUUWrbruFwFUaxvNva6bYlAhkWZBwxQ1NWAoSCriz0CyAu2+KU0GtWCgoXZfKcxQTnZ3oEoRGP4THIVKV3OljABykNNVkYtP2rNwMwowFP88QXHJAFBKD97Hl7bc3lXiVd51rwL9UaCGHxme/Q7oU0jLn/LQM9pEB8DDrQB4jH7ZD9jH5JgkhflOHMAGaC+nyI4507zOMwNj7SLTElbSjTMfOhcv6P73XFfZzJMosLXe0N63qOnsaNl+4zoSBRP+WcBNUMC/oxY65VmOi0nU7AlX/R6OwIZ0ajW34X2SS4qyjtbXXVkQSGQM2gzw0XYUBO294c/nmd6Vym75NYsLsPUn/BujvOYQlhIJxyhwiDX5lzz8drqCTCvzOD5m7rhOZjfvaagtqPW17RUjlR+lcEx21JwMSIvqvK6rt21spRkryK+qH+jnrHkaDZIkl0iGwvVFztuAENQwW0b+mftXAcavnRDb9SSLjKDxd17NQFaB4m2FUFNtgXkvjFPEatW0GWQPMSJLDenT/x/MOtG7Qmerhjt+X9UQtWkatgUi1hNKSdjriSYDn6AiTFRy6biV1Z3Y22B2dgfyaquhBJoEJAOt+BkkVbZYjcr6MKLLvGdDxmIdMFVW02AU4GjZCCtkmY2tUaxxoHP506bTorBNVYh3O+CFR68lizoshENshr79NZ5CznUFengNZ1xYhdvqGJ/UYKdYuPsXem60j5ZrYoscJPjNd8mE+TuVUJlmw3uGksI+LTBKt5uAUgCSRGtVofPzvgJdOGj4GkfRSaSIAbwi4xeJG1xGACRR/SJ1Iyi0JQxd/h5iK4L56ZEEmgOPiQ5iaZ1pxy3FiDlZNDNkg+KmzMgryogISgAWGm0sj7FKrsbbZ8BsRxg/feD8tRgzcL388E3ldxxCZ5+Tj/TZTdICFBOxS1/NFh7EFiNpk3OJrNUh4e7r3cpSydr+CdUaek2VCCY23srmg2bya1yW0p1au7+FkSwpxq571utwBRLzSv+pFA1Vg54Q6UjxBNBTak5gUgkArPyk1O3vYb/7pnj4WObp7RjWTMoqtGH4VU1RGd/9Hx0YqPtM2AjZvFeGA7rzZY+kEuRrqCfxd0pLIhV+QPlfFYr24NouJEAi4L6QQpXjDolCI/MbG0B98xletJ/U4UMB+fRHKypWx+VfqNeilpRkzvng1a91ihu1tSCi2+kQhEwszKMeVc3pIIOKqMBlIUrmhuE6fVn+h/n++YjJQ3bdqeqwAV8j/uTvnLuQx+yQ3u7ryno+AUPungGkCZLCYTsTcoQV1oaSxj7c217z2llEM2Gj8P041WawIJCViLrgOCoNbTiVxF6lWveBUuD7FV9ovilpVvN70ZXyWiYC65v3tXr8VmlCylbTYH8cTe6OeV5MMtXH0kWHYpqlV2/kUBROIbgJSOv2agmiGwsNTh30WIf31hAesNvOC18zrqcyirvmcg2m3Mg/RgpFH0IU8+v1YCFIpT6oKgMua0H6K5ahravZSLjGBXM0ZpCdXB+ktNcMvKjqldJE/cojvc60D6cJqUadkweIu44uw5QxoxqF2D2qTFdDAi84B8YIxsOIYJfrP5rLhucPbRMpg7eSz0Cw2kShvUKuWCkpsCGBDeo/NDJXLgTCiNvOiJXtHgmTJdQNZ/bUEzvY7JJi9zf7z85Ua9YHO6FAJFUK4b7xW0ToDxfsBRjOhJqyhpYX2Huna+yCPfBBAbYz2xbZGtYy9TnEJt+xGE4oexFd7G0Jl7bqic+ddxXKEnx6TbV/AGtoTuczCFrVERz5BTMKymhTP2w6PL7hTKU8xVl7pz2RYhbwdcnRRCf0BCnQ2/oAZDrfZvp7DIuht10tp4+bBfb2e1e+4Bm28btaRB5ABEVbmFsAXZAyOfqfIeOsByNUH0h2k9kEKneiEvOLqBce8TDIQ2UkIt2LsW22e1i8SLLh3pCdq1fiDUqdtLFZeuUEx9fG5Leqktqh7FMmEnotAixosXqMkYkcobTAPsRMpQeA5W8K5m6qW7SdZ2jygmn5s9Cs/oUZ0hiD6J6XEQ96HdIZNcTIHOyKEV5qhvJ5Yx5IAxjHzxZTFGz8NjqMs+LEg70uaumqABO31pH0SGnf+NP9Mbm8DEcpAwgzI4GtHZPgZEd8IkWrMzv/DbKREzuMLT+yB1sxiyHY+r5BO7CBcz8dj6cv4pR2cZsTEW3wKKg69D0NwnZD0ifu53MLOkKjoaP1WEsMKYXY9Ibc35ChejYFkGTYvvN/Z5x5AVhqr8g7rGyr2cT0sCLZofErnMLy6f1m1488wubzh+lvuKqugfsgKf2t0KNlPkLP5FOayl6RG13vjrnA8ixlNT5jZELYI5luWKOOcksB79ebouCUwTQMKN/ak8f/zhEaNzM+kLIWAOgbObECDzD+JMoPvni4sb4dqpk1MFjW4gSk71RzimkvxyyBXs34n65V7vsRP8npqd5lQZ8J3mYLFFoxNqNAGyOeYGIxi+sl0YayHoHYI22DpSieQGtMNxFAA4tfe91l0rtIqXS/qoNS0+Clhv/zo5VFrPq1dhkYqj98t42CtxfxZb1SzBmXSqZCu26SrP75UK6uAoXsB9cDeyiTg/Z0EbTqSCuQgsxU0AMaOw/a/rOmK2Fed6Cd5GzG2xME2RDHqx0VKWhw0PqJQX83ZSS0Vp7y3DDz3qX0iGQBOizn4AvgoFMRLB2EgpSA+47qfp6m+Dtb7fLmBm+tXPvTffibWxHsQS4Dq/49GAG4zb9IKLIivB8b1oYtzH5wkUb1V7vqMjbx+F7n+5CFHE7Zxov0HK2Da9zZXGqeNgsOIoC7avXUmb1VVpvloMMdo7rml+ntJudwayFYZKR8JLsVqCoa4JSU7HANw1ARQwGwqmiulP6AYPjIE3iOAcU3u7pitKjI9xcpn1lZu6Euiey4DtVlKKY7lhs6WWYHnPHfm6AfKIawfGBA+whXJ7D+ws3gVFkQVnu3Tj4ficjTALVvfHszqeO5CnMSb7onESFhIjnjd84vKeF9m7sYUkBDwp4Up1c14fMf7WRl7BZbyxGqr/Kok4G5Ty5HVnvs5erROU71AdSHHEXDR2zr2hDsKbLB2EiCqqDCCOA8FHz3sIePzL+rzuPUhQ4LU4NZwW6S8qpfOpSpO/ODkledronEW3x4qNUzyg4kGeV+AB7XYBP8W6SqBUJMYlhjjoA+jYXGCU8vLGP5P9N/n2PYu6jwVDKVj8IABZXTr/kWfmT4nOMIfKuWLVSmfMl0bBz3f+dgYnjDUwVg2NPYBp1j0s9SfE1asBii88IFcw0sflrAB4EBLyce9r9eDom9tfZn9V5jrABt27W1cyRbQAq41B7PpGuwFAZEhqFFd14hBFrPlvvYXPSPd1MWvvkM+uhd6dapWIKrIlBTsyvqVFAaNB5890vv9IVTBsVPT6/8u5TSrAbeVlAzcnJtFNn5NpAhNyKV0d+eOT5OeGfYU8sPUSYRT9sOp2AGvxhFS0Lt1OxZgcAkF+utqnxxeenoi+UztqL6+DpGNwfz3VvJSBmvQfNJKo4t1Fi82j6+/IzWQEzRfV78H+PrOnY+wZDbe04bq+MPdg7xR9KNoQs8hBwchMheSVS2rJv6OnaNIOB6a/VByXucMq/EZ2+kunN6GA4UY9d3FKNaWRBFPHHf5I1ZM8Hd1WYwK69aWslVbOw+V8qCkkFchERISUtKWKXjxGQrX5opZOP7XRMlUAH/FacNY5Rg+aTwooHAjlbMVsOh9RFG1+jiuPBYF8bHgHGFHcsdXriQQ1s8XkT1e4ei6bg7wazx1xIFIumnyAWebdmze/ZeEVDd3tUJ28ak4UfFre0nTp4vS7egPsQdIu4YV8SAzWMxYXyA/Fatajd7KMs60tyXmrAYVZmk7Wk2O1DRVkCOTHshizZ5Jb0b1wXwOxI2OxFrnIOLNfB2LeOBqGbVI5ZgGZb1QEqAwzVgfpWsGDBsFyko5s/auyc58LlKox5NHbBKm7/GVktw7MJo5+jv47/q1HDL0+AM2GTrGip/4BVuYbeVyLXcxbq9QGgS7MYIEPQLGdbpE382H/J+18z0v9O2LVkU3Nv0j8FpUoKEIeMC8S916MRYTCQBnN4R8XdbvcYJKOeeysdA1JtFxmE/e00fgrdiMahFNCrX7Gvlp4ZwdNviiCoeX0AHYH7HGrqejzsoMoZ8dVDUBRegcmYp+mMhwXj+yZIWIvRxFt86/+DRwWMJnms09pDYw5ClHzQcR7LIDeFEKPtNcC4OTmLlnLoE0TSMN2GT0MOdUHgodelOt1P3Nju/wiYE8aXteWj3ktlLqHG5HYb1drFAt9yxpYfNApg7Rya7r0qfz/2Pn+/Eqxwb71xz5TOTXgiaEwlUo+ptD3lf09FepvAfuE99eEFMN8Pmb2c6LRyeigHusi5zTklVNOluLEpuBfLY7ZuB0wSsKRCzfJwrwqoEIfPA5rl/EZEQIv1DvD6NlGr0ofmYQmXDs+QDxO/NwTkUukLVGUmr4j6WE2zkB5H2Dse9bzW0T+NIm/upuPMVnNcs55Ro1qR5YswGsM5QTnqsDTZGgftQrQskxbiWUrNfO4jVGo/oGPCc04KeypESf1SCA+q7iJL2vyEjlndYLMrxZflS+oDkp++UnsbQ5QWg3TFPhkxcaI1+8JtEsWGbu8t/i46KQHjUaSCdbgF2vqEPwwAKQYl2eHWwSW6HNvniZNohL42ivURTQYf8P+enUbrlVFodEkeZXSNNSRooYW8rx4IEhobbkrh1jRJvvqFHe1CN/Smw32nJ8cUeN6VsdDTb+hVl3o9O/iBrqszu9H2qHVbe2wT8+OJxbGoCIWBaUHQg1mHSvEvtdaEy1ndeZCQt8TwvynLdvcCuKeowB7YFYhlOl0OftrNwFyj3XiQhevrfC5ZRJqFRwTIPoRrLkCVB5f0Psnkn1qsUfiOx55eiVfkaVHr9UxiG7yR5VqvsX0dwOzMR25GuFWPMoo0EjmBC5FVQm4GJY7IgXPkh8nWnHCFwapdN4QCnRepgqhnN/w5sSY3oSZvzTd9Dle1EBzDK3KOku/T9bNFPkpibY3NN/7Xye0WF2AhX72nqgnJmqsysxNXAELmG+uc8iQ7UjZin3vXPVpdBErA5S5/gFs9+iIybRzaQtgzOCvJ92Vf5A0HMRZNrDMhDwP5fqOtyraUqEZda+Oncd44fGf8vB28liqvyktVKh+PQCvZV0QJpfaBvAb/tpC6LAzDagR7lCjoDoThzjydVsZ1sFn10SEM4mL9xYDPco6I935LP/d+T/EA+C45IiJVCfYVx6zRLwevIhZj81nlPy2fFvsE+1Qk9t0y/Ig39IXI22RJ5jXsd2l0b/HkMqQtMNsUNXWUYefRVNMwWOi91zQoX2RbtHwFHmHeFFxQYW1JBEDTHm5C5AZL6ziY13d7n7U9dO5y5rpa22YTDpX4U8AZaPtTW/THol3VgafI8zyAuhL/LsSoGXWRgBi9CRX0P11/vwg5a/FDgp/060GOMHVCVHFIYgaEMgp6nt9OHARKN1PomcPUTqqhlr0yvOuse7rJMkwSraw5AzgjOjiSgjJy5IXbVIq6X4kBN8f/9wm+XVv4SiMmdWrj/eMmBI9YSLkNS1XC1AChUl0Yhx+lYQfBV5L28ABZ1UhqO/+o2sIpygfIRtt5X0M+nIfBAmrijjb8bnRT5ftLdgMSkmWkHBKk7NXgpNa7ZlKXgQX5NYR+wYE7UO6IxlNWzFn7PIOQ5+VRpYmzHW2wV/rQk/uD1ZfTDfaVPjfdm3U0i8ULkOpHFqpTjxUKl+6dBvbuDfMh1sxFtsinQwMiSvn2Gu8/sPpHJP5rKP3H9I/tRLKSMTtS8q3CwC9p1y1LYMP5qbpkbG4K1525YZhYVa3wHj2M+riE2NHVCj10oNruZg9kOcBrMgDYZUYPjPWydG+c/9NRDzITcNq4xDFfGQweR2GXW6vrVe2LmKzghW4+rgA0CLFgnTQ9E8vRxpt654F0pEtquwzhlKSDEN44Tbxca5dlJX6KeRycaRzkReWINn2vYbRtkLn+wtM2sWhogqXKJ3lrdrvxf0KiuN3nAlNW7FRPWJICW4R63fCkQ29YQPUxE0jRHtXr1mARqB5b4mt2NTG4qwusvwRGohmTtdy7Tye9ao56tKJw98kiRJjbBEqOuUBhnAY0HXXQuvGvX7bipYXYVithH6x6nUG3MzWJ4LKT5jdrnJ6lpFPiqiIKOOANHQP+tw5CmGjeGrj+XPildwvJX2gk+bdWBjmGIeVwfXe2i1IqmndfTVXZIdXGIZerr2zMroDEd/+VCBCPlKskKdDgzY3hX/3+LnKUBTttt9HkJIgiHu7amNxgN0Va/HTpquJ6fe207/hbB4SrU4edAgFxXzY0L4f59LzdTraTONK9kxSpAkGkqfj7Z5CZ/MRoYEoe+9H27v89Fonpyn55YQQauEgPvaAYNC8Htw+TSC8PNVlFXyUtD81RISvLaeyj5y3pIl39YmPf4qlmnFFxRdvEOYVcmhN/4GQETmkWVo7OIJwkbvDJCq7+j0jXFZUqCryQTE0EhTZ31YB+pFbR7tmw93GiqnbZ+Lc1VgMgBvdIaoV1UvF6bwtVikrpnhlYSx+Vzr9yfvTED06Gy0nj8Yjnkenkasoezrw7t2Bd6pZTEw0rMgIYozp+aLvnYHTjx+vHuYUW7xfNJb9dGR3OW8RJI9s3V1vY+c1kkoDqyxaMqe/AFxiOM79GO7gmSbnKUB1GBs4HQKZKXX0ULXT1XCFqgpMjAACscTfVYAilPrhd3V0Md0+tXm0qpO+vd3jGJ0uGwG3lMqvXwE9t7/IAahBlN/66Gqgz4Sr/hrP78KsD5ualFeiqjcDBCRYTKxArF6fagSk03BgA2WQrEI5MjKnRt8j8Hw/gCcHkIrrGX0V7Gk4fduIuqdKwtamwr/OvzcrQwtEFWsedqu34zH569j/wy0nl+l83kzEDm2WjUHiEOOwfz/mcLO4iqlk5chWnm4G/c2BX+jWpoBbcVrK4IJYgUE2xudE+OTs0xV6J6LFO+L7VfhBUzhUStKekrnm2wplO+2wOENtX6sQVB4lHIsanm3lRTkMLpiqgBFprwaq6jJBx8zazE6/NPh5vTPw4lmkIHBE3htjAlvXoEqHnnAKcpCqYG8fzQVAS/q/WrZRnjYOrRuPHxU7Wgp4fVUarkUu/KacPML1Bfk58VLb4et3ysp1xN9uR8/IOTAJQvQeDUsadRNofK+O/usGzzl2+mo6lYeN2fByJdj8ntL0e0TMrFdoyZYww6OrWHWvKfRKk0WqOA10r93+pCv2trpigFrt9mhQ0THpXMVVTrGq7jDVxuQAQiQKr65Kt6evFF/VDOpIfVdMz9aWae7zSTFApnFYauyTaRCeIFMwgka7iHiN6LmE6jf+c9NMitpSlP78WfWXaZu7EQiuVLwSkpKC1FuVh1OqK3MpxipzNivy6ZlXtLLI4wRy2KOV6YjWoiKLtyXm7dVrC0whPqlOS0BdxMDyf8OU97X9N/8Qw51AP6TPJM5TiaXjaUZAUKp1JkTM7Xx4UXPTDvWMEQny7Ll7zfObUbMn9abh/U+cq4/+JJUqsZXWpBmedgJWudI+vaLs3JE+n7SJP8/X7kOZRkDo4V/5oew1fKp0xcKa1CyHr/LzxMUZ7x16sgYLIabpAS4j21B71v/bhuftn7vSrmFp7X8ftBGBBdJNrqWAkZ8RMpmmz7I9am5mQ3aECg3xVkBw+yRpoqlIBWx1amwEt8yvZD7TDCYyQvBeQ6MsOKmJH+L327+tL9u8LLTpLN8N8zGaT2wSLCdo1EzxhqrKnA5wfolTdhVtitqK7nfp6RL5GDtm4Em+YtIkdccxA1kzsrDpcInj1Yknlg6iYnm5de65klpvHPtpFhROcDGGAwTBZsAnScdBp0NAFdKlDmAeZ2DWWEnDwjxX9ZrMn5F7+x8NV3aM9yTP19gkKfTckepaKCA3/5W70CgHp91P7ANDfXf2WYWLIlJ/2NDz0jT6vL4SwF89l558pRQCg9uNjrs+5dhCnYjj3NL3pmpSz7X37gZtXF3QO5iVfL95m5S/G+ShHue3o0I9a0Z5Owg/YDk6P8DSsuUOyHmanYlkUpnrJj7d2hDZl7hql+qo4ThZvGlO7plhQjGCnb4u+U5Oxs31C/hCs0BCxztvPOqEdTlJNeZy/tYCu2kIBUC/t7dsAepx4+3HlS3+Typ9Pq11O6Q87WjPYL6fde7RNGltadUiiNtuDN+BQLP57s/oOGrxe0V6JMHhGHlO1M+UU8WTt0xo8HigFpQpmy3TjfKNLEO5Rvv8RgYXzvK07pzQ6H/MgflknNZyovTwrq9QPy/RjFJkK/74mjUgXrKp7797ROiayddGDLRiA0Gf3H/jt2M0y74j0BRlK2WsiOA07YofeUbOWyKDgjqV1frhxQS6xqGY5k3OnEfu4VlHOYSe1zFbC/WuNwiV8RqmCN2amV0j1h65r5dszzn6CHe8V02RVE4y2wKbjD2DuE0aUSPwKkKEO5+bmP4n5Sdew9iqpii1rN8KwtfM1rioQ9USxEsMwiMxlbkIIUuts+30lSVNs9hhbZwD8lUdrnibL9YWGe0lNmMhIMuDs04dFfwWswih9OdsDXvlex+ETwTVlC1WrbioF+lC7dtqrNcwRZ4xc0FEmPjV1qZitAg/P4T6mACcrJemO6XWeEy9bOOihjxLGvj2oeA+/fA5p1ak6W4zCVq3QMQfo1KgbQWF+S1YYeSpLhT4xx/UZ1hJ12TefV63t/ejLRCz3zhxJlaRcmktA9JcZ8244kMsra+y6R/LzIJYEaxc36VxmBYm4eEUlbLOKX/qGP5KPwNdJPD0wcJ1ewttJTYrq/ZdoHU3BqTamYZO7MyonJD0wYnFy5+y0OwFxQ1YqcZGAqHugdlJtarhRHlZ1exhLA4OLCGzjZ4reDgnJw0jNzjZuq+dAsEooQ8d21NvlGhY3/yV97eU1pQm99zREaBHtcJ2N14Y5+mr7IiqM4JhQenwf1KRxsXpjosyh23NlTwLvcvODvhg3lUUhMI1O6+d3Cy+X/brlA3N9VnUW27RZOd08moRpcek96bVMBmrUO1LhKlDeci84zkm9YEf+ltbH/Dr/MAHGBXk+6zaLMQBH7F19vlNxA8n3HeqG6qbXm6xjn6JxeuZUmvkbrzHf0X0Mw3EHAyl+j2J6CVad2zTFNtQqqWLJNfYVt12IKKe3nl74bjhS2IohGPIAkxJ23YpoUic8zoQDiB0TtHlm9WKab1B0i00GroDbg3kP91I8RjE60w8dz9oBdun201VntrWxAeCEfoE367q/VxFCC1LjQFBFcc+QCh6036G4R2yI0B9DfQ1R+KRZRb3/1rFblVQHdkuFZ0o8xvy5QucvBdDgiRUcX8QcV1kf650qcdQB0lFWgTK+ZzW2heS9KQK/HZ45tDMbr2XnzGY7rmTyt12VmHGC4g4V0Dm4bWjBsdEyDir+jOjpIjd9sgBPeHQV8xBVhzPS81LjzKaxPQEiOd347q6iY6YolviP9gjqlDEK5AFrplxKSp2eCmVb/9grw19pXxUQ3lQ6J/H5IlhHoI4n26dFNvFgxSdhM5A/zLyUhKEbdhWPD+E5c8/3QbLehJwmFe2dcyxAWvJ9XpB4oaRTEXDRhY9kHZRKaw/e0cCKPTj7rjaqE2CFUpA7++rLxaAON6R+iVX+xesNZu3Bm+0o1BNu6C8Ux3UVI2HgxOVyDFzRfV1BzgcXNLcMWKTLtt9KR84hf7lKcG0gxZMnbanfPFBX+N42T5EFO4Ndr6Cp9XYfAPt/rhIPVPffk/byh8DR9zxULulUOmW/QwNmWb+6q6PabFtbTDqDa+dnIMi4kAsAAEVHwZL3oUnlcUo4NzSsmTAwcQQdHqbBm1QN2+GIRmqQiUoCAUN0MSb/hZS0UWhEcOtj8hwBT5qtuH0LtanNhP+IuhnUelaVTIN1XarfqeW+jQtA0A2038RwwcsNiR0X8tvtUUHz1zFxMOZNHLHx1HpykHwQKM/uVLnYJ48N/RfhaGodzRJ2s37iSFBVbxnMb6YWdxJ+DxVFYZG/tW4IrS3ew6/zgR6ccNlM+2Zq0ie/507LwnXQIWsMtxlz9LTOajKeiUdy+hs/RKop9hYwhuIq0++1S4krjrvJwU0ZiZmbXwhkfOD8MKNxLj54fREKGqfT14Jq99ZVXwXf6taA17d1jOmaqMnIeFtqX4dvT7YFSdTXx3R0KpB9HIuj6osTnvzMDIAwFaAm16sxFDxCcmNonIN8aBjI05pdJf2stlXN9PeLxpJLLm1FVT6zB3rBlSN9QInFgFsO1a4N5c7mxfv1+uUPiEu4tkT3GaBJwWnY+2gwizum091lsX+LQAiJufB3ju6aimmWJRwCNvAZg7CLLzY68QOhwTsu2abQkicPLamiom/iRpvqTj/9zkNGfoOFtsdqts5hTi1Uowr6Wg2wTwPl42tY1HTr6K7/6UBokbzgxjrDrWKtL6INaEf8lKkeK7V2irFgzSZ2O/lMUctU9KmIWrq+cOeWgERdU3Gq77BEy3jN6qrRLm6jO2Y5pWSHeE8MznFBvCFKQW94vfCJXI3sEAAsGSbCBhDniYXTSBu5ou8JS0C6FJddBVnDjysd7DVAJfILllB0HTQgvi8KCkHeGe5pjaovGGg5JdQBPp3dp1GV+SYc1zDc3zp67IArMcQP+ZRDeW0InniK4QXkKi0bX+RrXrmDbsH+EOvzmRkf69pBJucWAKGJ1VFpbji6U6IF0jW5ho0I5RtJL2w+fyrFYKfiV1hsTRhNBNobcy75GcYae7ctMxGWodE79WUeo8hnFNSEkB899ntOGBiJZmSiq1bL758QVhD6pAdQPx8iF2Rv1qXF2olqki6WU4LVi8CRHBl8BcVcZi6M1AR+e2SF5GnQo/XBL4UnUANTC58fW+xhDuyUz9dU5YVfrJkUBJctHUA1fR3NkDVp9bilZ3Dd3KalUdCQTxTm/Kt6qTVyJ9ppTtcyYCtpOybsgjfkADndH2PKLIFQa9GMvmRblC+m5qzTZtSJYKD5WsQvpkMqdG6RCoWUQNsf2GtdlZO/3zLkBRZQSATFq3S34It4DLC981bhpTdgcv2g95oMyxLXSOWXygqVe/BgJg65v8AREkZUOsUKUqYbFdGYNHQUuuRRJx8gTgS3Bx6nLVQlQOpvwT/NgaCu4SYhndJ3PpUZp0h0fyFmmgg/hF29gqpZsOx3Wyo9StCSn8PoQlGxZfB/b0D5T8DR453JNiB+OMpUHWm7tT/8owVPiIInU800X5MJ7zpWqW6KBNbaJmAopYzy+yVHBq/NuAVuFY0kNHUJWC5TSqh9Cebl4KNlCvuFljbS+tJiDqTk+MXtbyCVpON+6qiikCBWy8LJ759mM5mUka04CeRJf38Z6LkeI0lUOpA8LhHfbgGhkdoB4jE+PBn7tDvfZCx+swY8/1issk6gQ1sEr7AdW0RSTGE3zb60mM2c+AziWNdUVTS9JG4JAWAwikzrU2AnmQerTbw+UNTfAxtZ2URNzegQWCpd6yk1bCplj7WIMH8l7xOE4TicaXLPxnS9asdhGVeFElthBLEExD+uXS/mzEf3camwfk7dUBxtX3giIe23tDVm6oxzV9w2OcKMi5dDa41p/QBhlmw7SSUwA2IhQb+FxSrmn9zYUlYT2kZaGyD0OBHR+/a8uLMHZImzeAdjHK6PHv+TINxE6CivlXkOwLnBzWJW145UgIMqYpPIaOFcoLV68SXDZXMqmj00MM7GIF4jlmL8yzrGsao5/V3GBwH0XoXCjwChCOzJnYARyqr9X5s6kCdNH7GNl73wj66F5RkmQYME1c3X6dW3jSu0JcVF64e4F0/zD9Nk1SVsyL2NlLtR1zGZIDPYsF8dyYTCfV+et4w9UfM9R5I4JyLN60Aq5wR8UalYD2a8JvRkAbwEevRWf4Z1M0oF1rtQRujncht8BK+Pb5asPYNMFPZ09lma1b+2T5YIpUc0tI5d19NJ23GuVGoLj+wpaKZWnvlm0XQFyn0VN41izBRjXL/41jrB3EephKSRelu/o94yYRPPlMJ7CpRODnkjj1hlT15OCj3rHoKdw7lm201P/CXGwP/5TiBAu4wUuYd+NTucnH54rG/XTrqp6xFsmafKzT1i2L2bB4Jdltlw/YVaLgHmjGhh2fIC0byb4ck6JWVWJtpKoWJPRIDXV0hYRuCjc53OazZ3THwtk4bEIWdB+RKg1t9XI/mmMVh2YGPX8M3mMcOmAbENS7WLSKENhUKFLOMvg0y/sUtu6Piqip736MawMVKC6DsEsDCuPuSsGYkT+682y/R0OchnV3fJQNI+lTt7KCDdJAawMhRQPBwz10hQWgIQPQqLFmGtW3Lz9mbpHUwd074Z0IBJDlwWb4Kn6QhtvvdigoF5A21tB9gCUIF2QjOY5tJngAmLNxLHd2WGtXLoAT9Gy0Nb5ZFduwq05+/9lnoFuNiUrtDkNmnB/H0TsZavu3P4/enNwMchFzSyHrflrZr2GKKxrmfav5NFZ8DjLobQCosAhz8Pq5j1aJEkEelxG0JReiQnvE9z5qxK4pJ/nZB/WoJ1gbYCre7ZwlXRBw3TcJaFepGVYmeAIr0ZOaZdQcdugOPVyc366TDSzppTlgHrZ8ZXdI4qOd3kQ8GdBefVcKMzm3e6McTDacys9MRXdy2eBubCsT6gsWW2GSQ0yMg5bLJYfgE49gxcWy4fgzbNvzK9sD02MjCDsy/vq1fOTNBKuphhiiHw8qk14PihbqH9hwda0xjjmztTuaPaT05sSorniP6zufYstkT97ZGXw+VUNVjvcQVGtd5EsMgFGiQ15uf6ZX2kE8vVw4upUcxFNXjtNPe0Jt6dcq2ROM31OHaQmzhwVekPWQaOCFXg9D+Qkgq0Zsdmzwt7w8/vNWNAFcgirXcwHXNZnMJWueMpaNMb1azDwwwlMF+YlosuwvyKFiu52Z6eXSJDYYG7LvHR3rKLnBaLKga84F16eUXSkkRIdSoiOtHE+YGrxpSeJIILvsVL1wS+yPD8PiHr51hcIwu3Vq6DFfI26KE/bxsiGlwPJaA9uAhucsP6FaypFNMQI61E9QQXKSZQpe5mCsFURwFGmDLOE0s1IuQhpWNUo+sN7sve9vvaVMcJpsoL6Lw24b/0yWFwirE+7sfXz1RngUWGXUWOxHAz12/0erkkNbgGYOKGHQO7eohnuoKeonoBIgpGTPjSxntpmsNS2QgsaSfM0TMFkzQa9NXmyxmnRQgCCkKOJDtQD5E7y3fzgRXpALqJyzzlhPnkfZwJqROoyu6Ksy0XEIp6MV2eaiP99AIWd+WYUBGR0TyCUV6Pmbb+ACJ2+EPtSI2JFjDv6Z63uz1EUpvmTuNkcVUga4uv34Ah5dhw4rfNUWgE9lg2eT96xkNWJdyLmnzrDNXUjRBqYmabd4TIukUb42dkfqOLrQNaWoTKtfOXKTH+69Y2N2F3kpGyhcaEc9Mq85Z/Osbv6rt5QGj777t+MATPOxv0wZZHJynfQtotLOQuyt7OvV7mdmEfb7A3lzRiQXp094aJQIoRMvWNvm8NnBe/T6Q3sqJvdQZWpdnvwZBtMy2HxdcQBloIsuOcqxOsOiN5hags5flRROAPFahTJLqQfZszeRMeW2g+WYKCT7s4wU7vkeFQXgOuVD3BnUsu9Sne9XIKlH5hvl9sZR5AOWwPGffjW+4EnwrsCBmKJJtgnN3qy8cpHbCvW4gYlrQN6RnyDbhPW5UIUPrFIn4xQ//sniekEP13eGVnabxZZA8D3ORFG1KjYZknnmFIT6mmG6P7nfh/a//VMTI4hgcMFNE5Nw3xmpIDf6J1UvaNJwyvx3yG9gpLUSzss1UBdYtABBhmn11yjwLjdbyNUy3bJ1f6N5Fu9piwWtxc3EtoM8UmvNFgzl37UGYxQalITqOKPRvVaATm3+AhYNDhQ5b2vnriDtL00Tu0bpUJSwsQPiwC9ii9Iv8t+cAbksiUMitlkqy8jBwOY7Hrlz++PoGuLzGDHDg0QCGw6+lAplNz38DxQeAd9XpWw+/tBXP90s/5PYDSIb6CHaIY2xdLX0svkRWCVyt2aGd82dW4MOR7nw13wKl7Qtr+zMpwElBtwZ9nkUGzJVAEkX910XPkIVQ7Dzubc07YjHYMqLWid711aTswR57AMvuHJdnQyMkbWbpAJ8opswIWZG96d/Tbzd2gLAOMZmYFxk2KI1StiVqLsw35vOxdHWKY8NJbzV961s+R2uXNYRVIZgqvrypgZVfxrlRDJ2heunFtufFisUJjB7Pe7Fif+6qkR5HAhJxwBa1qthh3wZZWJWLL24dQmm4oE30wfM/xt5gAZyOq6iTkXnTlGHdAk1QmL+nqGO+kOgSmIdnfF1yhI08LlTMd1lozbTiBPA5T/oWXBPTVM4+RMsx1NwwSXMvhnmMGSm8EKP1ElzwSWU0e6/RMP8BA5/ASbMOdsGJolKKtBFu/m/GurE/w5K5DuuRp35YYxP9zidjpiZ2q1n3JIMlN4ps1TABYqDCXQQd55IsvD/QW44ViY7Idb5jZ7ScE9iLlopakD0/RhGgMdq+yCzJ0/CDkPU+wtHmi+EmOFDys2uYftKiImZREgXaCmYBc27jIKAuNa45XEGVx57MVUHheaD8dGCX3uorVtPzArkhtXOVzS8cSWJuD4+2Cnb/Pf04wM+3OYMlpj+eA9jwZCF+ckZeOuQ25Ou17c2T3lMkiG+TRGRG31jffnXPNyY06zCCPcVB2naKDdswy31Te10aU6BzmcfhLNrrJefRBudf6ZNQUk9vrkCJAwmxuGkSp/cYTWg2m24FYAHTJy5fFcGK9u/NnZRdKv7HQtDGGHhdm5vj3cM77rwGDfNZqUSE1CKBj9qv9QXuvgo6qAE2LF1ds6JWD9dxfjS8i3QBBu9ROyl9lk0kgP0t1ep2cIG7fILX66K2uc9TzB2aQh4D/sTsbFQ5nG1/FaJsJevz8TEJcdM0NMb70kInPZgjf9tenL5oQOPo6loAJPAOfwr6xfnXxTkEAaz803gj8O05jj9aZsp8GmcMTPqHUMu2Q2X3Wjj4ZCSOzSWi5n44Fc0efSAZkF4lRUbGAq0pbGojTv9Mjhpjv7Gpbu0zKUl5ql1FOVFKWkCkj2MZfI6QLSrdesc+OCHGmPbVo45G0NhJQX0wPsRhyojuQh2VyOG/B0S4HGnHtICnIxkOOUffvwyZCFySRpVEe1baWKprqqECj50p94dPMaNLAeKiII0OgVYPHLL9kUK/myYZjw0e8QhVHELa9X37Mu3y2t87Secec87mylwa/KwFvHwdXHHr+KfLiJIJhfRoJk1r5zOG5jJDWEwPwwcfFMgwM+BgDNJwFKaGgLjKWJVRe4Ne1Ym/WjuWd/xy4mXj2ZkJ1VKlrWu/zLGzrSLuc2INRLVEpTD21uzqnP7cAAMDYdusrpPyDYZTTBGCh5xcJfyJYJIXhGRfXOvysXcOR+PcWb32iMJMAeu4hTCRkEO6itKfY5bfjmp47u+q/jlS/XdAa1HiEF+qPGFf+swy2oaJF7Jjc7y7o9cdkeDISau6E7QLoqjBH45xxpEJoWwbXeYiQQyIyMymKM8DoQS8nyZO3qejhwm8vEdSdp4VfUWpAyW+udo86I7TM2vyt5ewn2eg5DXxlHGtwYovjvZ60dblQKn14JdbAe4hngCGsgjT7wIvGz4Dmdtd7oep3S7HsRi0XHQ5c22SO1t3QNzpft+HoY2kSzopK0cR0PRHxUGK3UXTHAXUj2NkwZ42FvPAKYQWa9P9PIjBnD2gLKvPS+Rq0TDTjccWRwus0KOgXwSjPFhl3wTR8HUR8X7BfIcW1xNcWmMUCePFawAi2sDiHajqWZnPMk/553zXjo0b3jldHjKba5gCa6KwcxIrW+WWjQ/kDhmujGX4Ai/9rJxiCxtMl9u/OEw8KNBcaF0iYbbLrlaRdB6cW5Vu8NpcujAlFePDI5R/SHuQXi7siR31Uy3x/prwV/7LSGZFyTI8T6BRNB+ybsXgIkPAhDjRs3mjGsMdupWC7bMw+VlArtsw25XJ1pHodKviOO+39gnqucpDrNXdoH1gfmipH1goACDd3fUBIAn+XkBhP0jtmgFJPddUNkUVQkfx/nAl9gf+fL879fEXl6vM4SSvdACasD+tI2rv/o5CFUzOBJcLrjd+9up+SpdNMl25GMHadQPJ4cHizsNOyQWOrp9yvAXegGzyX6M5T/UogsNzPbWDR1sFiIQCeYKDdqjKUUnrcYZWZst2cCw7Pht6TIjujr75DiMIboWLga0AI5qBHfEwu8dLupeJKVeH9eIkZnVfIbuY4WJxlo0m2e1Fte/mml/DEDdKKyjL8aO8ebIKQjoTbl5W963zFRCi1ajuSyXzhzjzB8AmTpQ5cPlZvOdKmBGSciEIaTAGndotzE7fC5OM3WZHGHG6/6POpq9oYHg7JBkK025/YZDRlQHA0r7yiEVAuUgt/H+/Wo5O6OLCKjM8yLZAFwyERgZ+fvU3qKJ3g5VVQ/fp3QkluGoVkV9IyVByEssg/JSikT01LDIquo5mwGsf36mDdOJkRPXcPNGkAZqInT24B3h7l9QTafKIAQ/kYdEBRQ25jDaNQAVAE4BkkHzRIIZf3U81I6mJwfF8BiyNyBGqE4OX3f7kcp97me+ePdrDwc/MzodHP5WHUzGapzcpNcJF1M9JT3dyxdSPEDIMOQexJ/WHIwFG6dQvbJoA9F4F5nIEcWX44Ql4URmSbUMDqQ6U/SzlEflm1y1WyCpgSKZt0CEWsQ2wf8v5LfESzZsdWJLq1ULS4WOfzKgwptAWLSQHbfCkqxv19nbJRXKU8iyLTW+Tj4lCjI+Ne4WWznOA61qjmOTe/iW7Gn0KyCPX8ssCFcWRLWPEuQjYrqSPKV/mMGZ9mftQx7/q8pAlFQqtTp+RPVXMqcktx+Wu7BRyc4E8AItOBwLgIRZM1Q/vCBLW2qyLHKagJW78yyxA0HMaeWTd5qX3AqntXc0uC93dbK3CgoAIeGzIr+VDH8P24RgIN4aRMXo2cvy1gW/yoEtZGf2eAgmSmbQhlS70hZvFUcHDRvmB/SYDsvQVu7n6faDWnVIhXYyUrWLqeDCtx6P8iQbX+PD6Hxyf844JBmIzD91qdL5DxgK0VPD4/m1njfVIZziiOkgaIu6h0iYmtBhIxWkkHKkgydP102EbeRklOQImq0FnUo/K5KbwL5UuX1rDHzlIO80CbmGnumrnY0VXHPUwzV+vIopMKbizXJ5/vyJrO4xsuSMEddPWFhK+Ye8xPkwMbfO/S+HeJpQZUstZSBiDz0NHiIJiIUpWw9VWhWUKJeZ5iN13+u8fuvKYnthtjY9ZEWfnyF3oAQu8Uk3DbCq5v9KO1O/kkUiMQclFCZqFmoGjurLv6xW8mkJCJnbuda6NwLsF5v8uVsaYfm+0nsB2zOIz0saVgxT0C+N0UuRxfHEFKZXsAOo6b+6xJ5qrdgBh24sjdXtnnJsyzN6c7/pot+D/a/+9g8AVQe2dBPbU5UbmKJ+eYXWE7roJyBxnB3swgHLIjjIbHIITXAVmFjvJBQd6t9xasc+0CmF++1q+YgfU0GZwJ1a/5L6Q5EmmHdCyjkCNCIDUzLdbhnJJT0QSnfFGulYmGu21kje/fIgYNjMZwdmDNN+N/9ak7PYzdajzBAoKstgvSiKwzfmQ0FbTSvy9YxxIctDfiWCmdUOt2VIod66D037H9iorzLPbYNJVeZea8TojyzPRDhr27jtrIsW8iJe8WPP2hhSwxy7ATUN09eZ78wQclNUPDNOevU91klsI759UfaFRqkHtz2hc+bSqcyUVrsTIsdCWHvrX/fnCwOQDthU1QPNNYlaSya6Bp15x7qnrFUptLfWnwHjlFwU0NGYyABiBzmnB0LDjtTGGxPOQtLYrFrAItPAFRBSgXh+JpXEn/EW6Z89r7+hMpLl0r63Kpo5WL/WwjF8gm0/NJabnKaQB+CMT/FcM+JexflYBZTqjvcHGJhuiFc0bBRt0/YDYn7vcKKbjoPmqpgrNiBBMzxiOkdRBoshKakkJCUEmFvbe4KZElcrAE3i1GeRvalo8D4Z6Otj7gJVoi4aWwmKqZEr7RUJKuQEEOo4bJb8tlONeV3BNboMOHad4cj3pKERi2dJb/tTejtQqjcZcX34Wurs4nohDnDCx+bKLTeDfBdr4jIYXOA4h1hDItWpU2caqiPYFXJmi0O4L5xpqhH0mJvP79cpknPwWgplBVe8p5uqkllZKydBonKupF6YxQxJcKqR5eaLcTTEhD8cziCX5JMBrCv9jYjKBXIR8qSwfHG3igRGxfpk9XC2P6pNHTq9ez7TW3t5K946pBTqMd5SF8FKyWQIaVnlczpg1Qcgi7MjFOyKV67mqtumYhmgywVtuDn9tu0Fx10RgAw5xcnwPO/64nxx9bfv+9Nu3KK+/KGB03uL0VRjsLXPZChSbrmc6b0DOChmOw769PNlMVi4+kMdUfeoKcrDYw8xSMh4nqhEy1dBJD16rF4AF1iKwEXOvdbNw0rj7+7dQdRhfN08Q+lDbgkkVrvmJBcYaxFXHWwfIEgfL/UNIMJ9MxJVxXytM1erYSD1CbkVbV7N+e/uxUc7ZAWBXpxQ8ziq4Yjl5p6eZwgSvxoAvX4S/Zx58ZqfkqOzTXbJ1joMMZPg2xhOc7OqkAMZ9cEl1+3AmHzpa4E+KPffjnl2P4qTHzpvC2opjmA1LMG3d2Nl4IlvoSSQDQ+lsaEOiB2NPK9w64MbVpky7wzEru2Nj9qdc6ja/7NyyLn9wLfXqi2gOCGeeos+5TdP5B8Qp+PQe3VXhUzNr3lnWvSuF/8piKBGwGgqmqN4gqpAeZlumCh6yhPTVuvQfz0hbOdWTvgcdjbAo3GZ4uq2nn8MRLua9A85/MEERuZWDD9nyuFH8436m24JfxcusKwHLKFkcVU/qdxH/v0KgjWvUvrG2epvHBZuZntziajziy50rp8yLWSakOpd/Nf2/O1w52v+64lk5EihJE+KQ+pweCsHMZCXY1LMmx3VF2mVOYEOFFoKYGMHRPlrcO4shfAgal6JUxVLoT8dw+xVmcxHd+PPrTYoeo96uBuvbX/fkz3rFXfd9MBVSmLjJ7UbaN3Z6zQDsV4ek8bm91EDICkrqQM7BWFnvH3sx8TIRqWQfKyrQNy/XCvstkduAGOEL92mhR9obK/1K5jO6q34QNeD04BHNVO4XxQbmBxhJsyTRPgNQaVQ/yIYdxiX29S+jL1niODSPtJ18ozBZ4sWFVxycQrRST0U2tFHOJyetS7BWA1CU/BYf8ldaYp0OmeIB1seM0xk0rFRpj4gUpTN/jIf+AbASgnSgdgCsOvNwUS4NRh34GRNAnCP46aR3lL4KgrLazNoBDdvXFBO6tUP1ry02FfPRNHLf+DE05TcifqZ/JN4t8JsyuljM/aYyieMb3yddBiRZccoydXK1QZrPQeWJT0/Ig00M7YuZicTtAw8yc2BxMGCLTywhia0zPMUcqy7UoNuXxVi9uCi+0X87iAkDgOtDvau0+ZZRyXREd8D9pVb+s+VCshl2xxZNN12w0W/3CTMZjVXJHoSw7Rg6SpWx+a5A741EjrxLaZ8AXL6f1Y908W61Tl8ipNcsIpJhZM5GE9mWgohODjgKsnRXpPKME7OQF59kUpPqmzSAFv2RrwNuhsFuN1KsYfZGE09EzNKGOtCrwDxC3/9yTTx7OVAhnisGL4Fd1fHxBWKQYyHYwyDizmbPiHgj5Kad0c3z/1I8SPLA/pKmr8SqW0dHtiCpR8u0lqKOs8u8PoB8slY+CNYl6YGHTJzhGRMOHYYSsDTtcXOiK3oWvs9usCrMC12lksQKKfl/WI7gOvH6guAMnOZNCueJBwpuTGSsXlUZSi3E+5iMApp7tgmMMvls+S7p9g3ken+cDCDdmJBUYbr3O5ptstBr1PPb4h/iMoMf+d43NKbOPd2IBVO9XjNB1zDVqeWK4Ez4aRCE2UD7sAkMbkZYCHN+aMmJiXf5k+PHC8MOhZtUEQI6Dca9CCT5Wf3cd3nvRL1HgQymAFBtuvtVaFFSI+k9ZF6fNm9kTYJ4ceHt+S+EKZucecXbMYqH9SuJn8/hF4Q4XafWa1/lKvU4gOPYDmFSS1Gqb10FggdQp7q8cpy7gYlQ+llhSryYuvbnaAXQmaJLeHvxgMEv73pJwAEEhfQJMblFv5/T6iEGfNYUNJbkZiH4fGkO85CK5ov745VN9DUSMnU3AHiykOQf5ClcntrbEmAPQ1vVqPJ78aMUUoURhx9pp2hu0nkPqdhGq8Rg3cfgRZxIb4BD5ejCnIBircKD6VbH1dOmzBrMy0CJXu86eVDepdYoLt12KSbCYw7q0OvS9wseOS5qMo/BeQcwHa140SEQzBtiuQBvTup6O9bukHXcyKe/mC64l5azWRAwaXRWY7xkQgh2hzMDUcFCUHjeY9krdhvJvYz1DJ2q+4kYsI4QTQWU9VJ+3kCKW1/lOXveocDtaezCT0typf3Lyvh7pLzEdf2yJftltAtHxkyxsjYI+akEW4Mct7lpFDgIoJC7aT2Aa4eX1N1WF6nEfPnLoKQuIdfaaQYVecQv52tbhaKkZ7XV69XI+ZqqGQs8y5H3Nf3H3WgUR6FuVaY3dSx/xeffQXA7vRJRRhUmHjcBZyVTGh0X0aoP/yrIkspxfaAi1UUHLONU+FWNAsGEe7IVtMSLrvCtqxG4j4FG82QIjBNKOCcpl4SEngQ4c7tDEjmPGmGjOIQbWJVpSjQ3vO667CFYDMjtWURA9plH3wRAZWnUs/0+QAXHL7bgjpV68dgisEhEKd9kkxFk5B+v2ba2RHuY1r6hNObXcnqPz41nmZbdbjBfZwexKGaqyarHTR+1d3nLrENEh2zc8pl9Ch+zUI6N0yg/t98PJMe2dL/QPLst/d9NAFTHupS5mJRmc4eTFHoftJpYASV8PdKHVyqMR/HFRUQhu0AtSxKoXQo5E58wGICqCLOHbLJB9J9xtFNiGDXF+d6ifhUq+VM1VTEnxL43OzLsl509ewdr1XVQxONrmEbKhQMGBWS4ISA+UhnEaQ8TSb3n69aEgZ4nLrrFYc3iXylANCLyTpKQY9xBJNwjYGbYbtMl2twvvgKLPTnW4/p7AGiazoDF3tPB9x47UjEmHCMbdakpDmpTHsA+/lSbDDYWBxV6CKur1MAcnaMrtbgY3Wq7XURh43QcjgoGNbm6QJwuadcLQkYvUBlM6t9nMgnmWKpVvZ5sfUnEmTNKC96COX0WBYvNdVMrjt4df2I1P+tjzRZqSRepg+0r6MyDN7Hpw+m3j+V7IIILvbY8en3LFKxV7XbGd+6AJJfPKUWMAzsyrqgCxPvWfT9Hc9vc4iNmAiCExL7HKUJSfNfZV/OEDar8bIbYAF+l93m6HXqRII2bnR0K7oiwrmrjccV9gpmsUu2Ln72MkGpaz25Ddijkk114StlVFmdmosvoS2cZWRZdVYumQyiP5z5PKqFEHrUEecVaRiCSXuS6VuPNKNJ1Iq8IhnYFxZho8zoTFczRUUHPvQsM7DgFUWdkEaM7llLs/vGdCNXmdw86phb57CHYra1R9BJH/JTx8gK9a3N4eajUHbBmkgTHpkfMLFtVgy1ia7PhLoSFaR/dQBpF25lFYuc3oYo+SFCsvKpup+4sqWJFvGz4fcz69BkvPPD1Sbp4HyC7ZdfB/WuNNSeSPPB0fkXqB2qxglnRWLFLaDiUyGD4qBukE+Hfl7r3vMEz/lVW1dzHKqBJVppJlohELMf831zOii/I6N9UGnY+SJK8BIATo18U1Nd+EGJk7ndHnA5YJnT/XwpV4QCAqB6mFO03ZVSmW0M4lYWAQRFlwofVhq+SEocewJirlLiydVLv1DSwsIJ8lRR3ni/+teJifbsjhLNrEGwx/Kg/Y0fHfeFo/rsQszaj9Onu553yc5VurcCobhAUM6YAO2hoRm8Ve9rJ4emeQyawhLPhJFcVz9YnJV2Njp1Jdtr2MHG4SYWashCbIQEQUNa8tASjHq+raDYZrDWQ/ZseeSI9GfAbdHvCmfeTh+M011Cig0Zcc0ca8e/liCXT1Q7M3h4QKd3qukP9klZ/rrCmPmvy8NG30tUMjAVghI0+XtTUrTpoYxoVPpTwARBd6Fr/1OhmtXRLqYrQ7mfcXB3JHH83O9H8RvW7eUHxFQ73Ir5XsJGKAHZMQs88rLc0e6uCrIWMtlZM8m7FcuuGy0zvggoR5p4qqVsPLF2vnnSofdVOpE2QuEaIShzwp5dOl8YA9IfM7sOu1/kgpYNiLCb6FFpX/h7pzdHKOO848IorLZEwL5e6Iv9fNWaI0m6JRc7HjpbsTkZbH19dsFBCm5LK+mcEfSRLugWPW6+dq3gN1LoGD/AIiLaJFRyqxglZ2ZeiYZd/hC7QoaR+k9hVYFhvs5FWJ+VJNnkA+SmJWbcNj92TA9U0DvzDWA+fz2hPdhyiASH1LQiUEI8sCrcj+Nkwj0ZlDXdLmHbe7zEwwLZm+AhqcUpmY1nyo0YiV/JZSXvj+baEUiD32JEwtvOshxG2gnSHDFzlrFP11h6cjKZqsRLSOtNA8a2umVe72K6GW5nHfGohI7esfn17vsXHuRVtROX6Ypb4rVc1fGXJQhn3OVREpSMQtO8FSQ5cM58WVukc6Mk22yRDjkxR6lTRDb2IPqBVEjBYr5bl+bkdA6oDDzt4yIOODSYIiKftapsy7XbIcEXWxc1r2EJws/RGNGqxrLCINOIJGMgsbuYA5yFKwKFM2l5eYZ7qZ7Kwltl8i4fkrOiEl7fJrF8iazLj6lcqkWxtjyn76Px8C7zgBxgAoUG5C7w13NpkprXyR+X2c2tsQPoHMmYFbtANMsmtOnFVgWPS0ruHw1+rIc2hsHD4TEEXG4+GkByIWJtzlYgyBCmKvLbvgGJnACYHSgTmt1inCO32Cg/uelm6zT5CyzOkpjshgBFH/mVKmZRHlzD/vC88/atk/IbEbTaJPSmbY/SZkZh6ZaxKXLWEUOJgaRiiaSzHsU1AA9D8bKzcQbHQZLTDARTRBdApLZHuBWQj21UlfDLVuZwaJPJNqG6e588f58KDMz9VZ7ZOtV0IINK3GWO6CFp4nSiadIoF1MBQD/6Lq6crFuv2r58iPcpPvCl/6mnzU2jPLOKzc3kYOdG+2MZQGw2adVLuJr8ig/dbhMIuV+ncwV3BCfUQLHc9EVgL/MRV663Dkn+F6868ZP4MlCLEzhuLzvv5G5QliMKSre5Ykn6yPW33KRQADBAgev1NLJmhA9ISu81tJbPDdw8ZrlszQkQYFhakcsrvAjk+ccgRAydWvRQybU23NgrmZytrQvqErq9hF8i42S+MvwbESE0/CSL7Ha+7SacZRMSzOozLS7iQRwnAuKCjIupYqzFOvY5CCUyWuxjmvMgJy439244ZkNXeHqTPIpMjwUnv2oNXsqO0PeRGNkt3xRwLQVWxyg4BPvUEf1g0ztyOqjT3tDVTmUPj2eIn+BwrbzYcixtJIZaYvKu8w+GgoqgRkPc82oDCoZxV7SDrwdb3YWn1F6v1gA812znmpSd14ryqzZsSf/fjTS8o875zTOoqX32zQRQvUli5GXV1VafoV2MsSNCxErqV1oT6aow/Yv9pZ73nqGlCN9IhTeJy4jHCzqJTA+B3URcwOgV3H8W3xVn4ZraDqDhwOXR/cir8g5UzqQcZ6xTLpqNYfI6qhdydKpYp72oqyVkUjoCmOuR0kN/iAnX1t2Lye8GtEAfNurPOG3OXcXIdV5NRxSpuIoEhodGi4lgsnfS7LXmvrJdz8w5uMfOg9K3cTNue4wAUcYdwI881FhbvnVFY3CRptm1Gy6BJl9A2V9CUn+WUjZsPR3NafJUrR0LAj/kSoUzfqEXq6rV2ewXnqlQ9qKysQOUAjxrz3faucnCUvm+0KaCGswTpfTchag9VeeVfaWIjs5kadKpJaPr1WoNTrS6HGbDsEWkAs8WUKONmsSHKRzKOJDX+tjUSK5GEgPAmv8NpykQp5oXtU/cjvamITuWpsFQpWLHFW5gdO+qUS4gcEFZ0yDmqlwzna48+iU0FJq8mTrJg16tIyK6FMUUiNgt5BABw/GdHwqf5qvUlxFFbRS1NSKRD0aMgnEV8q4PG25N1ryNOm2cGgGDHD1KFgYBiEEK3NJSke56KTkbkyLcJbbNkO8gb5v96Kt04IGoYKPuTN7M0Fu1B54L8PNaegRvCvF06Oxp/d2cmR/oEJSsyK4dCs5qpeUJQG3B1gtydpFe3/XjBwqDZpOziQQOkOZM1O7o1EP5ZTtX2esVRmaedWLD7PnERXwdOtfIUrXlZAuYrxKnr6UjQLno0pLOncUh50HJQ9gSqLEdAgY/+o2QPf1aIjv/GjS1JJ7ZP31FUvmEKvr/m1wbk/i1p2U65SLvTu/o85+UrDaJ1rktj/L/XQeYxPLsZgGMkfvxBDKqGFIFq7dl3CUcuA55vMP7d/ccdzXeXqFWwf9acoDilslJggYGfIWGgxR6FzeaLGZCjNOsE0mRaNT+yzcBkvrKz0jj3pCXedT/qvHOgHQikPiZ5T4eK9C1R+dn5AzWEnw3iAaZhskY37xtM7KyX9H+EzIxXQdb+pPrYqC9AVGRfqZvW5qiWdZSPtzPQOx/mEkIayMnGx0bvicCqLiwZN2jxmqPrVKfupbbJVYB7q5+31V5L4Zb/quTJ42XJKkALSnZ0b2bCG1sBn9oiq2++1wEdgBMQ6FDNMvfJypXXgtqdvJhPrFheI1qEIqd0uO3UQVlz56gLzqXpHtFs3tyDHW4aiCTfKeRvXGY/WyJfGGEPoHmnx0a4TZ/PhNiNJJXSSlR0MfKDQZMsMK8DidL3p0H9kc2yYJoiOdsijHrykrCUW9jAP04W5TzpJiwxcTu0a532tbTeVvVuJXpsEFkEI8Qzx216oladqmbc1h2wHv/Fb84gWTXIrVhjPECAuG9w9WmYxwWcNvW58w/bYi1KggomUeNeMVl3kt/3tgtE66k1GCx+NUW+I+5KM+1x1DfSLLlBsrk93gZKMSuECmrZJKeWDxAMxtyc+VQe+rPOloflhI/IbqaAKxD4fByqztXafyDv/rdhGxulYogxR4SJN4k3IPdWnAxCvYWdj3hDRyW3re3RteMtUU3gL3hp2zHq3sQhS6cSUC4geQe+YtXxua3YDyX3lZ0jMT4Abj1oUp+dpRbN/CCaPp0T6Lxs0UMS+A2zzHF2kCeG05MRVJRUvZCs6otxqicrfyjr/+EzltFHDTGT7cfaeoxCIylgCP7DC/6ReDY36jz6tnrBGt9oE4ycSBsK0hTO1PeVOR+UuvU+sdKFcksJyOaXOZ8HP8fdfE51RCFDcs3zTuvFQsNmMd8gKUu1Y4l3/4jxMOPQfRdzc9J2vR24IJAosY6T5Gr4kzXUVyJVsh24yW9+tPlrmrX0Ii62wtROBbj7Q7GnWhHRy+mHK9CO5GWXH4BziNHt/tKMnUCKzv8YCx3Kk5XnTmSbwnoNi6T3WpIhWLoCn+8seYxq8PbmGnK3ZtF3ecJ4VxCsnX+v/pUpAfw1ZrsbMui8VLoN/DexkzQdXBc1xR6Nrl+CfhduWxKutAhZUqXqFs84ZJVN8G5l8lR3fhHq5FlerZv5qIAH3oBL1Tj7L61SSo/N0JEJy/ViYipWNg1+EST0S4X1gOQgkyIxnv3Bks21qb7Nel24M+ti4JqlCbXUIZCWD5zjvHnUdfgfpWm73JNUWsjb+ompfpoSL5imfsp48/d9j5ZQt2Tqt40CTV1lVSK4eWbxpXE3D5RfCyL10cSagOalZfxL9PG5Uq513+VMYpSWRv4prpniBrhaijZCXnQy7atnDizKq86EEI/zQWmravBrLP2OCX4v/JVu5tym+qOpFqRUAZP3KNh9vrFfl67mLGCCu/vN5HEe6kJw0MW7JCjcPHanvmH8hZasbO24MACtXGmMaSUznIQnMfMCQBN0bIDfX+NqZ9Qsxj6WEEh93IIPAfHAF7D/LuMvJXnys8SjJ17a8ugbEq+YdEIYEP82o0z9MQOM3G0cnHy4zsyiYk3vcUDnv3x/ofvnx2bYwlD/XEKbRi83TCrNHNbzrqv0QascdWn+09OtJDn1NWlVu1z7kMnvVNYYoHFGd1zpbX78FQAB1q/kD/1Oc0/K76+OiPkb899PPDnUAZ/SJ2bZZQohKTL+Oohg+VxOpNEdeYlcmmwsbGLPl7KEa2DKRc5h6hOp0zYcsL7ivtSRh5qi0LykGmBgXZlAyiva2J/fwzyUM5WVMYDalR7kkfk3SgFRvkdSU/61cF8NCwqssvFQpceJ2G7Fy3IMKLACYBfcB6Uniop3F9/UInkCQjRZvNh3j51g7fxKbMAxUj9MMtbrAo4Dn4OqrYCT+/AlVKkvFnZoG4yuVMewhLSvoxul70KpXUCyjDjaNiLnCAozuVTmyWbnVAIxr5/7t7eNQnBvoJ/ICJhOtN3SlQQAvRzJ7vATeO2hxEp3QGoUjNz5ibXPEUMUxob3GRXylxnhiw9KI925lmI0TBRw7dWE+QkmY/Xt2qRSPNi9YI7yWcYEQQ7iCZMvBawrOD42MUMvBZ0gxv6aXBM0xgP4c2lQUHGtw8VhHSSt2vV8RtTRYzcQ2fWH8u+N0j0O0DIPGH9v0fw7JPVKXNHYYZuzvj29Vfx7hGeNZoZqgXFK5OxgkVx9QAqIl2h6rWrhzdPPRhgFOjZ1x+RzY81fxL28uGv6ekUN34XloFCugkK36oCevtCKIvpIGAPLH2CGJRKRdsJIdkbp/Yl+qjW9X7ZlY3JYG2kIWPQMQfdxJxYbbcEzbQguROpz42cYFC+8TP4xEOrJzMbRMYGYeB8mBxp++rDmgZwbcTSAjugFKqPgn47C+f/i7C/8C/iaLulDgEI7Ea3rwQZrut1EfMUVXxz1dQUXs1A9tVYve7kdRMjLJDIAnjJ427LxGBOTQ2e14H/kPGkPDc8C0GNFNNXsxD11EGNGl7Vx9iTqp2/r61jM0KGSlbFZ/z1LenQPBnWB7Cpum3RpKflDn3cKhUXwv7dq/O5zKiJJRK9MsjvC7oljf50wFAY4gj5y6JUt4x+Djq+gaPXEvAMxsEJIIHWCv/KUBn1R/xGJH0CElhle3ghQqVRjv7GGNX8Ft1PQAPdDm0y2VBu5D8QX/KU3APD1mqSn4ljsS37Es0XW/zbPugQFOlw86bKVDEyWI0QHgQi69qOLQjw0pAnVfKJ/FN8jXQJjKn3Th5QSrVdS3OypDLyE/I/FUQ7ps01VVUT46/S258g1TpiOHc3vUqnPa9WYg6oZ5NRPKiCSfWEox17By/1LWSEmUKjPDyXUMoCbPRujvyJ+1ASBquQGX4wsDGZBtu7jGGVFmqIdpsintKbBX+aNAHoozppfvw70EFS6Sb6vrS+ARkOIvrhEwnzth+Ki1KRPw3YrUKxh4YcxJUVGOvKGTph/ldpgz8GyjhLgP7lypE4CTNGHCQeQxOY04iOJLQ0xi+4d+Fs9cQtKAXizANHM6d4TWzTXCnL4Bxc8DCi2U9jCFbKkG5kqzsk5oElEhb4sl8GMbPx+lN1xxDFmuvxYfkySm1Iq8BmOsWvxJTqnp860ghNVDEg2kmtmTOZ35eSONDMKXLmi/R7YJ+6hVWMzta6dqRe2+vouHix5xop/avpViv9JzYTRlwyaNCSV6SJSUYJvQZReu7oCqOEbYrArof3IboH+1ipxkR44obY2NKW0zTMXpw5vmoFXsxz0lVlTp8hguXCWcedewXg/gAfXD5ndOuKKOUUM8F4VzZ38r02RorXqzMAdjc56Qwvb6jJMK+zB95bLwTyeGv2ySKpZAsXAQQu0UEpjV7Q6hQW8XQF5M+guz5XmTFYExOsxUVe8lkE5CY1FStmdK9+s4KWRa44ija5kAjvxPM+YpEKSD4/yqXtIgbxggWJuPTSWaBuXj9dGfjPp/MvSgmtMJo4ioinJfJxoz0bW0M14HfZziLRrcwnVdHh+sJAeeVQH0klAlWwFzK8v7aPmCdZ3MCVfN0CgH1Rp/6GXvKyi3s2omfawZBjDhJJiXr8y+3GT3FJskm5EVraLz9uT0HwDs+WkzYkfRWRzUoCXlTWryH1B1YvTI9hOnlD90DMJcdkE5op6q/N3EajunSTdazg/hBLj7bGo7hktFAWrSPHu+FZGkc0+pvgTiYabkZME6/2iqiU7Yk3/xwsvodjA6G/aLz09Urnz2WgJ7cFN9e0F2fAUuE1GvInR2S6c30wgJ6Pjqh6triklYs3uHhqnbWt0XgTlMEVHPRufIJM3ryciMZcv43N6iXEntWwxboh1LokpC05hhLctjNTHBB9vG2yx/s6p6isUfBK+GbxRnkZqadpmzp8GU5WSK50ZjFV15w6cgd98W3pZFrbaM3YgawCEoDul1jFgJlpe3FQYhKdebbWh8OTEByxLxlTRmOnxLxaR11Z0SDCe51Ph5X9dJtbN1e/s93RpIglfwWEbUGKmcolQXNXDkgomAKDSCTvKdEe5PScB5OZQHcl6tIUzIZCyQs7lAFmUIFhhVPAfbc8S5HFFjeAsLHEqW4c4rYHcUuDIVHUpESsLROwMMzWb5nU1+mCRqbr46YgU87vm0EwpNsF3FyIrNRRJa7pFFrAKdQNvdJ8lhf2JmJTetV/E3wrAjyquf1Rl/QSWg9dvwtL3JYbqlrzzS+TYn62Pmoz/UUop8CF/es2uM3zd6yiSXidlUS7W4r8WhUhyOR/xgL0g9PqGikGI1X7TgCpL5f0MAEk7p5+GSR8aUTKR65xQTD+xNZyqNTM3MjzRmBuCis+lnYhxTMmYh33qoLQV8VEtKsEXcHXoNOHfSEC2NZtqj2foBzRHyLp+sol7Bw3EiQxrKbNi934Tv9BQ3Tv8Cs+AzwMJBJkbuyUNJDYqf5fpgEq6F/gQmZOTbCtaBMpwEBSdHWWvVsa4vy9Cc48fRflFU+3pnQQzq2Zi3vOj+SC5CyefH/i/ZQcn2JPKTw09yfoM/PlatVYSNmReY2X6znn/uad/VdpN5wcKEFTTumM6HIlyRgGF19o3xf/Y0hpP8le3lbMqmjMFB4oJUqdQqCL4xArwyVj6ED/WXaPLrKz18TYF2KEB6YmM6xCGUyu9fVvQ5eAGFaKu52+2nity0TuCBdHg+QTb6ev1EcK5yRGKTHY5G7Ebm9LnvlsDeOQQoGX4yllKbC7P2+JuKLyFX+4HKGl8gugriPYlSFF6Fh44IfIKdFWr41BV6T8rUxMlytpCi0jHyi1YBqCKqikzE2F0Eojwlx67kTcYMWTJe7vuQvDxajRwSfgBqoQ72eVp0PeuayoLL0LQTMbYZyH+6p26neINusAs00NqhhoW+tTrZhcKeaXGJ9Ce+umogDCpkkV/2wQTx8PYtJu/s22SD3TcOMudZmAGRQA2EmAbLq8ImcUBuAPbLcw4Xg3dnseHn0gzxan8pjf7VvsIgbgoBP0VMPyXPTsIXJqJk3tcaNSufANcunP1CaD53BCZ2wW6uZH56NEaypEe+sX/MUj0Hiz0/0/P02DBpRVxJKxRjV9Jljd0d7orijAs1gXkCd96mfnOULh1M4+qjIAxfOgWICk3LG468mJSCuiiD4XJR6iH0P5KMSlg2U3D9I7gSE6fyft5Z61YMidHVfE/XuYJTW4lLaKhu7hRddxFt300riLdJbU4m9opi3lbBApVuzAubA9AooUcSWLbs25jVj08Ff7nsEmI0snkDQYsLf45eRy0vEj/vQAPmLZhuXuFhCE5D95s62n5ubNUtmwazRd7ZcIZKR5o/vtyOOMHZ4nGKAapstL8NEs9ILsAYBdV+FgD4hegb15xwx0NNEH2JlgnH0yK63w33PJG5p1pS/XFqTyQ756Pq1piuFq052HOtquSqGpBpmVd54pRObc1F28J7cnOh7U+HyEmzDZC2fl/h8QqZC4SkIX3cYeifgrH3z2IB6zirueOQsLCsLJ9vSi8u+DToXoy0PhtFJPGGdRIupNgitn8ggcVkfr7hQmcogi/dm/7qlSPDDSOk3XIy319cJcukXeKfQemKgnJvtStCFYXUx4ZcTVkL2RQBqnEXRE82GHPeu1OxyVw/27UDBXiXohrF9LFUuTuHCe/obY0Ihc5PrfmtYb55xGqIWlwutZrVuEv7Byo81EhWoTumMm6XN/Y9rZPVD2rUwceSdrBoRFGABPMOgOnlg8CI1rHmHmqtxCmAxb92Otq9zdzuiWXQQOwn4uo7ev1x+sfDWIK+bQux4gpzPN1vvvGgPQHNXxGGtQsbVErE3O4cti1rn03XmHAhjII4Xdh7YIECAN6SgAcgd7jsS62iexZv1K74hFDj78WMAsDx1PI1g5L5dbVAQFdB4+llv7Q2pJjsuecwGNns1+37Jm36ev9VxqexeL1Ma9zyhmW8M7VjJfU2xaGDUHmwtKTOKfB/ZmxYybliIwj6Ucpbc+LFlOZaGvgfEWjA6F5rZ3/hg==">
            <a:extLst>
              <a:ext uri="{FF2B5EF4-FFF2-40B4-BE49-F238E27FC236}">
                <a16:creationId xmlns:a16="http://schemas.microsoft.com/office/drawing/2014/main" id="{FC103F71-7B96-8B20-ADF1-66466D1CA091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 bwMode="gray">
          <a:xfrm>
            <a:off x="384699" y="1715687"/>
            <a:ext cx="8469225" cy="4293076"/>
          </a:xfrm>
          <a:prstGeom prst="rect">
            <a:avLst/>
          </a:prstGeom>
          <a:blipFill>
            <a:blip r:embed="rId16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grpSp>
        <p:nvGrpSpPr>
          <p:cNvPr id="62" name="btfpColumnIndicatorGroup2">
            <a:extLst>
              <a:ext uri="{FF2B5EF4-FFF2-40B4-BE49-F238E27FC236}">
                <a16:creationId xmlns:a16="http://schemas.microsoft.com/office/drawing/2014/main" id="{E0EAD0EB-6EDB-2D4B-1728-2AF2F5CD97C0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57" name="btfpColumnGapBlocker868796">
              <a:extLst>
                <a:ext uri="{FF2B5EF4-FFF2-40B4-BE49-F238E27FC236}">
                  <a16:creationId xmlns:a16="http://schemas.microsoft.com/office/drawing/2014/main" id="{747D00AF-5C57-D52C-5129-997C201E8088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55" name="btfpColumnGapBlocker222008">
              <a:extLst>
                <a:ext uri="{FF2B5EF4-FFF2-40B4-BE49-F238E27FC236}">
                  <a16:creationId xmlns:a16="http://schemas.microsoft.com/office/drawing/2014/main" id="{4701AD85-F818-3346-E9C4-ECC98071697B}"/>
                </a:ext>
              </a:extLst>
            </p:cNvPr>
            <p:cNvSpPr/>
            <p:nvPr/>
          </p:nvSpPr>
          <p:spPr bwMode="gray">
            <a:xfrm>
              <a:off x="8843764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46" name="btfpColumnIndicator708172">
              <a:extLst>
                <a:ext uri="{FF2B5EF4-FFF2-40B4-BE49-F238E27FC236}">
                  <a16:creationId xmlns:a16="http://schemas.microsoft.com/office/drawing/2014/main" id="{E83247A4-11CB-D5D5-C8C3-084C37D23A3B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btfpColumnIndicator365882">
              <a:extLst>
                <a:ext uri="{FF2B5EF4-FFF2-40B4-BE49-F238E27FC236}">
                  <a16:creationId xmlns:a16="http://schemas.microsoft.com/office/drawing/2014/main" id="{4D93C921-A8EF-C855-12CC-696996D1D1D9}"/>
                </a:ext>
              </a:extLst>
            </p:cNvPr>
            <p:cNvCxnSpPr/>
            <p:nvPr/>
          </p:nvCxnSpPr>
          <p:spPr bwMode="gray">
            <a:xfrm flipV="1">
              <a:off x="938430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" name="btfpColumnGapBlocker614759">
              <a:extLst>
                <a:ext uri="{FF2B5EF4-FFF2-40B4-BE49-F238E27FC236}">
                  <a16:creationId xmlns:a16="http://schemas.microsoft.com/office/drawing/2014/main" id="{1FCA4068-43BA-09C9-2EC7-F6D76FD189CC}"/>
                </a:ext>
              </a:extLst>
            </p:cNvPr>
            <p:cNvSpPr/>
            <p:nvPr/>
          </p:nvSpPr>
          <p:spPr bwMode="gray">
            <a:xfrm>
              <a:off x="5825728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33" name="btfpColumnIndicator534514">
              <a:extLst>
                <a:ext uri="{FF2B5EF4-FFF2-40B4-BE49-F238E27FC236}">
                  <a16:creationId xmlns:a16="http://schemas.microsoft.com/office/drawing/2014/main" id="{24CFF490-EDB9-63CD-7AA1-8976691C39D3}"/>
                </a:ext>
              </a:extLst>
            </p:cNvPr>
            <p:cNvCxnSpPr/>
            <p:nvPr/>
          </p:nvCxnSpPr>
          <p:spPr bwMode="gray">
            <a:xfrm flipV="1">
              <a:off x="8843764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btfpColumnIndicator903682">
              <a:extLst>
                <a:ext uri="{FF2B5EF4-FFF2-40B4-BE49-F238E27FC236}">
                  <a16:creationId xmlns:a16="http://schemas.microsoft.com/office/drawing/2014/main" id="{B3810427-C38E-FF5F-DA29-CC3587234C63}"/>
                </a:ext>
              </a:extLst>
            </p:cNvPr>
            <p:cNvCxnSpPr/>
            <p:nvPr/>
          </p:nvCxnSpPr>
          <p:spPr bwMode="gray">
            <a:xfrm flipV="1">
              <a:off x="636627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btfpColumnGapBlocker339054">
              <a:extLst>
                <a:ext uri="{FF2B5EF4-FFF2-40B4-BE49-F238E27FC236}">
                  <a16:creationId xmlns:a16="http://schemas.microsoft.com/office/drawing/2014/main" id="{6137F63D-39FA-A2FE-1CFC-8288B1CAB0CC}"/>
                </a:ext>
              </a:extLst>
            </p:cNvPr>
            <p:cNvSpPr/>
            <p:nvPr/>
          </p:nvSpPr>
          <p:spPr bwMode="gray">
            <a:xfrm>
              <a:off x="2807692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7" name="btfpColumnIndicator484009">
              <a:extLst>
                <a:ext uri="{FF2B5EF4-FFF2-40B4-BE49-F238E27FC236}">
                  <a16:creationId xmlns:a16="http://schemas.microsoft.com/office/drawing/2014/main" id="{B101221F-1ABC-5763-7343-0D813373F117}"/>
                </a:ext>
              </a:extLst>
            </p:cNvPr>
            <p:cNvCxnSpPr/>
            <p:nvPr/>
          </p:nvCxnSpPr>
          <p:spPr bwMode="gray">
            <a:xfrm flipV="1">
              <a:off x="582572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btfpColumnIndicator150755">
              <a:extLst>
                <a:ext uri="{FF2B5EF4-FFF2-40B4-BE49-F238E27FC236}">
                  <a16:creationId xmlns:a16="http://schemas.microsoft.com/office/drawing/2014/main" id="{FA50C44A-9A02-40F4-00DE-C232CCD7B996}"/>
                </a:ext>
              </a:extLst>
            </p:cNvPr>
            <p:cNvCxnSpPr/>
            <p:nvPr/>
          </p:nvCxnSpPr>
          <p:spPr bwMode="gray">
            <a:xfrm flipV="1">
              <a:off x="3348236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btfpColumnGapBlocker624577">
              <a:extLst>
                <a:ext uri="{FF2B5EF4-FFF2-40B4-BE49-F238E27FC236}">
                  <a16:creationId xmlns:a16="http://schemas.microsoft.com/office/drawing/2014/main" id="{10E2BC17-5C27-6CF1-1957-6981EF1915ED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2" name="btfpColumnIndicator582332">
              <a:extLst>
                <a:ext uri="{FF2B5EF4-FFF2-40B4-BE49-F238E27FC236}">
                  <a16:creationId xmlns:a16="http://schemas.microsoft.com/office/drawing/2014/main" id="{5DFA768B-7149-4824-67C7-2DBF867910B1}"/>
                </a:ext>
              </a:extLst>
            </p:cNvPr>
            <p:cNvCxnSpPr/>
            <p:nvPr/>
          </p:nvCxnSpPr>
          <p:spPr bwMode="gray">
            <a:xfrm flipV="1">
              <a:off x="280769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btfpColumnIndicator247271">
              <a:extLst>
                <a:ext uri="{FF2B5EF4-FFF2-40B4-BE49-F238E27FC236}">
                  <a16:creationId xmlns:a16="http://schemas.microsoft.com/office/drawing/2014/main" id="{8016967D-B1F0-1E63-3DB9-3BB027CC7608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1" name="btfpColumnIndicatorGroup1">
            <a:extLst>
              <a:ext uri="{FF2B5EF4-FFF2-40B4-BE49-F238E27FC236}">
                <a16:creationId xmlns:a16="http://schemas.microsoft.com/office/drawing/2014/main" id="{B6FC975F-9A36-2ADF-ED5A-6269B0BC1764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56" name="btfpColumnGapBlocker662416">
              <a:extLst>
                <a:ext uri="{FF2B5EF4-FFF2-40B4-BE49-F238E27FC236}">
                  <a16:creationId xmlns:a16="http://schemas.microsoft.com/office/drawing/2014/main" id="{3C4B82FE-706E-D4DF-014F-D03F701FC6CA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50" name="btfpColumnGapBlocker456594">
              <a:extLst>
                <a:ext uri="{FF2B5EF4-FFF2-40B4-BE49-F238E27FC236}">
                  <a16:creationId xmlns:a16="http://schemas.microsoft.com/office/drawing/2014/main" id="{D705CBFD-2FEE-8C4C-B85A-BE7E8AF9CA97}"/>
                </a:ext>
              </a:extLst>
            </p:cNvPr>
            <p:cNvSpPr/>
            <p:nvPr/>
          </p:nvSpPr>
          <p:spPr bwMode="gray">
            <a:xfrm>
              <a:off x="8843764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45" name="btfpColumnIndicator282523">
              <a:extLst>
                <a:ext uri="{FF2B5EF4-FFF2-40B4-BE49-F238E27FC236}">
                  <a16:creationId xmlns:a16="http://schemas.microsoft.com/office/drawing/2014/main" id="{11B8B548-4AB7-7B7B-5BEF-B1E3B444B071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btfpColumnIndicator877916">
              <a:extLst>
                <a:ext uri="{FF2B5EF4-FFF2-40B4-BE49-F238E27FC236}">
                  <a16:creationId xmlns:a16="http://schemas.microsoft.com/office/drawing/2014/main" id="{0840D666-0624-44D1-A1EE-BC4C6A4D3427}"/>
                </a:ext>
              </a:extLst>
            </p:cNvPr>
            <p:cNvCxnSpPr/>
            <p:nvPr/>
          </p:nvCxnSpPr>
          <p:spPr bwMode="gray">
            <a:xfrm flipV="1">
              <a:off x="938430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btfpColumnGapBlocker157196">
              <a:extLst>
                <a:ext uri="{FF2B5EF4-FFF2-40B4-BE49-F238E27FC236}">
                  <a16:creationId xmlns:a16="http://schemas.microsoft.com/office/drawing/2014/main" id="{E18FA3E4-0B48-AB9E-2055-AFB5AFF519BD}"/>
                </a:ext>
              </a:extLst>
            </p:cNvPr>
            <p:cNvSpPr/>
            <p:nvPr/>
          </p:nvSpPr>
          <p:spPr bwMode="gray">
            <a:xfrm>
              <a:off x="5825728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32" name="btfpColumnIndicator161674">
              <a:extLst>
                <a:ext uri="{FF2B5EF4-FFF2-40B4-BE49-F238E27FC236}">
                  <a16:creationId xmlns:a16="http://schemas.microsoft.com/office/drawing/2014/main" id="{EC3AF982-25CC-9AA2-D133-5CCC402A9140}"/>
                </a:ext>
              </a:extLst>
            </p:cNvPr>
            <p:cNvCxnSpPr/>
            <p:nvPr/>
          </p:nvCxnSpPr>
          <p:spPr bwMode="gray">
            <a:xfrm flipV="1">
              <a:off x="8843764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btfpColumnIndicator375730">
              <a:extLst>
                <a:ext uri="{FF2B5EF4-FFF2-40B4-BE49-F238E27FC236}">
                  <a16:creationId xmlns:a16="http://schemas.microsoft.com/office/drawing/2014/main" id="{1ECFBF5D-CE80-6F8B-5B9A-D464D4C87C93}"/>
                </a:ext>
              </a:extLst>
            </p:cNvPr>
            <p:cNvCxnSpPr/>
            <p:nvPr/>
          </p:nvCxnSpPr>
          <p:spPr bwMode="gray">
            <a:xfrm flipV="1">
              <a:off x="636627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btfpColumnGapBlocker237986">
              <a:extLst>
                <a:ext uri="{FF2B5EF4-FFF2-40B4-BE49-F238E27FC236}">
                  <a16:creationId xmlns:a16="http://schemas.microsoft.com/office/drawing/2014/main" id="{12EFF649-5E88-A675-862E-E43E78574755}"/>
                </a:ext>
              </a:extLst>
            </p:cNvPr>
            <p:cNvSpPr/>
            <p:nvPr/>
          </p:nvSpPr>
          <p:spPr bwMode="gray">
            <a:xfrm>
              <a:off x="2807692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3" name="btfpColumnIndicator709889">
              <a:extLst>
                <a:ext uri="{FF2B5EF4-FFF2-40B4-BE49-F238E27FC236}">
                  <a16:creationId xmlns:a16="http://schemas.microsoft.com/office/drawing/2014/main" id="{4EFB48B3-79D7-2678-4D6A-55253EA08B25}"/>
                </a:ext>
              </a:extLst>
            </p:cNvPr>
            <p:cNvCxnSpPr/>
            <p:nvPr/>
          </p:nvCxnSpPr>
          <p:spPr bwMode="gray">
            <a:xfrm flipV="1">
              <a:off x="582572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btfpColumnIndicator459480">
              <a:extLst>
                <a:ext uri="{FF2B5EF4-FFF2-40B4-BE49-F238E27FC236}">
                  <a16:creationId xmlns:a16="http://schemas.microsoft.com/office/drawing/2014/main" id="{93ECEF63-467E-0E86-AADC-59536A0987A0}"/>
                </a:ext>
              </a:extLst>
            </p:cNvPr>
            <p:cNvCxnSpPr/>
            <p:nvPr/>
          </p:nvCxnSpPr>
          <p:spPr bwMode="gray">
            <a:xfrm flipV="1">
              <a:off x="3348236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btfpColumnGapBlocker760671">
              <a:extLst>
                <a:ext uri="{FF2B5EF4-FFF2-40B4-BE49-F238E27FC236}">
                  <a16:creationId xmlns:a16="http://schemas.microsoft.com/office/drawing/2014/main" id="{5441D45D-4B9C-DF6A-A3CB-9DC34AA0EE7F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1" name="btfpColumnIndicator254973">
              <a:extLst>
                <a:ext uri="{FF2B5EF4-FFF2-40B4-BE49-F238E27FC236}">
                  <a16:creationId xmlns:a16="http://schemas.microsoft.com/office/drawing/2014/main" id="{349D93FA-AEF1-ADAC-A171-3C5CE64D4C27}"/>
                </a:ext>
              </a:extLst>
            </p:cNvPr>
            <p:cNvCxnSpPr/>
            <p:nvPr/>
          </p:nvCxnSpPr>
          <p:spPr bwMode="gray">
            <a:xfrm flipV="1">
              <a:off x="280769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btfpColumnIndicator914989">
              <a:extLst>
                <a:ext uri="{FF2B5EF4-FFF2-40B4-BE49-F238E27FC236}">
                  <a16:creationId xmlns:a16="http://schemas.microsoft.com/office/drawing/2014/main" id="{C2E236E8-5B9E-DF9A-21E8-028FD028214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870999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1_132334223706527884 columns_1_132334223706527884 6_1_132334225502619957 9_1_132334225898980258 16_1_132390894981357400 </a:t>
            </a:r>
          </a:p>
        </p:txBody>
      </p:sp>
      <p:sp>
        <p:nvSpPr>
          <p:cNvPr id="49" name="btfpNotesBox637029">
            <a:extLst>
              <a:ext uri="{FF2B5EF4-FFF2-40B4-BE49-F238E27FC236}">
                <a16:creationId xmlns:a16="http://schemas.microsoft.com/office/drawing/2014/main" id="{203AC774-5626-A44F-26D5-3A92E6F11413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352369" y="6342192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endParaRPr lang="en-US" sz="800" dirty="0">
              <a:solidFill>
                <a:srgbClr val="000000"/>
              </a:solidFill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Source: Google Patents, Bain analysi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>
                <a:solidFill>
                  <a:schemeClr val="bg1"/>
                </a:solidFill>
              </a:rPr>
              <a:t>Significant proportion of patents filed in the last five years supporting increasing innovation in the SIEM market</a:t>
            </a:r>
          </a:p>
        </p:txBody>
      </p:sp>
      <p:grpSp>
        <p:nvGrpSpPr>
          <p:cNvPr id="37" name="btfpRunningAgenda2Level191933">
            <a:extLst>
              <a:ext uri="{FF2B5EF4-FFF2-40B4-BE49-F238E27FC236}">
                <a16:creationId xmlns:a16="http://schemas.microsoft.com/office/drawing/2014/main" id="{ADC82B12-EB9C-44AE-299B-8CB46D17D51A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0" y="944429"/>
            <a:ext cx="4446117" cy="257442"/>
            <a:chOff x="0" y="876300"/>
            <a:chExt cx="4446117" cy="257442"/>
          </a:xfrm>
        </p:grpSpPr>
        <p:sp>
          <p:nvSpPr>
            <p:cNvPr id="38" name="btfpRunningAgenda2LevelBarLeft191933">
              <a:extLst>
                <a:ext uri="{FF2B5EF4-FFF2-40B4-BE49-F238E27FC236}">
                  <a16:creationId xmlns:a16="http://schemas.microsoft.com/office/drawing/2014/main" id="{1C3F78CF-F7C9-F8E0-9905-6DC634F6F9F5}"/>
                </a:ext>
              </a:extLst>
            </p:cNvPr>
            <p:cNvSpPr/>
            <p:nvPr/>
          </p:nvSpPr>
          <p:spPr bwMode="gray">
            <a:xfrm>
              <a:off x="0" y="876300"/>
              <a:ext cx="4446117" cy="257442"/>
            </a:xfrm>
            <a:custGeom>
              <a:avLst/>
              <a:gdLst>
                <a:gd name="connsiteX0" fmla="*/ 3158457 w 3158457"/>
                <a:gd name="connsiteY0" fmla="*/ 0 h 257442"/>
                <a:gd name="connsiteX1" fmla="*/ 2980523 w 3158457"/>
                <a:gd name="connsiteY1" fmla="*/ 0 h 257442"/>
                <a:gd name="connsiteX2" fmla="*/ 2925802 w 3158457"/>
                <a:gd name="connsiteY2" fmla="*/ 257442 h 257442"/>
                <a:gd name="connsiteX3" fmla="*/ 0 w 3158457"/>
                <a:gd name="connsiteY3" fmla="*/ 257442 h 257442"/>
                <a:gd name="connsiteX0" fmla="*/ 3158457 w 3158457"/>
                <a:gd name="connsiteY0" fmla="*/ 0 h 257442"/>
                <a:gd name="connsiteX1" fmla="*/ 3103736 w 3158457"/>
                <a:gd name="connsiteY1" fmla="*/ 257442 h 257442"/>
                <a:gd name="connsiteX2" fmla="*/ 2925802 w 3158457"/>
                <a:gd name="connsiteY2" fmla="*/ 257442 h 257442"/>
                <a:gd name="connsiteX3" fmla="*/ 0 w 3158457"/>
                <a:gd name="connsiteY3" fmla="*/ 257442 h 257442"/>
                <a:gd name="connsiteX0" fmla="*/ 3158457 w 3158457"/>
                <a:gd name="connsiteY0" fmla="*/ 0 h 257442"/>
                <a:gd name="connsiteX1" fmla="*/ 3103736 w 3158457"/>
                <a:gd name="connsiteY1" fmla="*/ 257442 h 257442"/>
                <a:gd name="connsiteX2" fmla="*/ 0 w 3158457"/>
                <a:gd name="connsiteY2" fmla="*/ 257442 h 257442"/>
                <a:gd name="connsiteX3" fmla="*/ 0 w 3158457"/>
                <a:gd name="connsiteY3" fmla="*/ 257442 h 257442"/>
                <a:gd name="connsiteX0" fmla="*/ 3158457 w 3158457"/>
                <a:gd name="connsiteY0" fmla="*/ 0 h 257442"/>
                <a:gd name="connsiteX1" fmla="*/ 3103736 w 3158457"/>
                <a:gd name="connsiteY1" fmla="*/ 257442 h 257442"/>
                <a:gd name="connsiteX2" fmla="*/ 0 w 3158457"/>
                <a:gd name="connsiteY2" fmla="*/ 257442 h 257442"/>
                <a:gd name="connsiteX3" fmla="*/ 0 w 3158457"/>
                <a:gd name="connsiteY3" fmla="*/ 0 h 257442"/>
                <a:gd name="connsiteX0" fmla="*/ 2980523 w 3103736"/>
                <a:gd name="connsiteY0" fmla="*/ 0 h 257442"/>
                <a:gd name="connsiteX1" fmla="*/ 3103736 w 3103736"/>
                <a:gd name="connsiteY1" fmla="*/ 257442 h 257442"/>
                <a:gd name="connsiteX2" fmla="*/ 0 w 3103736"/>
                <a:gd name="connsiteY2" fmla="*/ 257442 h 257442"/>
                <a:gd name="connsiteX3" fmla="*/ 0 w 3103736"/>
                <a:gd name="connsiteY3" fmla="*/ 0 h 257442"/>
                <a:gd name="connsiteX0" fmla="*/ 2980523 w 2980523"/>
                <a:gd name="connsiteY0" fmla="*/ 0 h 257442"/>
                <a:gd name="connsiteX1" fmla="*/ 2925802 w 2980523"/>
                <a:gd name="connsiteY1" fmla="*/ 257442 h 257442"/>
                <a:gd name="connsiteX2" fmla="*/ 0 w 2980523"/>
                <a:gd name="connsiteY2" fmla="*/ 257442 h 257442"/>
                <a:gd name="connsiteX3" fmla="*/ 0 w 2980523"/>
                <a:gd name="connsiteY3" fmla="*/ 0 h 257442"/>
                <a:gd name="connsiteX0" fmla="*/ 2980523 w 2980523"/>
                <a:gd name="connsiteY0" fmla="*/ 0 h 257442"/>
                <a:gd name="connsiteX1" fmla="*/ 2925802 w 2980523"/>
                <a:gd name="connsiteY1" fmla="*/ 257442 h 257442"/>
                <a:gd name="connsiteX2" fmla="*/ 1 w 2980523"/>
                <a:gd name="connsiteY2" fmla="*/ 257442 h 257442"/>
                <a:gd name="connsiteX3" fmla="*/ 0 w 2980523"/>
                <a:gd name="connsiteY3" fmla="*/ 0 h 257442"/>
                <a:gd name="connsiteX0" fmla="*/ 2980522 w 2980522"/>
                <a:gd name="connsiteY0" fmla="*/ 0 h 257442"/>
                <a:gd name="connsiteX1" fmla="*/ 2925801 w 2980522"/>
                <a:gd name="connsiteY1" fmla="*/ 257442 h 257442"/>
                <a:gd name="connsiteX2" fmla="*/ 0 w 2980522"/>
                <a:gd name="connsiteY2" fmla="*/ 257442 h 257442"/>
                <a:gd name="connsiteX3" fmla="*/ 0 w 2980522"/>
                <a:gd name="connsiteY3" fmla="*/ 0 h 257442"/>
                <a:gd name="connsiteX0" fmla="*/ 3078754 w 3078754"/>
                <a:gd name="connsiteY0" fmla="*/ 0 h 257442"/>
                <a:gd name="connsiteX1" fmla="*/ 2925801 w 3078754"/>
                <a:gd name="connsiteY1" fmla="*/ 257442 h 257442"/>
                <a:gd name="connsiteX2" fmla="*/ 0 w 3078754"/>
                <a:gd name="connsiteY2" fmla="*/ 257442 h 257442"/>
                <a:gd name="connsiteX3" fmla="*/ 0 w 3078754"/>
                <a:gd name="connsiteY3" fmla="*/ 0 h 257442"/>
                <a:gd name="connsiteX0" fmla="*/ 3078754 w 3078754"/>
                <a:gd name="connsiteY0" fmla="*/ 0 h 257442"/>
                <a:gd name="connsiteX1" fmla="*/ 3024033 w 3078754"/>
                <a:gd name="connsiteY1" fmla="*/ 257442 h 257442"/>
                <a:gd name="connsiteX2" fmla="*/ 0 w 3078754"/>
                <a:gd name="connsiteY2" fmla="*/ 257442 h 257442"/>
                <a:gd name="connsiteX3" fmla="*/ 0 w 3078754"/>
                <a:gd name="connsiteY3" fmla="*/ 0 h 257442"/>
                <a:gd name="connsiteX0" fmla="*/ 3078755 w 3078755"/>
                <a:gd name="connsiteY0" fmla="*/ 0 h 257442"/>
                <a:gd name="connsiteX1" fmla="*/ 3024034 w 3078755"/>
                <a:gd name="connsiteY1" fmla="*/ 257442 h 257442"/>
                <a:gd name="connsiteX2" fmla="*/ 0 w 3078755"/>
                <a:gd name="connsiteY2" fmla="*/ 257442 h 257442"/>
                <a:gd name="connsiteX3" fmla="*/ 1 w 3078755"/>
                <a:gd name="connsiteY3" fmla="*/ 0 h 257442"/>
                <a:gd name="connsiteX0" fmla="*/ 3078755 w 3078755"/>
                <a:gd name="connsiteY0" fmla="*/ 0 h 257442"/>
                <a:gd name="connsiteX1" fmla="*/ 3024034 w 3078755"/>
                <a:gd name="connsiteY1" fmla="*/ 257442 h 257442"/>
                <a:gd name="connsiteX2" fmla="*/ 0 w 3078755"/>
                <a:gd name="connsiteY2" fmla="*/ 257442 h 257442"/>
                <a:gd name="connsiteX3" fmla="*/ 1 w 3078755"/>
                <a:gd name="connsiteY3" fmla="*/ 0 h 257442"/>
                <a:gd name="connsiteX0" fmla="*/ 3256690 w 3256690"/>
                <a:gd name="connsiteY0" fmla="*/ 0 h 257442"/>
                <a:gd name="connsiteX1" fmla="*/ 3024034 w 3256690"/>
                <a:gd name="connsiteY1" fmla="*/ 257442 h 257442"/>
                <a:gd name="connsiteX2" fmla="*/ 0 w 3256690"/>
                <a:gd name="connsiteY2" fmla="*/ 257442 h 257442"/>
                <a:gd name="connsiteX3" fmla="*/ 1 w 3256690"/>
                <a:gd name="connsiteY3" fmla="*/ 0 h 257442"/>
                <a:gd name="connsiteX0" fmla="*/ 3256690 w 3256690"/>
                <a:gd name="connsiteY0" fmla="*/ 0 h 257442"/>
                <a:gd name="connsiteX1" fmla="*/ 3201968 w 3256690"/>
                <a:gd name="connsiteY1" fmla="*/ 257442 h 257442"/>
                <a:gd name="connsiteX2" fmla="*/ 0 w 3256690"/>
                <a:gd name="connsiteY2" fmla="*/ 257442 h 257442"/>
                <a:gd name="connsiteX3" fmla="*/ 1 w 3256690"/>
                <a:gd name="connsiteY3" fmla="*/ 0 h 257442"/>
                <a:gd name="connsiteX0" fmla="*/ 3256690 w 3256690"/>
                <a:gd name="connsiteY0" fmla="*/ 0 h 257442"/>
                <a:gd name="connsiteX1" fmla="*/ 3201968 w 3256690"/>
                <a:gd name="connsiteY1" fmla="*/ 257442 h 257442"/>
                <a:gd name="connsiteX2" fmla="*/ 0 w 3256690"/>
                <a:gd name="connsiteY2" fmla="*/ 257442 h 257442"/>
                <a:gd name="connsiteX3" fmla="*/ 1 w 3256690"/>
                <a:gd name="connsiteY3" fmla="*/ 0 h 257442"/>
                <a:gd name="connsiteX0" fmla="*/ 3256690 w 3256690"/>
                <a:gd name="connsiteY0" fmla="*/ 0 h 257442"/>
                <a:gd name="connsiteX1" fmla="*/ 3201968 w 3256690"/>
                <a:gd name="connsiteY1" fmla="*/ 257442 h 257442"/>
                <a:gd name="connsiteX2" fmla="*/ 0 w 3256690"/>
                <a:gd name="connsiteY2" fmla="*/ 257442 h 257442"/>
                <a:gd name="connsiteX3" fmla="*/ 0 w 3256690"/>
                <a:gd name="connsiteY3" fmla="*/ 0 h 257442"/>
                <a:gd name="connsiteX0" fmla="*/ 3416989 w 3416989"/>
                <a:gd name="connsiteY0" fmla="*/ 0 h 257442"/>
                <a:gd name="connsiteX1" fmla="*/ 3201968 w 3416989"/>
                <a:gd name="connsiteY1" fmla="*/ 257442 h 257442"/>
                <a:gd name="connsiteX2" fmla="*/ 0 w 3416989"/>
                <a:gd name="connsiteY2" fmla="*/ 257442 h 257442"/>
                <a:gd name="connsiteX3" fmla="*/ 0 w 3416989"/>
                <a:gd name="connsiteY3" fmla="*/ 0 h 257442"/>
                <a:gd name="connsiteX0" fmla="*/ 3416989 w 3416989"/>
                <a:gd name="connsiteY0" fmla="*/ 0 h 257442"/>
                <a:gd name="connsiteX1" fmla="*/ 3362268 w 3416989"/>
                <a:gd name="connsiteY1" fmla="*/ 257442 h 257442"/>
                <a:gd name="connsiteX2" fmla="*/ 0 w 3416989"/>
                <a:gd name="connsiteY2" fmla="*/ 257442 h 257442"/>
                <a:gd name="connsiteX3" fmla="*/ 0 w 3416989"/>
                <a:gd name="connsiteY3" fmla="*/ 0 h 257442"/>
                <a:gd name="connsiteX0" fmla="*/ 3416989 w 3416989"/>
                <a:gd name="connsiteY0" fmla="*/ 0 h 257442"/>
                <a:gd name="connsiteX1" fmla="*/ 3362268 w 3416989"/>
                <a:gd name="connsiteY1" fmla="*/ 257442 h 257442"/>
                <a:gd name="connsiteX2" fmla="*/ 0 w 3416989"/>
                <a:gd name="connsiteY2" fmla="*/ 257442 h 257442"/>
                <a:gd name="connsiteX3" fmla="*/ 0 w 3416989"/>
                <a:gd name="connsiteY3" fmla="*/ 0 h 257442"/>
                <a:gd name="connsiteX0" fmla="*/ 3416989 w 3416989"/>
                <a:gd name="connsiteY0" fmla="*/ 0 h 257442"/>
                <a:gd name="connsiteX1" fmla="*/ 3362268 w 3416989"/>
                <a:gd name="connsiteY1" fmla="*/ 257442 h 257442"/>
                <a:gd name="connsiteX2" fmla="*/ 0 w 3416989"/>
                <a:gd name="connsiteY2" fmla="*/ 257442 h 257442"/>
                <a:gd name="connsiteX3" fmla="*/ 0 w 3416989"/>
                <a:gd name="connsiteY3" fmla="*/ 0 h 257442"/>
                <a:gd name="connsiteX0" fmla="*/ 3577289 w 3577289"/>
                <a:gd name="connsiteY0" fmla="*/ 0 h 257442"/>
                <a:gd name="connsiteX1" fmla="*/ 3362268 w 3577289"/>
                <a:gd name="connsiteY1" fmla="*/ 257442 h 257442"/>
                <a:gd name="connsiteX2" fmla="*/ 0 w 3577289"/>
                <a:gd name="connsiteY2" fmla="*/ 257442 h 257442"/>
                <a:gd name="connsiteX3" fmla="*/ 0 w 3577289"/>
                <a:gd name="connsiteY3" fmla="*/ 0 h 257442"/>
                <a:gd name="connsiteX0" fmla="*/ 3577289 w 3577289"/>
                <a:gd name="connsiteY0" fmla="*/ 0 h 257442"/>
                <a:gd name="connsiteX1" fmla="*/ 3522568 w 3577289"/>
                <a:gd name="connsiteY1" fmla="*/ 257442 h 257442"/>
                <a:gd name="connsiteX2" fmla="*/ 0 w 3577289"/>
                <a:gd name="connsiteY2" fmla="*/ 257442 h 257442"/>
                <a:gd name="connsiteX3" fmla="*/ 0 w 3577289"/>
                <a:gd name="connsiteY3" fmla="*/ 0 h 257442"/>
                <a:gd name="connsiteX0" fmla="*/ 3577289 w 3577289"/>
                <a:gd name="connsiteY0" fmla="*/ 0 h 257442"/>
                <a:gd name="connsiteX1" fmla="*/ 3522568 w 3577289"/>
                <a:gd name="connsiteY1" fmla="*/ 257442 h 257442"/>
                <a:gd name="connsiteX2" fmla="*/ 0 w 3577289"/>
                <a:gd name="connsiteY2" fmla="*/ 257442 h 257442"/>
                <a:gd name="connsiteX3" fmla="*/ 0 w 3577289"/>
                <a:gd name="connsiteY3" fmla="*/ 0 h 257442"/>
                <a:gd name="connsiteX0" fmla="*/ 3577289 w 3577289"/>
                <a:gd name="connsiteY0" fmla="*/ 0 h 257442"/>
                <a:gd name="connsiteX1" fmla="*/ 3522568 w 3577289"/>
                <a:gd name="connsiteY1" fmla="*/ 257442 h 257442"/>
                <a:gd name="connsiteX2" fmla="*/ 0 w 3577289"/>
                <a:gd name="connsiteY2" fmla="*/ 257442 h 257442"/>
                <a:gd name="connsiteX3" fmla="*/ 0 w 3577289"/>
                <a:gd name="connsiteY3" fmla="*/ 0 h 257442"/>
                <a:gd name="connsiteX0" fmla="*/ 3745604 w 3745604"/>
                <a:gd name="connsiteY0" fmla="*/ 0 h 257442"/>
                <a:gd name="connsiteX1" fmla="*/ 3522568 w 3745604"/>
                <a:gd name="connsiteY1" fmla="*/ 257442 h 257442"/>
                <a:gd name="connsiteX2" fmla="*/ 0 w 3745604"/>
                <a:gd name="connsiteY2" fmla="*/ 257442 h 257442"/>
                <a:gd name="connsiteX3" fmla="*/ 0 w 3745604"/>
                <a:gd name="connsiteY3" fmla="*/ 0 h 257442"/>
                <a:gd name="connsiteX0" fmla="*/ 3745604 w 3745604"/>
                <a:gd name="connsiteY0" fmla="*/ 0 h 257442"/>
                <a:gd name="connsiteX1" fmla="*/ 3690882 w 3745604"/>
                <a:gd name="connsiteY1" fmla="*/ 257442 h 257442"/>
                <a:gd name="connsiteX2" fmla="*/ 0 w 3745604"/>
                <a:gd name="connsiteY2" fmla="*/ 257442 h 257442"/>
                <a:gd name="connsiteX3" fmla="*/ 0 w 3745604"/>
                <a:gd name="connsiteY3" fmla="*/ 0 h 257442"/>
                <a:gd name="connsiteX0" fmla="*/ 3745605 w 3745605"/>
                <a:gd name="connsiteY0" fmla="*/ 0 h 257442"/>
                <a:gd name="connsiteX1" fmla="*/ 3690883 w 3745605"/>
                <a:gd name="connsiteY1" fmla="*/ 257442 h 257442"/>
                <a:gd name="connsiteX2" fmla="*/ 0 w 3745605"/>
                <a:gd name="connsiteY2" fmla="*/ 257442 h 257442"/>
                <a:gd name="connsiteX3" fmla="*/ 1 w 3745605"/>
                <a:gd name="connsiteY3" fmla="*/ 0 h 257442"/>
                <a:gd name="connsiteX0" fmla="*/ 3745605 w 3745605"/>
                <a:gd name="connsiteY0" fmla="*/ 0 h 257442"/>
                <a:gd name="connsiteX1" fmla="*/ 3690883 w 3745605"/>
                <a:gd name="connsiteY1" fmla="*/ 257442 h 257442"/>
                <a:gd name="connsiteX2" fmla="*/ 0 w 3745605"/>
                <a:gd name="connsiteY2" fmla="*/ 257442 h 257442"/>
                <a:gd name="connsiteX3" fmla="*/ 1 w 3745605"/>
                <a:gd name="connsiteY3" fmla="*/ 0 h 257442"/>
                <a:gd name="connsiteX0" fmla="*/ 3846595 w 3846595"/>
                <a:gd name="connsiteY0" fmla="*/ 0 h 257442"/>
                <a:gd name="connsiteX1" fmla="*/ 3690883 w 3846595"/>
                <a:gd name="connsiteY1" fmla="*/ 257442 h 257442"/>
                <a:gd name="connsiteX2" fmla="*/ 0 w 3846595"/>
                <a:gd name="connsiteY2" fmla="*/ 257442 h 257442"/>
                <a:gd name="connsiteX3" fmla="*/ 1 w 3846595"/>
                <a:gd name="connsiteY3" fmla="*/ 0 h 257442"/>
                <a:gd name="connsiteX0" fmla="*/ 3846595 w 3846595"/>
                <a:gd name="connsiteY0" fmla="*/ 0 h 257442"/>
                <a:gd name="connsiteX1" fmla="*/ 3791874 w 3846595"/>
                <a:gd name="connsiteY1" fmla="*/ 257442 h 257442"/>
                <a:gd name="connsiteX2" fmla="*/ 0 w 3846595"/>
                <a:gd name="connsiteY2" fmla="*/ 257442 h 257442"/>
                <a:gd name="connsiteX3" fmla="*/ 1 w 3846595"/>
                <a:gd name="connsiteY3" fmla="*/ 0 h 257442"/>
                <a:gd name="connsiteX0" fmla="*/ 3846594 w 3846594"/>
                <a:gd name="connsiteY0" fmla="*/ 0 h 257442"/>
                <a:gd name="connsiteX1" fmla="*/ 3791873 w 3846594"/>
                <a:gd name="connsiteY1" fmla="*/ 257442 h 257442"/>
                <a:gd name="connsiteX2" fmla="*/ 0 w 3846594"/>
                <a:gd name="connsiteY2" fmla="*/ 257442 h 257442"/>
                <a:gd name="connsiteX3" fmla="*/ 0 w 3846594"/>
                <a:gd name="connsiteY3" fmla="*/ 0 h 257442"/>
                <a:gd name="connsiteX0" fmla="*/ 3846595 w 3846595"/>
                <a:gd name="connsiteY0" fmla="*/ 0 h 257442"/>
                <a:gd name="connsiteX1" fmla="*/ 3791874 w 3846595"/>
                <a:gd name="connsiteY1" fmla="*/ 257442 h 257442"/>
                <a:gd name="connsiteX2" fmla="*/ 1 w 3846595"/>
                <a:gd name="connsiteY2" fmla="*/ 257442 h 257442"/>
                <a:gd name="connsiteX3" fmla="*/ 0 w 3846595"/>
                <a:gd name="connsiteY3" fmla="*/ 0 h 257442"/>
                <a:gd name="connsiteX0" fmla="*/ 3998880 w 3998880"/>
                <a:gd name="connsiteY0" fmla="*/ 0 h 257442"/>
                <a:gd name="connsiteX1" fmla="*/ 3791874 w 3998880"/>
                <a:gd name="connsiteY1" fmla="*/ 257442 h 257442"/>
                <a:gd name="connsiteX2" fmla="*/ 1 w 3998880"/>
                <a:gd name="connsiteY2" fmla="*/ 257442 h 257442"/>
                <a:gd name="connsiteX3" fmla="*/ 0 w 3998880"/>
                <a:gd name="connsiteY3" fmla="*/ 0 h 257442"/>
                <a:gd name="connsiteX0" fmla="*/ 3998880 w 3998880"/>
                <a:gd name="connsiteY0" fmla="*/ 0 h 257442"/>
                <a:gd name="connsiteX1" fmla="*/ 3944158 w 3998880"/>
                <a:gd name="connsiteY1" fmla="*/ 257442 h 257442"/>
                <a:gd name="connsiteX2" fmla="*/ 1 w 3998880"/>
                <a:gd name="connsiteY2" fmla="*/ 257442 h 257442"/>
                <a:gd name="connsiteX3" fmla="*/ 0 w 3998880"/>
                <a:gd name="connsiteY3" fmla="*/ 0 h 257442"/>
                <a:gd name="connsiteX0" fmla="*/ 3998880 w 3998880"/>
                <a:gd name="connsiteY0" fmla="*/ 0 h 257442"/>
                <a:gd name="connsiteX1" fmla="*/ 3944158 w 3998880"/>
                <a:gd name="connsiteY1" fmla="*/ 257442 h 257442"/>
                <a:gd name="connsiteX2" fmla="*/ 0 w 3998880"/>
                <a:gd name="connsiteY2" fmla="*/ 257442 h 257442"/>
                <a:gd name="connsiteX3" fmla="*/ 0 w 3998880"/>
                <a:gd name="connsiteY3" fmla="*/ 0 h 257442"/>
                <a:gd name="connsiteX0" fmla="*/ 3998880 w 3998880"/>
                <a:gd name="connsiteY0" fmla="*/ 0 h 257442"/>
                <a:gd name="connsiteX1" fmla="*/ 3944158 w 3998880"/>
                <a:gd name="connsiteY1" fmla="*/ 257442 h 257442"/>
                <a:gd name="connsiteX2" fmla="*/ 0 w 3998880"/>
                <a:gd name="connsiteY2" fmla="*/ 257442 h 257442"/>
                <a:gd name="connsiteX3" fmla="*/ 0 w 3998880"/>
                <a:gd name="connsiteY3" fmla="*/ 0 h 257442"/>
                <a:gd name="connsiteX0" fmla="*/ 4167194 w 4167194"/>
                <a:gd name="connsiteY0" fmla="*/ 0 h 257442"/>
                <a:gd name="connsiteX1" fmla="*/ 3944158 w 4167194"/>
                <a:gd name="connsiteY1" fmla="*/ 257442 h 257442"/>
                <a:gd name="connsiteX2" fmla="*/ 0 w 4167194"/>
                <a:gd name="connsiteY2" fmla="*/ 257442 h 257442"/>
                <a:gd name="connsiteX3" fmla="*/ 0 w 4167194"/>
                <a:gd name="connsiteY3" fmla="*/ 0 h 257442"/>
                <a:gd name="connsiteX0" fmla="*/ 4167194 w 4167194"/>
                <a:gd name="connsiteY0" fmla="*/ 0 h 257442"/>
                <a:gd name="connsiteX1" fmla="*/ 4112473 w 4167194"/>
                <a:gd name="connsiteY1" fmla="*/ 257442 h 257442"/>
                <a:gd name="connsiteX2" fmla="*/ 0 w 4167194"/>
                <a:gd name="connsiteY2" fmla="*/ 257442 h 257442"/>
                <a:gd name="connsiteX3" fmla="*/ 0 w 4167194"/>
                <a:gd name="connsiteY3" fmla="*/ 0 h 257442"/>
                <a:gd name="connsiteX0" fmla="*/ 4167194 w 4167194"/>
                <a:gd name="connsiteY0" fmla="*/ 0 h 257442"/>
                <a:gd name="connsiteX1" fmla="*/ 4112473 w 4167194"/>
                <a:gd name="connsiteY1" fmla="*/ 257442 h 257442"/>
                <a:gd name="connsiteX2" fmla="*/ 0 w 4167194"/>
                <a:gd name="connsiteY2" fmla="*/ 257442 h 257442"/>
                <a:gd name="connsiteX3" fmla="*/ 0 w 4167194"/>
                <a:gd name="connsiteY3" fmla="*/ 0 h 257442"/>
                <a:gd name="connsiteX0" fmla="*/ 4167194 w 4167194"/>
                <a:gd name="connsiteY0" fmla="*/ 0 h 257442"/>
                <a:gd name="connsiteX1" fmla="*/ 4112473 w 4167194"/>
                <a:gd name="connsiteY1" fmla="*/ 257442 h 257442"/>
                <a:gd name="connsiteX2" fmla="*/ 0 w 4167194"/>
                <a:gd name="connsiteY2" fmla="*/ 257442 h 257442"/>
                <a:gd name="connsiteX3" fmla="*/ 0 w 4167194"/>
                <a:gd name="connsiteY3" fmla="*/ 0 h 257442"/>
                <a:gd name="connsiteX0" fmla="*/ 4327495 w 4327495"/>
                <a:gd name="connsiteY0" fmla="*/ 0 h 257442"/>
                <a:gd name="connsiteX1" fmla="*/ 4112473 w 4327495"/>
                <a:gd name="connsiteY1" fmla="*/ 257442 h 257442"/>
                <a:gd name="connsiteX2" fmla="*/ 0 w 4327495"/>
                <a:gd name="connsiteY2" fmla="*/ 257442 h 257442"/>
                <a:gd name="connsiteX3" fmla="*/ 0 w 4327495"/>
                <a:gd name="connsiteY3" fmla="*/ 0 h 257442"/>
                <a:gd name="connsiteX0" fmla="*/ 4327495 w 4327495"/>
                <a:gd name="connsiteY0" fmla="*/ 0 h 257442"/>
                <a:gd name="connsiteX1" fmla="*/ 4272774 w 4327495"/>
                <a:gd name="connsiteY1" fmla="*/ 257442 h 257442"/>
                <a:gd name="connsiteX2" fmla="*/ 0 w 4327495"/>
                <a:gd name="connsiteY2" fmla="*/ 257442 h 257442"/>
                <a:gd name="connsiteX3" fmla="*/ 0 w 4327495"/>
                <a:gd name="connsiteY3" fmla="*/ 0 h 257442"/>
                <a:gd name="connsiteX0" fmla="*/ 4327495 w 4327495"/>
                <a:gd name="connsiteY0" fmla="*/ 0 h 257442"/>
                <a:gd name="connsiteX1" fmla="*/ 4272774 w 4327495"/>
                <a:gd name="connsiteY1" fmla="*/ 257442 h 257442"/>
                <a:gd name="connsiteX2" fmla="*/ 0 w 4327495"/>
                <a:gd name="connsiteY2" fmla="*/ 257442 h 257442"/>
                <a:gd name="connsiteX3" fmla="*/ 0 w 4327495"/>
                <a:gd name="connsiteY3" fmla="*/ 0 h 257442"/>
                <a:gd name="connsiteX0" fmla="*/ 4327495 w 4327495"/>
                <a:gd name="connsiteY0" fmla="*/ 0 h 257442"/>
                <a:gd name="connsiteX1" fmla="*/ 4272774 w 4327495"/>
                <a:gd name="connsiteY1" fmla="*/ 257442 h 257442"/>
                <a:gd name="connsiteX2" fmla="*/ 0 w 4327495"/>
                <a:gd name="connsiteY2" fmla="*/ 257442 h 257442"/>
                <a:gd name="connsiteX3" fmla="*/ 0 w 4327495"/>
                <a:gd name="connsiteY3" fmla="*/ 0 h 257442"/>
                <a:gd name="connsiteX0" fmla="*/ 4428483 w 4428483"/>
                <a:gd name="connsiteY0" fmla="*/ 0 h 257442"/>
                <a:gd name="connsiteX1" fmla="*/ 4272774 w 4428483"/>
                <a:gd name="connsiteY1" fmla="*/ 257442 h 257442"/>
                <a:gd name="connsiteX2" fmla="*/ 0 w 4428483"/>
                <a:gd name="connsiteY2" fmla="*/ 257442 h 257442"/>
                <a:gd name="connsiteX3" fmla="*/ 0 w 4428483"/>
                <a:gd name="connsiteY3" fmla="*/ 0 h 257442"/>
                <a:gd name="connsiteX0" fmla="*/ 4428483 w 4428483"/>
                <a:gd name="connsiteY0" fmla="*/ 0 h 257442"/>
                <a:gd name="connsiteX1" fmla="*/ 4373762 w 4428483"/>
                <a:gd name="connsiteY1" fmla="*/ 257442 h 257442"/>
                <a:gd name="connsiteX2" fmla="*/ 0 w 4428483"/>
                <a:gd name="connsiteY2" fmla="*/ 257442 h 257442"/>
                <a:gd name="connsiteX3" fmla="*/ 0 w 4428483"/>
                <a:gd name="connsiteY3" fmla="*/ 0 h 257442"/>
                <a:gd name="connsiteX0" fmla="*/ 4428483 w 4428483"/>
                <a:gd name="connsiteY0" fmla="*/ 0 h 257442"/>
                <a:gd name="connsiteX1" fmla="*/ 4373762 w 4428483"/>
                <a:gd name="connsiteY1" fmla="*/ 257442 h 257442"/>
                <a:gd name="connsiteX2" fmla="*/ 0 w 4428483"/>
                <a:gd name="connsiteY2" fmla="*/ 257442 h 257442"/>
                <a:gd name="connsiteX3" fmla="*/ 0 w 4428483"/>
                <a:gd name="connsiteY3" fmla="*/ 0 h 257442"/>
                <a:gd name="connsiteX0" fmla="*/ 4428483 w 4428483"/>
                <a:gd name="connsiteY0" fmla="*/ 0 h 257442"/>
                <a:gd name="connsiteX1" fmla="*/ 4373762 w 4428483"/>
                <a:gd name="connsiteY1" fmla="*/ 257442 h 257442"/>
                <a:gd name="connsiteX2" fmla="*/ 0 w 4428483"/>
                <a:gd name="connsiteY2" fmla="*/ 257442 h 257442"/>
                <a:gd name="connsiteX3" fmla="*/ 0 w 4428483"/>
                <a:gd name="connsiteY3" fmla="*/ 0 h 257442"/>
                <a:gd name="connsiteX0" fmla="*/ 4586027 w 4586027"/>
                <a:gd name="connsiteY0" fmla="*/ 0 h 257442"/>
                <a:gd name="connsiteX1" fmla="*/ 4373762 w 4586027"/>
                <a:gd name="connsiteY1" fmla="*/ 257442 h 257442"/>
                <a:gd name="connsiteX2" fmla="*/ 0 w 4586027"/>
                <a:gd name="connsiteY2" fmla="*/ 257442 h 257442"/>
                <a:gd name="connsiteX3" fmla="*/ 0 w 4586027"/>
                <a:gd name="connsiteY3" fmla="*/ 0 h 257442"/>
                <a:gd name="connsiteX0" fmla="*/ 4586027 w 4586027"/>
                <a:gd name="connsiteY0" fmla="*/ 0 h 257442"/>
                <a:gd name="connsiteX1" fmla="*/ 4531306 w 4586027"/>
                <a:gd name="connsiteY1" fmla="*/ 257442 h 257442"/>
                <a:gd name="connsiteX2" fmla="*/ 0 w 4586027"/>
                <a:gd name="connsiteY2" fmla="*/ 257442 h 257442"/>
                <a:gd name="connsiteX3" fmla="*/ 0 w 4586027"/>
                <a:gd name="connsiteY3" fmla="*/ 0 h 257442"/>
                <a:gd name="connsiteX0" fmla="*/ 4586027 w 4586027"/>
                <a:gd name="connsiteY0" fmla="*/ 0 h 257442"/>
                <a:gd name="connsiteX1" fmla="*/ 4531306 w 4586027"/>
                <a:gd name="connsiteY1" fmla="*/ 257442 h 257442"/>
                <a:gd name="connsiteX2" fmla="*/ 0 w 4586027"/>
                <a:gd name="connsiteY2" fmla="*/ 257442 h 257442"/>
                <a:gd name="connsiteX3" fmla="*/ 0 w 4586027"/>
                <a:gd name="connsiteY3" fmla="*/ 0 h 257442"/>
                <a:gd name="connsiteX0" fmla="*/ 4586027 w 4586027"/>
                <a:gd name="connsiteY0" fmla="*/ 0 h 257442"/>
                <a:gd name="connsiteX1" fmla="*/ 4531306 w 4586027"/>
                <a:gd name="connsiteY1" fmla="*/ 257442 h 257442"/>
                <a:gd name="connsiteX2" fmla="*/ 0 w 4586027"/>
                <a:gd name="connsiteY2" fmla="*/ 257442 h 257442"/>
                <a:gd name="connsiteX3" fmla="*/ 0 w 4586027"/>
                <a:gd name="connsiteY3" fmla="*/ 0 h 257442"/>
                <a:gd name="connsiteX0" fmla="*/ 4746327 w 4746327"/>
                <a:gd name="connsiteY0" fmla="*/ 0 h 257442"/>
                <a:gd name="connsiteX1" fmla="*/ 4531306 w 4746327"/>
                <a:gd name="connsiteY1" fmla="*/ 257442 h 257442"/>
                <a:gd name="connsiteX2" fmla="*/ 0 w 4746327"/>
                <a:gd name="connsiteY2" fmla="*/ 257442 h 257442"/>
                <a:gd name="connsiteX3" fmla="*/ 0 w 4746327"/>
                <a:gd name="connsiteY3" fmla="*/ 0 h 257442"/>
                <a:gd name="connsiteX0" fmla="*/ 4746327 w 4746327"/>
                <a:gd name="connsiteY0" fmla="*/ 0 h 257442"/>
                <a:gd name="connsiteX1" fmla="*/ 4691606 w 4746327"/>
                <a:gd name="connsiteY1" fmla="*/ 257442 h 257442"/>
                <a:gd name="connsiteX2" fmla="*/ 0 w 4746327"/>
                <a:gd name="connsiteY2" fmla="*/ 257442 h 257442"/>
                <a:gd name="connsiteX3" fmla="*/ 0 w 4746327"/>
                <a:gd name="connsiteY3" fmla="*/ 0 h 257442"/>
                <a:gd name="connsiteX0" fmla="*/ 4746327 w 4746327"/>
                <a:gd name="connsiteY0" fmla="*/ 0 h 257442"/>
                <a:gd name="connsiteX1" fmla="*/ 4691606 w 4746327"/>
                <a:gd name="connsiteY1" fmla="*/ 257442 h 257442"/>
                <a:gd name="connsiteX2" fmla="*/ 0 w 4746327"/>
                <a:gd name="connsiteY2" fmla="*/ 257442 h 257442"/>
                <a:gd name="connsiteX3" fmla="*/ 0 w 4746327"/>
                <a:gd name="connsiteY3" fmla="*/ 0 h 257442"/>
                <a:gd name="connsiteX0" fmla="*/ 4746327 w 4746327"/>
                <a:gd name="connsiteY0" fmla="*/ 0 h 257442"/>
                <a:gd name="connsiteX1" fmla="*/ 4691606 w 4746327"/>
                <a:gd name="connsiteY1" fmla="*/ 257442 h 257442"/>
                <a:gd name="connsiteX2" fmla="*/ 0 w 4746327"/>
                <a:gd name="connsiteY2" fmla="*/ 257442 h 257442"/>
                <a:gd name="connsiteX3" fmla="*/ 0 w 4746327"/>
                <a:gd name="connsiteY3" fmla="*/ 0 h 257442"/>
                <a:gd name="connsiteX0" fmla="*/ 4914642 w 4914642"/>
                <a:gd name="connsiteY0" fmla="*/ 0 h 257442"/>
                <a:gd name="connsiteX1" fmla="*/ 4691606 w 4914642"/>
                <a:gd name="connsiteY1" fmla="*/ 257442 h 257442"/>
                <a:gd name="connsiteX2" fmla="*/ 0 w 4914642"/>
                <a:gd name="connsiteY2" fmla="*/ 257442 h 257442"/>
                <a:gd name="connsiteX3" fmla="*/ 0 w 4914642"/>
                <a:gd name="connsiteY3" fmla="*/ 0 h 257442"/>
                <a:gd name="connsiteX0" fmla="*/ 4914642 w 4914642"/>
                <a:gd name="connsiteY0" fmla="*/ 0 h 257442"/>
                <a:gd name="connsiteX1" fmla="*/ 4859920 w 4914642"/>
                <a:gd name="connsiteY1" fmla="*/ 257442 h 257442"/>
                <a:gd name="connsiteX2" fmla="*/ 0 w 4914642"/>
                <a:gd name="connsiteY2" fmla="*/ 257442 h 257442"/>
                <a:gd name="connsiteX3" fmla="*/ 0 w 4914642"/>
                <a:gd name="connsiteY3" fmla="*/ 0 h 257442"/>
                <a:gd name="connsiteX0" fmla="*/ 4914643 w 4914643"/>
                <a:gd name="connsiteY0" fmla="*/ 0 h 257442"/>
                <a:gd name="connsiteX1" fmla="*/ 4859921 w 4914643"/>
                <a:gd name="connsiteY1" fmla="*/ 257442 h 257442"/>
                <a:gd name="connsiteX2" fmla="*/ 0 w 4914643"/>
                <a:gd name="connsiteY2" fmla="*/ 257442 h 257442"/>
                <a:gd name="connsiteX3" fmla="*/ 1 w 4914643"/>
                <a:gd name="connsiteY3" fmla="*/ 0 h 257442"/>
                <a:gd name="connsiteX0" fmla="*/ 4914643 w 4914643"/>
                <a:gd name="connsiteY0" fmla="*/ 0 h 257442"/>
                <a:gd name="connsiteX1" fmla="*/ 4859921 w 4914643"/>
                <a:gd name="connsiteY1" fmla="*/ 257442 h 257442"/>
                <a:gd name="connsiteX2" fmla="*/ 0 w 4914643"/>
                <a:gd name="connsiteY2" fmla="*/ 257442 h 257442"/>
                <a:gd name="connsiteX3" fmla="*/ 1 w 4914643"/>
                <a:gd name="connsiteY3" fmla="*/ 0 h 257442"/>
                <a:gd name="connsiteX0" fmla="*/ 5082959 w 5082959"/>
                <a:gd name="connsiteY0" fmla="*/ 0 h 257442"/>
                <a:gd name="connsiteX1" fmla="*/ 4859921 w 5082959"/>
                <a:gd name="connsiteY1" fmla="*/ 257442 h 257442"/>
                <a:gd name="connsiteX2" fmla="*/ 0 w 5082959"/>
                <a:gd name="connsiteY2" fmla="*/ 257442 h 257442"/>
                <a:gd name="connsiteX3" fmla="*/ 1 w 5082959"/>
                <a:gd name="connsiteY3" fmla="*/ 0 h 257442"/>
                <a:gd name="connsiteX0" fmla="*/ 5082959 w 5082959"/>
                <a:gd name="connsiteY0" fmla="*/ 0 h 257442"/>
                <a:gd name="connsiteX1" fmla="*/ 5028238 w 5082959"/>
                <a:gd name="connsiteY1" fmla="*/ 257442 h 257442"/>
                <a:gd name="connsiteX2" fmla="*/ 0 w 5082959"/>
                <a:gd name="connsiteY2" fmla="*/ 257442 h 257442"/>
                <a:gd name="connsiteX3" fmla="*/ 1 w 5082959"/>
                <a:gd name="connsiteY3" fmla="*/ 0 h 257442"/>
                <a:gd name="connsiteX0" fmla="*/ 5082958 w 5082958"/>
                <a:gd name="connsiteY0" fmla="*/ 0 h 257442"/>
                <a:gd name="connsiteX1" fmla="*/ 5028237 w 5082958"/>
                <a:gd name="connsiteY1" fmla="*/ 257442 h 257442"/>
                <a:gd name="connsiteX2" fmla="*/ 0 w 5082958"/>
                <a:gd name="connsiteY2" fmla="*/ 257442 h 257442"/>
                <a:gd name="connsiteX3" fmla="*/ 0 w 5082958"/>
                <a:gd name="connsiteY3" fmla="*/ 0 h 257442"/>
                <a:gd name="connsiteX0" fmla="*/ 5082959 w 5082959"/>
                <a:gd name="connsiteY0" fmla="*/ 0 h 257442"/>
                <a:gd name="connsiteX1" fmla="*/ 5028238 w 5082959"/>
                <a:gd name="connsiteY1" fmla="*/ 257442 h 257442"/>
                <a:gd name="connsiteX2" fmla="*/ 1 w 5082959"/>
                <a:gd name="connsiteY2" fmla="*/ 257442 h 257442"/>
                <a:gd name="connsiteX3" fmla="*/ 0 w 5082959"/>
                <a:gd name="connsiteY3" fmla="*/ 0 h 257442"/>
                <a:gd name="connsiteX0" fmla="*/ 5243259 w 5243259"/>
                <a:gd name="connsiteY0" fmla="*/ 0 h 257442"/>
                <a:gd name="connsiteX1" fmla="*/ 5028238 w 5243259"/>
                <a:gd name="connsiteY1" fmla="*/ 257442 h 257442"/>
                <a:gd name="connsiteX2" fmla="*/ 1 w 5243259"/>
                <a:gd name="connsiteY2" fmla="*/ 257442 h 257442"/>
                <a:gd name="connsiteX3" fmla="*/ 0 w 5243259"/>
                <a:gd name="connsiteY3" fmla="*/ 0 h 257442"/>
                <a:gd name="connsiteX0" fmla="*/ 5243259 w 5243259"/>
                <a:gd name="connsiteY0" fmla="*/ 0 h 257442"/>
                <a:gd name="connsiteX1" fmla="*/ 5188538 w 5243259"/>
                <a:gd name="connsiteY1" fmla="*/ 257442 h 257442"/>
                <a:gd name="connsiteX2" fmla="*/ 1 w 5243259"/>
                <a:gd name="connsiteY2" fmla="*/ 257442 h 257442"/>
                <a:gd name="connsiteX3" fmla="*/ 0 w 5243259"/>
                <a:gd name="connsiteY3" fmla="*/ 0 h 257442"/>
                <a:gd name="connsiteX0" fmla="*/ 5243259 w 5243259"/>
                <a:gd name="connsiteY0" fmla="*/ 0 h 257442"/>
                <a:gd name="connsiteX1" fmla="*/ 5188538 w 5243259"/>
                <a:gd name="connsiteY1" fmla="*/ 257442 h 257442"/>
                <a:gd name="connsiteX2" fmla="*/ 1 w 5243259"/>
                <a:gd name="connsiteY2" fmla="*/ 257442 h 257442"/>
                <a:gd name="connsiteX3" fmla="*/ 0 w 5243259"/>
                <a:gd name="connsiteY3" fmla="*/ 0 h 257442"/>
                <a:gd name="connsiteX0" fmla="*/ 5243258 w 5243258"/>
                <a:gd name="connsiteY0" fmla="*/ 0 h 257442"/>
                <a:gd name="connsiteX1" fmla="*/ 5188537 w 5243258"/>
                <a:gd name="connsiteY1" fmla="*/ 257442 h 257442"/>
                <a:gd name="connsiteX2" fmla="*/ 0 w 5243258"/>
                <a:gd name="connsiteY2" fmla="*/ 257442 h 257442"/>
                <a:gd name="connsiteX3" fmla="*/ 0 w 5243258"/>
                <a:gd name="connsiteY3" fmla="*/ 0 h 257442"/>
                <a:gd name="connsiteX0" fmla="*/ 3998878 w 5188537"/>
                <a:gd name="connsiteY0" fmla="*/ 0 h 257442"/>
                <a:gd name="connsiteX1" fmla="*/ 5188537 w 5188537"/>
                <a:gd name="connsiteY1" fmla="*/ 257442 h 257442"/>
                <a:gd name="connsiteX2" fmla="*/ 0 w 5188537"/>
                <a:gd name="connsiteY2" fmla="*/ 257442 h 257442"/>
                <a:gd name="connsiteX3" fmla="*/ 0 w 5188537"/>
                <a:gd name="connsiteY3" fmla="*/ 0 h 257442"/>
                <a:gd name="connsiteX0" fmla="*/ 3998878 w 3998878"/>
                <a:gd name="connsiteY0" fmla="*/ 0 h 257442"/>
                <a:gd name="connsiteX1" fmla="*/ 3944158 w 3998878"/>
                <a:gd name="connsiteY1" fmla="*/ 257442 h 257442"/>
                <a:gd name="connsiteX2" fmla="*/ 0 w 3998878"/>
                <a:gd name="connsiteY2" fmla="*/ 257442 h 257442"/>
                <a:gd name="connsiteX3" fmla="*/ 0 w 3998878"/>
                <a:gd name="connsiteY3" fmla="*/ 0 h 257442"/>
                <a:gd name="connsiteX0" fmla="*/ 3998878 w 3998878"/>
                <a:gd name="connsiteY0" fmla="*/ 0 h 257442"/>
                <a:gd name="connsiteX1" fmla="*/ 3944158 w 3998878"/>
                <a:gd name="connsiteY1" fmla="*/ 257442 h 257442"/>
                <a:gd name="connsiteX2" fmla="*/ 0 w 3998878"/>
                <a:gd name="connsiteY2" fmla="*/ 257442 h 257442"/>
                <a:gd name="connsiteX3" fmla="*/ 0 w 3998878"/>
                <a:gd name="connsiteY3" fmla="*/ 0 h 257442"/>
                <a:gd name="connsiteX0" fmla="*/ 3998878 w 3998878"/>
                <a:gd name="connsiteY0" fmla="*/ 0 h 257442"/>
                <a:gd name="connsiteX1" fmla="*/ 3944158 w 3998878"/>
                <a:gd name="connsiteY1" fmla="*/ 257442 h 257442"/>
                <a:gd name="connsiteX2" fmla="*/ 0 w 3998878"/>
                <a:gd name="connsiteY2" fmla="*/ 257442 h 257442"/>
                <a:gd name="connsiteX3" fmla="*/ 0 w 3998878"/>
                <a:gd name="connsiteY3" fmla="*/ 0 h 257442"/>
                <a:gd name="connsiteX0" fmla="*/ 4141546 w 4141546"/>
                <a:gd name="connsiteY0" fmla="*/ 0 h 257442"/>
                <a:gd name="connsiteX1" fmla="*/ 3944158 w 4141546"/>
                <a:gd name="connsiteY1" fmla="*/ 257442 h 257442"/>
                <a:gd name="connsiteX2" fmla="*/ 0 w 4141546"/>
                <a:gd name="connsiteY2" fmla="*/ 257442 h 257442"/>
                <a:gd name="connsiteX3" fmla="*/ 0 w 4141546"/>
                <a:gd name="connsiteY3" fmla="*/ 0 h 257442"/>
                <a:gd name="connsiteX0" fmla="*/ 4141546 w 4141546"/>
                <a:gd name="connsiteY0" fmla="*/ 0 h 257442"/>
                <a:gd name="connsiteX1" fmla="*/ 4086825 w 4141546"/>
                <a:gd name="connsiteY1" fmla="*/ 257442 h 257442"/>
                <a:gd name="connsiteX2" fmla="*/ 0 w 4141546"/>
                <a:gd name="connsiteY2" fmla="*/ 257442 h 257442"/>
                <a:gd name="connsiteX3" fmla="*/ 0 w 4141546"/>
                <a:gd name="connsiteY3" fmla="*/ 0 h 257442"/>
                <a:gd name="connsiteX0" fmla="*/ 4141546 w 4141546"/>
                <a:gd name="connsiteY0" fmla="*/ 0 h 257442"/>
                <a:gd name="connsiteX1" fmla="*/ 4086825 w 4141546"/>
                <a:gd name="connsiteY1" fmla="*/ 257442 h 257442"/>
                <a:gd name="connsiteX2" fmla="*/ 0 w 4141546"/>
                <a:gd name="connsiteY2" fmla="*/ 257442 h 257442"/>
                <a:gd name="connsiteX3" fmla="*/ 0 w 4141546"/>
                <a:gd name="connsiteY3" fmla="*/ 0 h 257442"/>
                <a:gd name="connsiteX0" fmla="*/ 4141546 w 4141546"/>
                <a:gd name="connsiteY0" fmla="*/ 0 h 257442"/>
                <a:gd name="connsiteX1" fmla="*/ 4086825 w 4141546"/>
                <a:gd name="connsiteY1" fmla="*/ 257442 h 257442"/>
                <a:gd name="connsiteX2" fmla="*/ 0 w 4141546"/>
                <a:gd name="connsiteY2" fmla="*/ 257442 h 257442"/>
                <a:gd name="connsiteX3" fmla="*/ 0 w 4141546"/>
                <a:gd name="connsiteY3" fmla="*/ 0 h 257442"/>
                <a:gd name="connsiteX0" fmla="*/ 4301847 w 4301847"/>
                <a:gd name="connsiteY0" fmla="*/ 0 h 257442"/>
                <a:gd name="connsiteX1" fmla="*/ 4086825 w 4301847"/>
                <a:gd name="connsiteY1" fmla="*/ 257442 h 257442"/>
                <a:gd name="connsiteX2" fmla="*/ 0 w 4301847"/>
                <a:gd name="connsiteY2" fmla="*/ 257442 h 257442"/>
                <a:gd name="connsiteX3" fmla="*/ 0 w 4301847"/>
                <a:gd name="connsiteY3" fmla="*/ 0 h 257442"/>
                <a:gd name="connsiteX0" fmla="*/ 4301847 w 4301847"/>
                <a:gd name="connsiteY0" fmla="*/ 0 h 257442"/>
                <a:gd name="connsiteX1" fmla="*/ 4247126 w 4301847"/>
                <a:gd name="connsiteY1" fmla="*/ 257442 h 257442"/>
                <a:gd name="connsiteX2" fmla="*/ 0 w 4301847"/>
                <a:gd name="connsiteY2" fmla="*/ 257442 h 257442"/>
                <a:gd name="connsiteX3" fmla="*/ 0 w 4301847"/>
                <a:gd name="connsiteY3" fmla="*/ 0 h 257442"/>
                <a:gd name="connsiteX0" fmla="*/ 4301847 w 4301847"/>
                <a:gd name="connsiteY0" fmla="*/ 0 h 257442"/>
                <a:gd name="connsiteX1" fmla="*/ 4247126 w 4301847"/>
                <a:gd name="connsiteY1" fmla="*/ 257442 h 257442"/>
                <a:gd name="connsiteX2" fmla="*/ 0 w 4301847"/>
                <a:gd name="connsiteY2" fmla="*/ 257442 h 257442"/>
                <a:gd name="connsiteX3" fmla="*/ 0 w 4301847"/>
                <a:gd name="connsiteY3" fmla="*/ 0 h 257442"/>
                <a:gd name="connsiteX0" fmla="*/ 4301847 w 4301847"/>
                <a:gd name="connsiteY0" fmla="*/ 0 h 257442"/>
                <a:gd name="connsiteX1" fmla="*/ 4247126 w 4301847"/>
                <a:gd name="connsiteY1" fmla="*/ 257442 h 257442"/>
                <a:gd name="connsiteX2" fmla="*/ 0 w 4301847"/>
                <a:gd name="connsiteY2" fmla="*/ 257442 h 257442"/>
                <a:gd name="connsiteX3" fmla="*/ 0 w 4301847"/>
                <a:gd name="connsiteY3" fmla="*/ 0 h 257442"/>
                <a:gd name="connsiteX0" fmla="*/ 3998879 w 4247126"/>
                <a:gd name="connsiteY0" fmla="*/ 0 h 257442"/>
                <a:gd name="connsiteX1" fmla="*/ 4247126 w 4247126"/>
                <a:gd name="connsiteY1" fmla="*/ 257442 h 257442"/>
                <a:gd name="connsiteX2" fmla="*/ 0 w 4247126"/>
                <a:gd name="connsiteY2" fmla="*/ 257442 h 257442"/>
                <a:gd name="connsiteX3" fmla="*/ 0 w 4247126"/>
                <a:gd name="connsiteY3" fmla="*/ 0 h 257442"/>
                <a:gd name="connsiteX0" fmla="*/ 3998879 w 3998879"/>
                <a:gd name="connsiteY0" fmla="*/ 0 h 257442"/>
                <a:gd name="connsiteX1" fmla="*/ 3944158 w 3998879"/>
                <a:gd name="connsiteY1" fmla="*/ 257442 h 257442"/>
                <a:gd name="connsiteX2" fmla="*/ 0 w 3998879"/>
                <a:gd name="connsiteY2" fmla="*/ 257442 h 257442"/>
                <a:gd name="connsiteX3" fmla="*/ 0 w 3998879"/>
                <a:gd name="connsiteY3" fmla="*/ 0 h 257442"/>
                <a:gd name="connsiteX0" fmla="*/ 3998879 w 3998879"/>
                <a:gd name="connsiteY0" fmla="*/ 0 h 257442"/>
                <a:gd name="connsiteX1" fmla="*/ 3944158 w 3998879"/>
                <a:gd name="connsiteY1" fmla="*/ 257442 h 257442"/>
                <a:gd name="connsiteX2" fmla="*/ 1 w 3998879"/>
                <a:gd name="connsiteY2" fmla="*/ 257442 h 257442"/>
                <a:gd name="connsiteX3" fmla="*/ 0 w 3998879"/>
                <a:gd name="connsiteY3" fmla="*/ 0 h 257442"/>
                <a:gd name="connsiteX0" fmla="*/ 3998878 w 3998878"/>
                <a:gd name="connsiteY0" fmla="*/ 0 h 257442"/>
                <a:gd name="connsiteX1" fmla="*/ 3944157 w 3998878"/>
                <a:gd name="connsiteY1" fmla="*/ 257442 h 257442"/>
                <a:gd name="connsiteX2" fmla="*/ 0 w 3998878"/>
                <a:gd name="connsiteY2" fmla="*/ 257442 h 257442"/>
                <a:gd name="connsiteX3" fmla="*/ 0 w 3998878"/>
                <a:gd name="connsiteY3" fmla="*/ 0 h 257442"/>
                <a:gd name="connsiteX0" fmla="*/ 4099867 w 4099867"/>
                <a:gd name="connsiteY0" fmla="*/ 0 h 257442"/>
                <a:gd name="connsiteX1" fmla="*/ 3944157 w 4099867"/>
                <a:gd name="connsiteY1" fmla="*/ 257442 h 257442"/>
                <a:gd name="connsiteX2" fmla="*/ 0 w 4099867"/>
                <a:gd name="connsiteY2" fmla="*/ 257442 h 257442"/>
                <a:gd name="connsiteX3" fmla="*/ 0 w 4099867"/>
                <a:gd name="connsiteY3" fmla="*/ 0 h 257442"/>
                <a:gd name="connsiteX0" fmla="*/ 4099867 w 4099867"/>
                <a:gd name="connsiteY0" fmla="*/ 0 h 257442"/>
                <a:gd name="connsiteX1" fmla="*/ 4045146 w 4099867"/>
                <a:gd name="connsiteY1" fmla="*/ 257442 h 257442"/>
                <a:gd name="connsiteX2" fmla="*/ 0 w 4099867"/>
                <a:gd name="connsiteY2" fmla="*/ 257442 h 257442"/>
                <a:gd name="connsiteX3" fmla="*/ 0 w 4099867"/>
                <a:gd name="connsiteY3" fmla="*/ 0 h 257442"/>
                <a:gd name="connsiteX0" fmla="*/ 4099868 w 4099868"/>
                <a:gd name="connsiteY0" fmla="*/ 0 h 257442"/>
                <a:gd name="connsiteX1" fmla="*/ 4045147 w 4099868"/>
                <a:gd name="connsiteY1" fmla="*/ 257442 h 257442"/>
                <a:gd name="connsiteX2" fmla="*/ 0 w 4099868"/>
                <a:gd name="connsiteY2" fmla="*/ 257442 h 257442"/>
                <a:gd name="connsiteX3" fmla="*/ 1 w 4099868"/>
                <a:gd name="connsiteY3" fmla="*/ 0 h 257442"/>
                <a:gd name="connsiteX0" fmla="*/ 4099868 w 4099868"/>
                <a:gd name="connsiteY0" fmla="*/ 0 h 257442"/>
                <a:gd name="connsiteX1" fmla="*/ 4045147 w 4099868"/>
                <a:gd name="connsiteY1" fmla="*/ 257442 h 257442"/>
                <a:gd name="connsiteX2" fmla="*/ 0 w 4099868"/>
                <a:gd name="connsiteY2" fmla="*/ 257442 h 257442"/>
                <a:gd name="connsiteX3" fmla="*/ 0 w 4099868"/>
                <a:gd name="connsiteY3" fmla="*/ 0 h 257442"/>
                <a:gd name="connsiteX0" fmla="*/ 4285817 w 4285817"/>
                <a:gd name="connsiteY0" fmla="*/ 0 h 257442"/>
                <a:gd name="connsiteX1" fmla="*/ 4045147 w 4285817"/>
                <a:gd name="connsiteY1" fmla="*/ 257442 h 257442"/>
                <a:gd name="connsiteX2" fmla="*/ 0 w 4285817"/>
                <a:gd name="connsiteY2" fmla="*/ 257442 h 257442"/>
                <a:gd name="connsiteX3" fmla="*/ 0 w 4285817"/>
                <a:gd name="connsiteY3" fmla="*/ 0 h 257442"/>
                <a:gd name="connsiteX0" fmla="*/ 4285817 w 4285817"/>
                <a:gd name="connsiteY0" fmla="*/ 0 h 257442"/>
                <a:gd name="connsiteX1" fmla="*/ 4231096 w 4285817"/>
                <a:gd name="connsiteY1" fmla="*/ 257442 h 257442"/>
                <a:gd name="connsiteX2" fmla="*/ 0 w 4285817"/>
                <a:gd name="connsiteY2" fmla="*/ 257442 h 257442"/>
                <a:gd name="connsiteX3" fmla="*/ 0 w 4285817"/>
                <a:gd name="connsiteY3" fmla="*/ 0 h 257442"/>
                <a:gd name="connsiteX0" fmla="*/ 4285817 w 4285817"/>
                <a:gd name="connsiteY0" fmla="*/ 0 h 257442"/>
                <a:gd name="connsiteX1" fmla="*/ 4231096 w 4285817"/>
                <a:gd name="connsiteY1" fmla="*/ 257442 h 257442"/>
                <a:gd name="connsiteX2" fmla="*/ 0 w 4285817"/>
                <a:gd name="connsiteY2" fmla="*/ 257442 h 257442"/>
                <a:gd name="connsiteX3" fmla="*/ 0 w 4285817"/>
                <a:gd name="connsiteY3" fmla="*/ 0 h 257442"/>
                <a:gd name="connsiteX0" fmla="*/ 4285817 w 4285817"/>
                <a:gd name="connsiteY0" fmla="*/ 0 h 257442"/>
                <a:gd name="connsiteX1" fmla="*/ 4231096 w 4285817"/>
                <a:gd name="connsiteY1" fmla="*/ 257442 h 257442"/>
                <a:gd name="connsiteX2" fmla="*/ 0 w 4285817"/>
                <a:gd name="connsiteY2" fmla="*/ 257442 h 257442"/>
                <a:gd name="connsiteX3" fmla="*/ 0 w 4285817"/>
                <a:gd name="connsiteY3" fmla="*/ 0 h 257442"/>
                <a:gd name="connsiteX0" fmla="*/ 4446117 w 4446117"/>
                <a:gd name="connsiteY0" fmla="*/ 0 h 257442"/>
                <a:gd name="connsiteX1" fmla="*/ 4231096 w 4446117"/>
                <a:gd name="connsiteY1" fmla="*/ 257442 h 257442"/>
                <a:gd name="connsiteX2" fmla="*/ 0 w 4446117"/>
                <a:gd name="connsiteY2" fmla="*/ 257442 h 257442"/>
                <a:gd name="connsiteX3" fmla="*/ 0 w 4446117"/>
                <a:gd name="connsiteY3" fmla="*/ 0 h 257442"/>
                <a:gd name="connsiteX0" fmla="*/ 4446117 w 4446117"/>
                <a:gd name="connsiteY0" fmla="*/ 0 h 257442"/>
                <a:gd name="connsiteX1" fmla="*/ 4391396 w 4446117"/>
                <a:gd name="connsiteY1" fmla="*/ 257442 h 257442"/>
                <a:gd name="connsiteX2" fmla="*/ 0 w 4446117"/>
                <a:gd name="connsiteY2" fmla="*/ 257442 h 257442"/>
                <a:gd name="connsiteX3" fmla="*/ 0 w 4446117"/>
                <a:gd name="connsiteY3" fmla="*/ 0 h 257442"/>
                <a:gd name="connsiteX0" fmla="*/ 4446117 w 4446117"/>
                <a:gd name="connsiteY0" fmla="*/ 0 h 257442"/>
                <a:gd name="connsiteX1" fmla="*/ 4391396 w 4446117"/>
                <a:gd name="connsiteY1" fmla="*/ 257442 h 257442"/>
                <a:gd name="connsiteX2" fmla="*/ 0 w 4446117"/>
                <a:gd name="connsiteY2" fmla="*/ 257442 h 257442"/>
                <a:gd name="connsiteX3" fmla="*/ 0 w 4446117"/>
                <a:gd name="connsiteY3" fmla="*/ 0 h 257442"/>
                <a:gd name="connsiteX0" fmla="*/ 4446117 w 4446117"/>
                <a:gd name="connsiteY0" fmla="*/ 0 h 257442"/>
                <a:gd name="connsiteX1" fmla="*/ 4391396 w 4446117"/>
                <a:gd name="connsiteY1" fmla="*/ 257442 h 257442"/>
                <a:gd name="connsiteX2" fmla="*/ 0 w 4446117"/>
                <a:gd name="connsiteY2" fmla="*/ 257442 h 257442"/>
                <a:gd name="connsiteX3" fmla="*/ 0 w 4446117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46117" h="257442">
                  <a:moveTo>
                    <a:pt x="4446117" y="0"/>
                  </a:moveTo>
                  <a:lnTo>
                    <a:pt x="4391396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39" name="btfpRunningAgenda2LevelTextLeft191933">
              <a:extLst>
                <a:ext uri="{FF2B5EF4-FFF2-40B4-BE49-F238E27FC236}">
                  <a16:creationId xmlns:a16="http://schemas.microsoft.com/office/drawing/2014/main" id="{C074A471-8B97-3992-BE83-011E1059424E}"/>
                </a:ext>
              </a:extLst>
            </p:cNvPr>
            <p:cNvSpPr txBox="1"/>
            <p:nvPr/>
          </p:nvSpPr>
          <p:spPr bwMode="gray">
            <a:xfrm>
              <a:off x="0" y="876300"/>
              <a:ext cx="4391396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Patent activity over TIME</a:t>
              </a:r>
            </a:p>
          </p:txBody>
        </p:sp>
      </p:grpSp>
      <p:grpSp>
        <p:nvGrpSpPr>
          <p:cNvPr id="47" name="btfpStatusSticker161836">
            <a:extLst>
              <a:ext uri="{FF2B5EF4-FFF2-40B4-BE49-F238E27FC236}">
                <a16:creationId xmlns:a16="http://schemas.microsoft.com/office/drawing/2014/main" id="{A1492EBE-6B92-2389-2CC9-78B840095E79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0102664" y="955344"/>
            <a:ext cx="1759136" cy="235611"/>
            <a:chOff x="-2269853" y="876300"/>
            <a:chExt cx="1759136" cy="235611"/>
          </a:xfrm>
        </p:grpSpPr>
        <p:sp>
          <p:nvSpPr>
            <p:cNvPr id="48" name="btfpStatusStickerText161836">
              <a:extLst>
                <a:ext uri="{FF2B5EF4-FFF2-40B4-BE49-F238E27FC236}">
                  <a16:creationId xmlns:a16="http://schemas.microsoft.com/office/drawing/2014/main" id="{C6E0212E-A001-D947-227A-F7C0A390E43F}"/>
                </a:ext>
              </a:extLst>
            </p:cNvPr>
            <p:cNvSpPr txBox="1"/>
            <p:nvPr/>
          </p:nvSpPr>
          <p:spPr bwMode="gray">
            <a:xfrm>
              <a:off x="-2269853" y="876300"/>
              <a:ext cx="1759136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Directional</a:t>
              </a:r>
            </a:p>
          </p:txBody>
        </p:sp>
        <p:cxnSp>
          <p:nvCxnSpPr>
            <p:cNvPr id="51" name="btfpStatusStickerLine161836">
              <a:extLst>
                <a:ext uri="{FF2B5EF4-FFF2-40B4-BE49-F238E27FC236}">
                  <a16:creationId xmlns:a16="http://schemas.microsoft.com/office/drawing/2014/main" id="{89281ED8-2714-669F-11B8-DC7D54B93675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2269853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2" name="btfpStatusSticker123371">
            <a:extLst>
              <a:ext uri="{FF2B5EF4-FFF2-40B4-BE49-F238E27FC236}">
                <a16:creationId xmlns:a16="http://schemas.microsoft.com/office/drawing/2014/main" id="{48DB5544-E88C-2590-F664-1EA9F67D9EC8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8905819" y="955281"/>
            <a:ext cx="1069845" cy="235611"/>
            <a:chOff x="-3218445" y="876300"/>
            <a:chExt cx="1069845" cy="235611"/>
          </a:xfrm>
        </p:grpSpPr>
        <p:sp>
          <p:nvSpPr>
            <p:cNvPr id="53" name="btfpStatusStickerText123371">
              <a:extLst>
                <a:ext uri="{FF2B5EF4-FFF2-40B4-BE49-F238E27FC236}">
                  <a16:creationId xmlns:a16="http://schemas.microsoft.com/office/drawing/2014/main" id="{0C4FBCEA-3A80-E784-72A6-A7966942A116}"/>
                </a:ext>
              </a:extLst>
            </p:cNvPr>
            <p:cNvSpPr txBox="1"/>
            <p:nvPr/>
          </p:nvSpPr>
          <p:spPr bwMode="gray">
            <a:xfrm>
              <a:off x="-3218445" y="876300"/>
              <a:ext cx="1069845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GLOBAL</a:t>
              </a:r>
            </a:p>
          </p:txBody>
        </p:sp>
        <p:cxnSp>
          <p:nvCxnSpPr>
            <p:cNvPr id="54" name="btfpStatusStickerLine123371">
              <a:extLst>
                <a:ext uri="{FF2B5EF4-FFF2-40B4-BE49-F238E27FC236}">
                  <a16:creationId xmlns:a16="http://schemas.microsoft.com/office/drawing/2014/main" id="{1EF10AE9-E9DA-0B3C-7B56-6AEC480BDD40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3218445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8" name="btfpColumnHeaderBox934855">
            <a:extLst>
              <a:ext uri="{FF2B5EF4-FFF2-40B4-BE49-F238E27FC236}">
                <a16:creationId xmlns:a16="http://schemas.microsoft.com/office/drawing/2014/main" id="{B7A20645-D2CA-74AA-AB61-4864CCF58415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324210" y="1261735"/>
            <a:ext cx="8467344" cy="326656"/>
            <a:chOff x="330200" y="1515879"/>
            <a:chExt cx="2477492" cy="231371"/>
          </a:xfrm>
        </p:grpSpPr>
        <p:sp>
          <p:nvSpPr>
            <p:cNvPr id="59" name="btfpColumnHeaderBoxText934855">
              <a:extLst>
                <a:ext uri="{FF2B5EF4-FFF2-40B4-BE49-F238E27FC236}">
                  <a16:creationId xmlns:a16="http://schemas.microsoft.com/office/drawing/2014/main" id="{6B655876-CC29-269F-4E9C-C3151A7FEE67}"/>
                </a:ext>
              </a:extLst>
            </p:cNvPr>
            <p:cNvSpPr txBox="1"/>
            <p:nvPr/>
          </p:nvSpPr>
          <p:spPr bwMode="gray">
            <a:xfrm>
              <a:off x="330200" y="1515879"/>
              <a:ext cx="2477492" cy="225946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400" b="1">
                  <a:solidFill>
                    <a:srgbClr val="000000"/>
                  </a:solidFill>
                </a:rPr>
                <a:t>Target filed for 51 </a:t>
              </a:r>
              <a:r>
                <a:rPr lang="en-US" b="1">
                  <a:solidFill>
                    <a:srgbClr val="000000"/>
                  </a:solidFill>
                </a:rPr>
                <a:t>patents</a:t>
              </a:r>
              <a:r>
                <a:rPr lang="en-US" sz="1400" b="1">
                  <a:solidFill>
                    <a:srgbClr val="000000"/>
                  </a:solidFill>
                </a:rPr>
                <a:t> followed by Company 1 (34) and Company 2 (32) in the last 5 years</a:t>
              </a:r>
            </a:p>
          </p:txBody>
        </p:sp>
        <p:cxnSp>
          <p:nvCxnSpPr>
            <p:cNvPr id="60" name="btfpColumnHeaderBoxLine934855">
              <a:extLst>
                <a:ext uri="{FF2B5EF4-FFF2-40B4-BE49-F238E27FC236}">
                  <a16:creationId xmlns:a16="http://schemas.microsoft.com/office/drawing/2014/main" id="{3D0F8D70-9039-3A7F-844C-BABEBCCD7743}"/>
                </a:ext>
              </a:extLst>
            </p:cNvPr>
            <p:cNvCxnSpPr/>
            <p:nvPr/>
          </p:nvCxnSpPr>
          <p:spPr bwMode="gray">
            <a:xfrm>
              <a:off x="330200" y="1747250"/>
              <a:ext cx="2477492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HeaderBox226708">
            <a:extLst>
              <a:ext uri="{FF2B5EF4-FFF2-40B4-BE49-F238E27FC236}">
                <a16:creationId xmlns:a16="http://schemas.microsoft.com/office/drawing/2014/main" id="{0CF84F34-6D3D-395D-BCA6-FBEF60A38811}"/>
              </a:ext>
            </a:extLst>
          </p:cNvPr>
          <p:cNvGrpSpPr/>
          <p:nvPr>
            <p:custDataLst>
              <p:tags r:id="rId9"/>
            </p:custDataLst>
          </p:nvPr>
        </p:nvGrpSpPr>
        <p:grpSpPr>
          <a:xfrm>
            <a:off x="9384308" y="1287584"/>
            <a:ext cx="2477492" cy="315913"/>
            <a:chOff x="9384308" y="1270000"/>
            <a:chExt cx="2477492" cy="347505"/>
          </a:xfrm>
          <a:noFill/>
        </p:grpSpPr>
        <p:sp>
          <p:nvSpPr>
            <p:cNvPr id="16" name="btfpColumnHeaderBoxText226708">
              <a:extLst>
                <a:ext uri="{FF2B5EF4-FFF2-40B4-BE49-F238E27FC236}">
                  <a16:creationId xmlns:a16="http://schemas.microsoft.com/office/drawing/2014/main" id="{7C20DE35-F90E-0C7E-2FBA-FDDDCFA8400B}"/>
                </a:ext>
              </a:extLst>
            </p:cNvPr>
            <p:cNvSpPr txBox="1"/>
            <p:nvPr/>
          </p:nvSpPr>
          <p:spPr bwMode="gray">
            <a:xfrm>
              <a:off x="9384308" y="1270000"/>
              <a:ext cx="2477492" cy="347505"/>
            </a:xfrm>
            <a:prstGeom prst="rect">
              <a:avLst/>
            </a:prstGeom>
            <a:grp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600" b="1">
                  <a:solidFill>
                    <a:srgbClr val="000000"/>
                  </a:solidFill>
                </a:rPr>
                <a:t>Commentary</a:t>
              </a:r>
            </a:p>
          </p:txBody>
        </p:sp>
        <p:cxnSp>
          <p:nvCxnSpPr>
            <p:cNvPr id="17" name="btfpColumnHeaderBoxLine226708">
              <a:extLst>
                <a:ext uri="{FF2B5EF4-FFF2-40B4-BE49-F238E27FC236}">
                  <a16:creationId xmlns:a16="http://schemas.microsoft.com/office/drawing/2014/main" id="{521A31DD-3BFE-C997-A397-FAA1EC068AC3}"/>
                </a:ext>
              </a:extLst>
            </p:cNvPr>
            <p:cNvCxnSpPr/>
            <p:nvPr/>
          </p:nvCxnSpPr>
          <p:spPr bwMode="gray">
            <a:xfrm>
              <a:off x="9384308" y="1617505"/>
              <a:ext cx="2477492" cy="0"/>
            </a:xfrm>
            <a:prstGeom prst="line">
              <a:avLst/>
            </a:prstGeom>
            <a:grpFill/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btfpQuoteBox387255">
            <a:extLst>
              <a:ext uri="{FF2B5EF4-FFF2-40B4-BE49-F238E27FC236}">
                <a16:creationId xmlns:a16="http://schemas.microsoft.com/office/drawing/2014/main" id="{8A20A863-FF55-1FD0-4BD0-05D5E4A2FA75}"/>
              </a:ext>
            </a:extLst>
          </p:cNvPr>
          <p:cNvSpPr txBox="1"/>
          <p:nvPr>
            <p:custDataLst>
              <p:tags r:id="rId10"/>
            </p:custDataLst>
          </p:nvPr>
        </p:nvSpPr>
        <p:spPr bwMode="gray">
          <a:xfrm>
            <a:off x="9384308" y="1687679"/>
            <a:ext cx="2508242" cy="2627321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t">
            <a:spAutoFit/>
          </a:bodyPr>
          <a:lstStyle/>
          <a:p>
            <a:r>
              <a:rPr lang="en-US" sz="1200"/>
              <a:t>The </a:t>
            </a:r>
            <a:r>
              <a:rPr lang="en-US" sz="1200" b="1"/>
              <a:t>fluctuations in patent filings and conversions over years</a:t>
            </a:r>
            <a:r>
              <a:rPr lang="en-US" sz="1200"/>
              <a:t> reflects the </a:t>
            </a:r>
            <a:r>
              <a:rPr lang="en-US" sz="1200" b="1"/>
              <a:t>varying degree of success of top players</a:t>
            </a:r>
            <a:r>
              <a:rPr lang="en-US" sz="1200"/>
              <a:t> such as Target, Company 1 and Company 2, over the period</a:t>
            </a:r>
            <a:endParaRPr lang="en-US" sz="1200" b="1"/>
          </a:p>
          <a:p>
            <a:r>
              <a:rPr lang="en-US" sz="1200"/>
              <a:t>While </a:t>
            </a:r>
            <a:r>
              <a:rPr lang="en-US" sz="1200" b="1"/>
              <a:t>Target continues to hold leadership position</a:t>
            </a:r>
            <a:r>
              <a:rPr lang="en-US" sz="1200"/>
              <a:t> in terms of patents applied, </a:t>
            </a:r>
            <a:r>
              <a:rPr lang="en-US" sz="1200" b="1"/>
              <a:t>Company 1</a:t>
            </a:r>
            <a:r>
              <a:rPr lang="en-US" sz="1200"/>
              <a:t> has </a:t>
            </a:r>
            <a:r>
              <a:rPr lang="en-US" sz="1200" b="1"/>
              <a:t>picked up pace, aggressively filing patents over the 2018 -22 period</a:t>
            </a:r>
            <a:endParaRPr lang="en-US" sz="1200"/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2EFEBBBE-CD78-CEDF-5F62-CF713E0B0190}"/>
              </a:ext>
            </a:extLst>
          </p:cNvPr>
          <p:cNvSpPr/>
          <p:nvPr/>
        </p:nvSpPr>
        <p:spPr bwMode="gray">
          <a:xfrm>
            <a:off x="1433083" y="5057429"/>
            <a:ext cx="981357" cy="180778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100" b="1">
                <a:solidFill>
                  <a:schemeClr val="bg1"/>
                </a:solidFill>
              </a:rPr>
              <a:t>Target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E8CD6ED1-E5AF-27B3-968F-622470A7AACE}"/>
              </a:ext>
            </a:extLst>
          </p:cNvPr>
          <p:cNvSpPr/>
          <p:nvPr/>
        </p:nvSpPr>
        <p:spPr bwMode="gray">
          <a:xfrm>
            <a:off x="2928677" y="5057429"/>
            <a:ext cx="981357" cy="180778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100" b="1">
                <a:solidFill>
                  <a:schemeClr val="bg1"/>
                </a:solidFill>
              </a:rPr>
              <a:t>Company 1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06D9FB74-107D-1FEC-83FA-EF7E015049B2}"/>
              </a:ext>
            </a:extLst>
          </p:cNvPr>
          <p:cNvSpPr/>
          <p:nvPr/>
        </p:nvSpPr>
        <p:spPr bwMode="gray">
          <a:xfrm>
            <a:off x="4557882" y="5057429"/>
            <a:ext cx="981357" cy="180778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100" b="1">
                <a:solidFill>
                  <a:schemeClr val="bg1"/>
                </a:solidFill>
              </a:rPr>
              <a:t>Company 2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4EB22ADE-6923-2DB4-FB55-176007B51E19}"/>
              </a:ext>
            </a:extLst>
          </p:cNvPr>
          <p:cNvSpPr/>
          <p:nvPr/>
        </p:nvSpPr>
        <p:spPr bwMode="gray">
          <a:xfrm>
            <a:off x="6060513" y="5053076"/>
            <a:ext cx="981357" cy="180778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100" b="1">
                <a:solidFill>
                  <a:schemeClr val="bg1"/>
                </a:solidFill>
              </a:rPr>
              <a:t>Company 3</a:t>
            </a: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9B9F3369-37BE-9079-C612-6091C748DD95}"/>
              </a:ext>
            </a:extLst>
          </p:cNvPr>
          <p:cNvSpPr/>
          <p:nvPr/>
        </p:nvSpPr>
        <p:spPr bwMode="gray">
          <a:xfrm>
            <a:off x="7725157" y="5053076"/>
            <a:ext cx="981357" cy="180778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100" b="1">
                <a:solidFill>
                  <a:schemeClr val="bg1"/>
                </a:solidFill>
              </a:rPr>
              <a:t>Company 4</a:t>
            </a: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3CCFFCBB-5C08-0EAD-1BD2-6C3ABA7E4A13}"/>
              </a:ext>
            </a:extLst>
          </p:cNvPr>
          <p:cNvSpPr txBox="1"/>
          <p:nvPr/>
        </p:nvSpPr>
        <p:spPr bwMode="gray">
          <a:xfrm rot="3048423">
            <a:off x="11431924" y="190878"/>
            <a:ext cx="914400" cy="257369"/>
          </a:xfrm>
          <a:prstGeom prst="rect">
            <a:avLst/>
          </a:prstGeom>
          <a:solidFill>
            <a:srgbClr val="CC0000"/>
          </a:solidFill>
        </p:spPr>
        <p:txBody>
          <a:bodyPr wrap="square" lIns="36000" tIns="36000" rIns="36000" bIns="36000" rtlCol="0">
            <a:spAutoFit/>
          </a:bodyPr>
          <a:lstStyle/>
          <a:p>
            <a:pPr marL="0" indent="0" algn="ctr">
              <a:buNone/>
            </a:pPr>
            <a:r>
              <a:rPr lang="en-US" sz="1200">
                <a:solidFill>
                  <a:srgbClr val="FFFFFF"/>
                </a:solidFill>
              </a:rPr>
              <a:t>SAMP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0424705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CB5FDF8-2480-E468-A355-8B0245CF0A5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95" imgH="396" progId="TCLayout.ActiveDocument.1">
                  <p:embed/>
                </p:oleObj>
              </mc:Choice>
              <mc:Fallback>
                <p:oleObj name="think-cell Slide" r:id="rId15" imgW="395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CB5FDF8-2480-E468-A355-8B0245CF0A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Picture 27" descr="Red and black diagonal lines">
            <a:extLst>
              <a:ext uri="{FF2B5EF4-FFF2-40B4-BE49-F238E27FC236}">
                <a16:creationId xmlns:a16="http://schemas.microsoft.com/office/drawing/2014/main" id="{95A22F78-DCA8-20B3-A026-004232C3CF85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-3360"/>
            <a:ext cx="12191999" cy="843464"/>
          </a:xfrm>
          <a:prstGeom prst="rect">
            <a:avLst/>
          </a:prstGeom>
        </p:spPr>
      </p:pic>
      <p:grpSp>
        <p:nvGrpSpPr>
          <p:cNvPr id="19" name="btfpColumnIndicatorGroup2">
            <a:extLst>
              <a:ext uri="{FF2B5EF4-FFF2-40B4-BE49-F238E27FC236}">
                <a16:creationId xmlns:a16="http://schemas.microsoft.com/office/drawing/2014/main" id="{594D185B-3C19-4631-B282-E3B4080E0FC6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7" name="btfpColumnGapBlocker110923">
              <a:extLst>
                <a:ext uri="{FF2B5EF4-FFF2-40B4-BE49-F238E27FC236}">
                  <a16:creationId xmlns:a16="http://schemas.microsoft.com/office/drawing/2014/main" id="{975914B0-BAFE-4058-9EAE-543A1AB705A4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5" name="btfpColumnGapBlocker756815">
              <a:extLst>
                <a:ext uri="{FF2B5EF4-FFF2-40B4-BE49-F238E27FC236}">
                  <a16:creationId xmlns:a16="http://schemas.microsoft.com/office/drawing/2014/main" id="{4646560A-FCA2-4F12-BEEC-A633655689AA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2" name="btfpColumnIndicator895363">
              <a:extLst>
                <a:ext uri="{FF2B5EF4-FFF2-40B4-BE49-F238E27FC236}">
                  <a16:creationId xmlns:a16="http://schemas.microsoft.com/office/drawing/2014/main" id="{1BA6E2E5-4C0F-43E7-A4C1-19A973F3D999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btfpColumnIndicator398693">
              <a:extLst>
                <a:ext uri="{FF2B5EF4-FFF2-40B4-BE49-F238E27FC236}">
                  <a16:creationId xmlns:a16="http://schemas.microsoft.com/office/drawing/2014/main" id="{E44FCCDE-DE9B-4BFE-A8A6-DAE2E2E2BD49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" name="btfpColumnIndicatorGroup1">
            <a:extLst>
              <a:ext uri="{FF2B5EF4-FFF2-40B4-BE49-F238E27FC236}">
                <a16:creationId xmlns:a16="http://schemas.microsoft.com/office/drawing/2014/main" id="{114D9460-DC05-4598-A824-596F58F8E777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6" name="btfpColumnGapBlocker508912">
              <a:extLst>
                <a:ext uri="{FF2B5EF4-FFF2-40B4-BE49-F238E27FC236}">
                  <a16:creationId xmlns:a16="http://schemas.microsoft.com/office/drawing/2014/main" id="{64AAFB11-C515-42DE-810E-B9558204C9C7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3" name="btfpColumnGapBlocker193134">
              <a:extLst>
                <a:ext uri="{FF2B5EF4-FFF2-40B4-BE49-F238E27FC236}">
                  <a16:creationId xmlns:a16="http://schemas.microsoft.com/office/drawing/2014/main" id="{10A2A5B4-5AA0-4D71-A703-B232EACEB3C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1" name="btfpColumnIndicator656406">
              <a:extLst>
                <a:ext uri="{FF2B5EF4-FFF2-40B4-BE49-F238E27FC236}">
                  <a16:creationId xmlns:a16="http://schemas.microsoft.com/office/drawing/2014/main" id="{BFEEBF09-206E-4E21-BFBE-83CC055C3F96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btfpColumnIndicator432411">
              <a:extLst>
                <a:ext uri="{FF2B5EF4-FFF2-40B4-BE49-F238E27FC236}">
                  <a16:creationId xmlns:a16="http://schemas.microsoft.com/office/drawing/2014/main" id="{42367FC2-2D81-45C7-8FAF-7D03B1EFD84E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1624410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0_131740350649972884 columns_1_131740338247856450 6_1_131740338246954055 9_1_131740338247154583 12_1_131740338247345185 13_1_131740338247596111 19_1_131740350340356512 22_1_131740350520505784 26_1_131740351718073034 29_1_131740360203575201 </a:t>
            </a:r>
            <a:endParaRPr lang="en-US" sz="100" err="1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wrap="square"/>
          <a:lstStyle/>
          <a:p>
            <a:r>
              <a:rPr lang="en-US">
                <a:solidFill>
                  <a:schemeClr val="bg1"/>
                </a:solidFill>
              </a:rPr>
              <a:t>Target outperforms its peer set as 95% of its users are quite satisfied with the app and cite ease of use and convenience as key drivers (1/2)</a:t>
            </a:r>
          </a:p>
        </p:txBody>
      </p:sp>
      <p:sp>
        <p:nvSpPr>
          <p:cNvPr id="14" name="Rectangle 13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r0lg9IPP9y8umrse/9AoLT5R0GKq+XM9pr/aTyOTf0wptcuHbHxeyqBm9svU01qeeEM1v0hpSHUgirOnAK/wukkRwkDcp+/igEYEdfT5g1hiCTa/4vblDh4TfRbgovM78rTILTQL0tFZUKffyzIT0PAvgszZF/RXENwUi3yLepH5WY0PybXn7gXKsk69/e2KUJ+hnzDSkuz3uU12pij9s7XZi6CKgcEKv3kQhtFrDVjpOhqNUlpSec3wbNVwdfiAgUzVYtXeffjxmUwZWBOMxzYjIxIQIP/RWIU+z4fdx3oOo3KBZGdlW9qXpcGkwnq4/28D0RsIZVF6+yKeIm+gBUBBQnYOGkfyL9377FL+lRWJLt/nXh5DkWgK0voAA8cYwwdCmfmsuPhfNZhbObyrv+mdaFDu9WJT2tdMNdVXrmMFTMr98KKucUmH1Q/WNsFa8KDmOHrEAyPOBggbR9RH7cNBCjllPDPiq7vK2yPhuKHyc0QKw0fcC1EuMriGdDwqxm0EV6LSr6/7K1QD52fu1VqS3c5MnMouhUjJYiGffKDWdfNpD9SymB9DtsQtYP3jWRqostK+5CiSTiRTVcSUFtNz9iynQ2kcCypKD5LhCWz+PPCHmBl8MkA/2U/P/+U6uOk2qAh28hZFqbUgJn9pPstsPqjnMBft2jlajectrJX52e/lgMeLMwmHCzLksoKfy5wopIS8fB25D2ngUICMjtk4OYVn8vz8qD4sBcJ33jMOsjKe/abfazyVYELhKJcSP4H7gYJr/LiO4ENHpSJTF5iOnC5R+gfl4J4Ss3vHHMXwhhA0+IQOqchYm729zfHkDMEXZz3h4JLBlz9cbWbt25tS9bITlsOM9aZEJjV/4OdBoc8CliVuDgaOtozlwIHyTdWJaOTpoEsbIbODSE4BlNmfvwf6OIHIGOgLXbRDDCsWcNB2+3qIGUWodte9xaqpaisLeFhXrdpED7gZPXA2m957qLxcZeCoYc3HgQ5vyGD79yuAqVZhiZuUAOrH0OXs8ykAbwQHlbLiivWXQgO335Hhn/JF3bCdsPC4MpZK+4b97XRNiOHYpGLJRKQo8dRKoM3p6VGXbxts7QGlIhVwL96XGIz0ra0jliZnj4dMRJQv5LpZNe6xSzsRL4P+4r/lV5L27RIqoNHmQyfqlzVixg8e8rXWEciOKkFl/J3mWUR/6dLizdtPLtTeCeBhhE1/V6aiMhG4m1TzUkkbJBN3M7zIBE5nAfkzeXejNMLjN9M1xpAV9FVypbyIPxWEL524ua3AlY5tLJCR2VyCgohQkhINvNTXrpcQq4K07tpo4yg200ZVZVYDvfOF8W7w53c9KhwrKcnGbioM1iQlY1Db5lEuef6jkdpj8jeK7La5VWE1wGnLWupo7qFAu0CU6nhUOt3zBqvA/C4WipvaoxVRi0zlbRJWaHvYPi2SFiS4zME+c+X1/fbonnBDC4uYjtWTeiq40DcA3EgdJkGxAl3ETCWKE0qrquq5UfcKVWntDS8mkkmCbSNrBMNko8rYPZarKsN0WM2nPK78DI4dxtLPHjpg6i+3VNLXAcEGc57Etzg2H1PnbCxjYLk5X3vUnRoSl5GGTAHY2LEy0OoF+LoRu0rTVRrrnk6MdyZMvSI61U0CFudAkyBzMlIm9pWtlbwKLU/9QJmZcSuTdkWYDpStt6Z34SfGGJa+HFStFEpiQm7Ud9giDar3D/D9fKsNf6dszE9almPaVDYmPErWll+glTt/158HrIKy5Pz3He6BTYTzdPsNL9KxCEMkM7C/2dpBxTxSF8IjqSEZfTf10B49h9U2j9suhjlRMDHxoTLEiW0P00wyjBtH2Mq4ZF3x+qmi5cH6TitHkj+fC/+rz7p/rYEXDdoVmeU04yFaap5uWzXB4nbVMRr7Q570ZIybDnv3Ez+B2wZ+C6xER/N+jXYEoYRZuYGApQaRp10KAWKPOO8txlhAbU+bmLPRQ+u93q3sRP02rreXWofYO/u5YrV9TJqT9AWJn8qYMH08Cj3hg2FT+2xFhGwQ55HjoQ/aLQUvxM4YjPZimZ4KbsJYndC4fwMt/Wl3BjoUiBj2IEEFHPwKPAUfZUdybGJVssZHvnuN9ted7onsJRNUA4zVGyz0AWo6/gEDKmx1m74+9IEOgryZ3RXuIiYOJ4dimbA5yGh+THA1p9GgGk7dzPhT95LBzY4nBvkZqs5npFlQGG9AyS/gdsRsa0gqwuqfJ7gQfjxN6DoTcwao/s5eGJrYfaq4Sxqxd6AOattNPip4pFk69egf/oAKfMK+2W69V7Tv/onoaJkpLzD5L+9dEVRSNhLzyyaax3hq+AitAngW91oiBzTkNfGLVoPzrWn/seu28UVSoANXQFrVMGfvgm/aca3y3rsevffZhd6R0ax0vQFKj/lQcu2dn4Zokk6b3cX85dVMAVwFseWRANom3VvF4Li8duqSDgOaTFs7AmVRkNl05M3OOawxfOAuwpMX4U70FNa31MsSiuK56SqN6fvW1aNY830Q/WEanmeZZzRgmxMRx/xfzVQVyPmf6EUkpRa030CVDNGtEh3E75NZlzFu+YvZR3SIpsVqWQ/fU34HEC7ciHi4A/XYxX3iVohFbb2F0GycRlgK7rHqGRrkUPBnwuLPJSq51oMVSy4kKEPgijBdqGWct3izG515y9x3iOAn1S2wdf4v+Bkeq1l5BCMMSoLRm2JqEBCq/Pc5UHP325SKY5iwnvJruixsODAh4hOm1TDJjXUS2hHQwJHltJNRGy7Exc8pAhtafw8EOQW6mlVjwI7PLGx1VaEU5kQvVWN+IeOy9YZVcNMXUNvti47HyUWVnMff8QKFyV4/NBlqCJmHKz80LjZil3XZ0d4ZNLCMMWfa+WQu+1SmxFGO5nRtLzKf/RvIqazGs4R9wTYjD7ZuN+Fgp/uySdkIrItqCP9Y927cHQUo+sG6DkOCtTS5s/73oWafAdQ48T6LhVQHS6NV8FOumFfO4gUeRNcdAjKFxP0SnlQQ/tgyFYzX1Bo/X6jV3IyWfzpbXlinP3oO4kbkHEA2qGDPqphY4jbzCF220rGXjZZwoXvqyXWCDTadkOyE2s3i3nZh/1FgS/BYpu3MLTyv+DoXahZHnemO656zV5u1goe8Fvz9K200Dqw7YE4YQz6Wx2v2SgpsERoLB9QVzro2Gbf4KiMXjbKbhAS86fTYoGx372DxAzwqd95YIv3wM/twg2H7vY12244MW+lDw2SXxArxYFe5Au2YknXhyqN6xY/sE/H+AYh4pk6QC27hc+CkZ24T37ofYePQMr6QCK/XjGgJ6Evcbe4GgnJb17SBqaxuX+LqQAznqrD4pNuFfcAL5HCLtvWSDMg/Rh+fGcZmoV2JE17UdTlifXvVUlqwwgiuYgnps9fUNPeY8hq19Mks1dJCSAjTlTg36XRhXPJDfccZdSqdTbJg4jPpxoAAn6G7/d/hFyjPde+2FZOosbVReTQDc7eZ43Jag+dEtJIhKw10dRFk5v/bUhyn3e7oabQfGakCgT7F0FpEljyVhNFb2FcOuTzDJR91qv53PVN9/BHIHrs2ywjYUB90T9J7yEAQ9qaBw/JO98ZKUkGniA27uWGMw0lesz4RyNVzgLBJEatRONdIMqEVLw9BK67Lci8wYceGgTipN2kpD/ZbI0NZyu5Y7vlHLixvssjjVmildGRdCIepUnth0ZMZgcdhgkOr0Np9ljzW0kuaOF1Qglg6T0DAo1/c5wFB+jLM9eMG9UkIDHjhXu2LSPvrLMZkpnz3bxAf9F9LMWv78+vQqpHYMdum5RvPr7oA6cy77KYb/tFrD+jYwt5eSHm5OMouO607vU/+t7q2LfeDnEGEeFVjzE/uiaJ/DiEs/MMZ2S72OPed2q1+WxzxATK4fn5DEdQn5iP4wvLYgO+LdCJHko7zpKjumsa8aQGdsI0gyIHqCK6q1YpGUqAIrTPoVYBLLgxXTMLVrtqvo/hL0gAU+oq9LdOqC3UhdoXKb/85XHWaktCWwD9WE9TzF+TeJn4U8HeYd/2E1B0nq/f764TvXoKS0s1/yuaKsXmpJymao8K6qE/CSMxGZ0N2l1IhjucjuhrgotOT6cTl6lyWsblVWETpCUuUmpo16RwARUnlMJCPfdvHgkB8CbJIweCLVoomfQdvZ2WEbbHtq+MWM2TjZH4KzyMhfH4PuJj8Yp70gRBPSHDJqOZCidP9NVcif+6gvs32CwaB/tc5SZRNz7xqdwNAS10UpWJ02xJLAGKS0G+3Z/VdcDXk4L1Aey4nLr97/9FgcRUKW35rAcUiEqqJ0jPZIuxOkuvcvbVmhcHUfk9GNzHQxzhsVe4M697tkoUFYfM3/EE8aWQ7aW3tdyz6tHmp1KRtGYMGilVLV89zS/3s6YQAYr1XR5jtN/R8FkJJ8FShuqAaZe40bazyanTrKxPMV6mliZUrXZMvbwF5TnB129cypd42wBQtrYf3fA+BYZ3IR96YJZBBSsEQ+ptCUc4oBV5jzFbg+xZalUAgfvNa64uUoKBj5r3cvxg0DX0cqqQnwUUZl11BcRLVC6Y24VSXHocdnHUojXs1/Y7v1aVPAGxowu+07NvUbmZxvRNlJKO76PSJOkdqsq6u72bSVZOJWX00D3ijHQF3AtXPoDgmWtE0vY1Ov8/o7V1bbnECa0+GiUjUudq/m0DL4dwOt4oMKGm1mfXjnVCMWFOD6u1sBIa03RqsyYLD2mnooSOSIEo2svdwXqPy/308BpvOWRe595lpobzKY0erkOP6Hvm2HlunISd8z4y9mrMHC4cfOLuuiE8a5q1Ihe3q3Td0CMu3Fq575heSXyH7e1Fv68Ti/Smf6nT+Q5O7cAI8LVjaXgRpX30YhOKU7XTYOm9zsLDWinIz48XZHpFfF8zTRZRZ+9lkhv+qp+1Z/MSGjK3dscdKWVHPPL8cb0KsJC2XCkqnV0e6OyDT/YMoZbWtb885w21cNpDM3ScxsNIQlar75bUONgucu/vU7W+vks2f4YgMXarQintHQ1XavVJl41CNtzGWd/ekuktnwGGMA4EcP0ZB4k7xGwcTC4spi90fIgnAWZmvplPdTJ09sjS+Gt0m4EIau1TqWlRZaqtfyVB4v5MXdPJEJE5VCh3F14InvpmV/UnoUypzMWmRpWRiUSwgx001o+jPaVkunaA1zLp1285qEeG4w6rYxgbEiJqYauNuFCoELv7dsOYz5ehIDaBptY2kMeJurCfQWHUR2wLq/GE6o3lqtq/ft0UFzsWixGzsb3eEUBRkWuWaKRgSIBYWI02bbbMeERv3hyrFXNut7wGtcwkovVKWzqgCgYuD/UpQK0EjZNVP7scR+3hAWltpL06GpSuMXzhVJIxq3IVxDkhyHgeqiHs5o2TRgnxtV6rt/6mo8P9Gu1yP5gWOdzWdwVZwap5nSkFft5BChLPY+nAjvk7KlzxiKMxD8lwKt/ob2YumGyOjYlFlyEtt3NVB+LPsUEd+pLFQrypTYL7Kmou+7nsL6U2hgS1rNp9tdeIJWcZmQk699JT2hFsYFNCzu2MyppIp5BrMptacGL7dqwwGxUg2XTOiEPQCNi39qdzLTa8MI6geyjmy1eopq8QA0TdPAlcOcvdfEPetSjOPmp7oAj5TXSrNRa5pE7QcY0QsBjNIoBH6b+mNC2ajYlcJUTT/ZJrDzillxI8jDXK0lXWlVinsLQ4+BjLlvujoVhLn7VR8F3V/kfCU6K093bwsP1r703Jl6h+RKTnrP+gUBcGe8ZB3b2imWDeV3WgAWQLL5R4tvuEOvp5g7FmnQVRSQuCdQZS6M+5wfQLBugu0wCenRZozFglqFiF0n4RhgJ+EDKQQQ0rnkWGl9nDihfOOiUIk6I9+SSTlNmdM0DQcVKUqlGTbB9S4Zf0dj5xXeoI0xitUOjWaU+JpEW5xbkNqFPmamW8e3u4ySVxcICFyhPKRxFIYC/nxE6i+fdfEO4dEwg00H7Fv3V6I9trGw5ulaUJ+VcswdkkLv95rrb3buE632PSzjsPftb9F51d+BgK6yL9UOtum1oMf2Ujyn//vvEX63gen/vbeD+chOQgkXvwXKNQfiF5mBBZV0QNnUdhdU8CoPcfUfubRMFyYmejFr1Ayt+Rzl6kLx9l9X6FvsHBHxe+Mwy0ewiu0LPzzul2JwliZ+8Z4mwF3Vm+9HWd3zmarEWk+TMk6OlbEg1jiEL7kKFrHDSvIDec/EcDKjjK4S4E7QHFqWl+OoAnQItxeIRWqSipElIn74n5d/hPpiy+DZhHIPqDkcUwzjPwKU01MWbOclIkQbav3GJ1JEidVoYwPgzJyGdLhZlYkN52iB/FOFWRGwGErSU/8XEe3qnfDNg62o86RaJMdDQcgzeUqSosyMrypFZjTg7Ec2QnuS8Z9+SPhEX1hhVr7sBg4IVpnYXqV1+J8ZUfKxKNwUAnON5dUQo+8/ASa6ofuwGSR+hx9pcvvWBLd1Z45VZvs6vI5/XYXbYR8Ek0FvfQo9bmvCEmbfNnxKYs6RG9Fhg9fz214sgraTF9R94F7aF5icxspRejdisLabMRsnWZ+Q2Za5RteGrcTuF259SCKOMsApgHV9xCjLEUA9NcIHJ5ESo/u/zmKmhRm79+6Tc30xpWsqV52ICujW2FL9oWL7OCWg+mV3ZMAcmF/leCb2Vq3q3Q7T/oRR2okaSiWgs7Ucxx66xuTjKkXTjIp3e1zo6GN91+n9+/KRZ5BH+Mt8NABTgWirf+wLbW/OMTqjkXpTShX+nuoag84fhxwhx+l5sOMpJ49DW/g3jxH8H/7fLH+86iwVc2pLt9MMhTL4i39DJYexJS2LlbXNmnrKO4zhKoNzKAAbMgLWHCnXYLVz8k2FxkYV+OX5T1F3v5cb8tgxt+cQVOmxM9rT/TAKwsUlg0vgWEkclcuqBkr6wU40fR40JUshewQexfDpTgGpV8hZalZ7oMAx8N2/zaetRotixUbbmB1SVxLoLr/y5f1OrbPEkYQ0skRVm9fLex+jZqyxIbP6zK5yk0ZNLk8K2FEY4uKu4l5BwuQYRDDFBpQYJZ4cGWhUaTNcWl0f8uMvVXYZ+Vio95mPveer3R9CifGyw6s6d74s9c4VWOJK4LRVHf6lU8v/J3IBx5zX5Z0ybwSOpiFQo6+Z1OFiI0XYD1WDvrwgBKyI2KeFrTRxnmRZeuuPHE1fer3EEM9kfMiw9di1sVtUTBjFzrZCijvoT7p2nDVsgmt2LdO5r2FXsA6R8ksw8H7TcexvZ0AQFDo9R23UiCsXzzYKHdHsV2Lh6ItX4SQPeA5OEVSCs/x7wjcHosWKZhajeBy1reB9EUCZhGQetp8hkoR0vAhjaPO612rPltsicPgC69TB/E1qvGgS/uBKpe4wBUbWz5wVhKYHO6vt23Mh64PEqr6ij1L38E2oxKGAARXEIhQLmK/zPwFVVWYKfHbxC+UNFRSt7HbD4t3V1I8akvkySkb/v7MScHKPpm+thhmLKjRXLHCo9WdNUnm7v9jDujELTtBdaZtenPIMfRUEA399/0P/YBwuGFCl9cpq+hBKYH12YT1ltkr7DTV2JZkiBYRuan5NW9UPzhdJC2waiAiWevNc2iux1h2Mpbm2ukR+gmMu1EAlPKvvPkNqfhIuYDpNOqewdgA8uCDOiw/nDc7lf3PK+APAZKRth0qvFckQPN2AVNXK9SJWfNa5UmGK6J3HKaSbl5MzPiy5yxXCZYnrBoauA0zWQ8GhfQIi/jW0qO2/dc8v3YLQBDTjFfaPyvF6zO5hNe0DbBkO9akKXLr4VB7XV45kfdwXowHnMNfBVB9jjw1gtINvekLdwR344au45ZSsbc0CimNAUQjgsOkvfk33VidSE57H0+grajwSAI1enSbO4SEUiFZhjsSYmKFqAHPUy2k1uEceKibOTLOZtsqt7nVl2L6vKO4v5ZgjP+aku3GtLu6g05HgJwW08xHBkyVck1jbJQV4Ypp66S6UClwnTzMox0iChlQX5loef3Jps3SKav9lFo/OlTEJif23AAfn7AVEUDjvnSUI37a6m+ItWdgV3Ckf2GCbbmjBt/5MF1lAFS3xxQmfL1QXIP9SMEcTgLeLGXBrOpVGLCZyLAEIvvatUbb1jM46c8VcAalpihnTuLh7cFphYlZ8S/xd4JsG5mHlHuMrgiN8HS0Z2cptbxa2146Dgqb7xM8MRZcUDVRSqRzkrnjnmbutTA5nW5YXCFJXOhYGiVsD+CZs7rc69HuOfcQFc2d5zrKUDPQluvTLeTHxftequrm8BiXO5aG/TBOdUAnruyt9Go4SbCeXwb8FsR1EkCgJN5p1ZcmymkLDk9rlBhK4H5sCaoJnxJOzKIdzARbAygsA2OH5f8tD7ueXXbh2pIaYM+hNm+ZA/dvSjYZ2snb3s/TMPOM+UiJHeu2WXiOYOIrNv3D8gFNww3NFqYx4ovXVQbFGrOx5BJsdDdd2DMVsh5MYr0wGuvpaNGx3QVpeAoCBEPV5Gd94oVKWMvXyZ1pqtEzO72SCyDwvImcmxli/txjSeBsdL2DscBpglH77JBlf5y6fmFJBlCybc8u0+rNwgYl7UL/lKNmkC18uWzxHbocn2nqSAZLDZVBDS0XmxS3OROC4ENCjSvFtDkTrkmewVU/vyKKwe6sfhN4sWtR5iU9swSZxoaELTPqvpSLbrXu+A1kEMB4rTwfNZZ23HjOnmymPH/i/oWQX46FTgXCm6O1PTJsP76B5/+IK8VEuz6QzphMN+X82OjcutZS3G3cNmm6XCWfcvceSHdUFTyIsF975EjSDQUczGcvwLqxwVMm2XyqhZJPIj/vCtC7IS9mbEu2xKF4glff5PfLAh+ga36azQ6qn8CZBCJwy0sKu6ZsRf9Jvoh8+zbXQ8QrNj5255yel0cWtN8BNpmj2ZO+m+F+IsRekl4kaxQ2/mQvdboXKs0Tm0efKslWn8uAW4WgZUspjJ5lwEpF63z6qfU+ver7RZ6tPEfbSvzvu2hbwnPq53OG+3cpgYlDb05AOGMI2mYnKZqIexJepg/RpzgELKBftD9kO5u/99kgbMTD2a+OnaSa7hqLW5HZmFI/h3FmCr+UO7gb+fNy40NxhQld6fWxKcjoPsQD+dk5bIWZC0AAbLQ1HOhMJa6jvsZQoHCswEYw0mBXAUGkIHHd/Q3GjksM1uv9iLS7fe/KoVoVf3SmNQqg5KcGnllvvJa10wGDKiIpWXssUYo50des12VENlWFJ92z4raY6vh8HFlztHYF5HRGXIgZkV/Z/pPgLY+p+b8TVX9fDwsGRhoSpbzzbD+OfSzonLizzv+MXr5RCbtANCBPzdR2JY3VtxKjZs9I/YBRIv3qgwzcbeitzXdTrl9Tww1EXwcU3nhWGxfqRhRGiKHS7aP6MRPBFzimqVCDbXCbrLBbgwWltiPuJI5a8vdVgjEoR0NpVib4sqYeAx9pGSDnVFX7iBdCJR7dmrQYQ1kwzfIH0QdYgdfFXnLjom8GwK/H4b4RAvVtcXaujymCuadaS1kYOkjBzuswncKKVfD6LvA558QkTgQcZvAiaa5b6LepQY01VIvF4HAitwfTu7LhqnJNWpUvYxNYwz6Z2JDexV3iTAB5Jqno8EpFy5gEM+7tFQ1daLtf2bmB7++eJh+oCGD9I78qNV1ApcAw+HgSl6Ngtnu3zuUh26hEVxxhf7feVgn+aUTD6prn0eQaqHenp7eedVwDH/+WRcECb9R7ch4jd2K+Icar6zBFFu51sl85uu7r9FJrTkzoIkLGXZMhej0QoFQPJ/tzQ9GhYaASVCuxY7/YwGtp6jozTtlCxxiMjLS1fkBlHL26xIaYUwqaizTwCEcCoeI77SOvoRSSVTxuAoRIsI0Y1RVc1B4tcReXJvb6FhIOUl1exuyw2cgah/WGdsKxCXsj5Pn6ItvtOEd/wgBVSPwaQmsq/6M6f/DuDUSidW9E48uyvEmlLkwupuXRjouOBj5wWPF/bjWV9q1tBT1L68Aw8proWo9LjoBY6tRo0Msdew5a1bjKZOOb0/lk3fXqLJE80Oisw5F1d9HorGvMcqe+8bGpU3QirwDpx0JSpLZ9pVXtDwwhwqBV+7MO7bIS8rVDWlpJEhSDA6Kn2oCDVz1rsQ6xXPUEF7OE3tOXqSwvXn59Zer5gh6yZFdz0z6xKJFAF5jV7CJ5dUQlC//CHQsaimCNK5T4RTwllVTYUTMXZywnQNCQPIT2yYvIRIqfUZQ2mM6wIIs6oWReiujKLzzo5hEjn03LgK9t+CEQpYYt78XkYVw6YiLLvrok10y1tGJLQl5QGeXTAQZV7Fgk6DmtasIlLkguZirbN/J9pLzENrn1lRldJHcI/1RbtU2KYGEGfUjn687jR1KJd/M2i9f9x7sthPO4BTtDbwn2+jS+JfyvF7Fjt4en8TCentp5zNyYHpdbZb9huu9/UYsOWhWDVUcwHRoirOANC3NdkgNIvvSkHeX91l+Ea+7d+jnc9KF1Om2VL35scu2SPAWFFhcvm4Hw/NzjZRG4/dP9o/aXwwoJBYeomqzCGK5wiMNWftSkp9rKQ7jPVjj+anIUeevCfq4r+iN/OE1mzSgWJAGuFju6tp8lGV75go+RkEoi2xBow0v27ryIQDDCU8ouYeFjqFkmV2+mHAYAL05w8Gb5TtDS9UaKeoiAQsmV/6iMhU3p8CMAnps03ZiHj8y04bPdy1PaRKJoRDWwu7cDNU14swXIGi6D5ABtX6lF2BF5lQAvlQEs1okpzFcca33waE6warSqEbSSjIao9o7ZJXatjNMQq2JylWiX1Hu6ZXOAbReuBKT5jRd/0FLTV3S3nMk4v4qilDk6FpkYwQJbwUezMhB5FkjhqQVFPPs6e6Q8OjvUwzezn95mxiatXpc1QopZiP7eV9Sh4jtccSaqbOuZ1Ix/yNr6QbYG8hONFyooXw3vldZwnkA85ezy5pOI89mJLW4ggxw9z1QaMwaGiEGS00SGWUiFm4nKMsjm0Wlg/7Rsxf1untA6wvh0EhD8B2mRIRxy56gkyMJXzy8v01F2eg73M1aqjBrJyKFeNM0rPwy8YB0U3bOfx8UMPGUxLYz5LuW6WEtd9dGnSkp1zF+f1MrULMfBbeemrmDnC5fuyySf5EmLosWwCVKJwlanXQ2FY2yeaiMJQ9I8b0OxVAvlMPzEQ4uHXI3cDBGtMu2urgs88hLqcFNzuuojHKNnBat4hDet+VcclWIzDH6S1EGJL/pNUngXB+qZkw8eSWSE1Q7L5Iac52O/+VRbFXpw7YrbypQ39pF6kNF8+zoXLLG9I3KnTSt5CjSnsJ2l9tqoJtc0lQzRRnic3ZgNAvRb/3+37u0RLLrLxUUPXscOW2i7weXBlC5GQmR9sOuEBVos3Y8ZS+t197ffmxPaXlFlxcJIS4gfr4vEltjgqpgrptkVZFd5mv3PZDxUs3nJZB0aNqpuZnGSwRydysrS9RS7T+lu+cJLVfauzu5i8P2aK+1suWCJJC+gMz1PHlxxoEktkrSjMlH9Yx4+qM+DC4WOZySZ7CUJNlZ3KZ6WyFG+fzfvZ/+dwQU0jZpTz8Ebhb4eH3P2e0qUJXmzvPT3MsYWZee2nm5XdMa7yLuBxBDzDYCwPy1YgO4tcTBCc+33tG/zTlG0AOqr/TxXPcJbZKARdbjADA0PkvT7gnHyiFieNeyX335sFzDaEURRNrpU049CMHEHKmiDB+fkzr/qFkpoZFRoKMyER1C7sI1xtVECnJitW3l8OR+harODbIncS9lVMuH4WiUChqO+cl81rPXVvNU9qbPardHEQSN44D3MO+PvF7bhQHuYjzF2kkRpxVGWxOdzttwV+rLb+MJ5aD1MWnAUdkHosHGjZPMmfFl2MQ7GJDHm7afV+xHFYaXEWYnvGKcIBC9i0jsy/Gc6n2pukH/GJ4fJHxzFenHbn0exJ9Ax203Srd+EvMEzJq+t2oXTZQgKCMjPlozRHnJRPL5vSqB+2EAYQyh90r4Y19hEFMYyNvkVHsjmigI3a/SdZ+ADJh7kU4cRdr+VfPALVd5j4SA7DF+vlEtEJxFNz9E5nnxx88VnVdrV2mCMgQttQXQml3f7U7x1WD5KnlDiY21ztP0Q7CIo751/S7p8fgFaidu//fXYaETrIJPI4zeKw4CKr9Rnep/FZ8ziS55rzIt3IIixK8b8V+weD5DUFOCXnHqQn8VFKjElt4d9FnbRsUSmVvTAvInZ10qyiJU3V3pmWOFJ2vrU/Q9GIaZ5/cBFwXJHByQlWdyT7RbhVI2aXJ8TwTrpGYeEeAoHNUIYUAZYQV7J3Pm+W/C0BgDlPlk67lDu4+8VCkrPtZ1795SAuxIoQNovGFbDrTQ9oFppfyezas4/okuF+/axBG7RuS0jjhA0uA7dUJv9W0phkl/EfBbDbAWKVUMKCbzW4AyHL+Z4CWGbtt2rLCE8I5ep1w/ttdbAJ7D5hO51DfcV7FHsHxacz5QSqqDhJ4B4YuTTdnxkvIDKmzOlAybfu88ru0S06Wf32UZyeDmcM0vagaPwprVi5Qgl1USmzupLNGUrwpQC9fcP9T+N6+CVaNX/wE/T31yr1SuOEVClGI/v9V/nzwp3SnntsXDsZNAQlNabcCn/KYZvK5w8GHlqdxyB/8orhvI+IZhFyOIrTPNsWCi9KcTfg3fWtSsl+FGG+b47rmcV/vNgZn6HHCqayjtF0Ly8C305NVQ/GKkkCbbR+UUUjObTqy2W+zM/KTeMXVOVQ2Y9utbjMRGYyXC2ysLT804+maBw5XXuT/sRFzANJNy73kDm/cOFuO5n1phNtIV8DvDbNPHiPZ+gyL7PBziVQnf+TxPaXU1GGKhvuYxgQoSSE35om5fwmetvbuxo1U3SNuWd3PSksGJ4FrU/Hw+pdAASqKdmKXhVdS9JJZtbHojoJroUrjiFaoI30hZSAshY3NkHlUo1preKPedF3eE+dgJPIdTL+gET0wzSoQpmFZMJgf0SO97h7Pp74NymfyBBXw/bps9x8muPpQ6iUtzXw/IRhMzzisd9H4ymk6cUC3W56yci6+n6nBTAASfO0UqN9DzdzF6AEay1CQhn4ZuSlOQaXt6p7kwiIzyfBYmxuNDPB9kcD07D/DXH/Ddeug4+89gIPTJyAHIKS0ZTXcbEmtQNXkuTD5WEURkY3rwC0JnHqnHMUSNEHc6Q5uPD1DjoLK+3mmGXtqszHGGGMOhRFt4vDoA5Wi7KIRSYExRkVvg2w0c/tVU8iZ5Qk2F8Kci0UjR8Qz9bmHOb65e3sOhEG00BQINTsy2KfjQe32IemNbpIhEdnaZLzj6H0g2CKTTT37SPquJldip98X89S6LEMjwGLWyBLGWNUExkAxL2/5M9YX0wGNbDnMd031I5h5VhjQlAe+aS3uYc+mz0qfahUVo9mRiw198jQ/LGh89/U5PkTyemhXtxZmYWUzLKngEMB4rGDwQcYOUd2dj9C3p8c3TtE5Duc3TQwlOHDeWleH1N6qbEKJoHtwTlv7zpw+Gq3QOsLBuJ2jvjnI/iZUI/1qk2Ty5zOrxiygluzmejzB1wPMVNxxdgn66XayLu7QePhORoWVnNwl840geHgwlz5rn8Cr+1A4ESg85Asy2z5POmI9QFuCaJdcd00yiHyatqboIA6ZU7BZclmjhh6ud+QQdlvOuSR8L//Pp+VaGQwJnGwOzJ3IwA5+xFabeMii4bKPtUO2b9UgkhVAdc0LEMi3+oSKXxNgxkOJMuR8Br5Hj5yAHVPLp/QHIyOtu6JphwW4PbqWZdPXcBkabMp3npHNqnr5pTwjuIb68RVs+4OXDLQbFnH2OoiWm3C0LUczMxR/rDsMMaMR5JJ3JVWOE8+u4wTY7bPI3wNxCQju1XHcnUT8I1YwuondNR388JMMpobk0nac/v/J6DaI7d86pLqEQZm7AJBhF5dEY2L8epy6pPZ4qb8FKy73Azxe7IVNnm0b6Ic0X/WJa53ZtTIqXpZr4GCBmmtr7EsZzfrns+DSsAOimFLEhIP+B1plkvzgVkHipbQEprtZ9oaqtRmhiCOmyyDnC2BY1MBPGDgg7z9TTOfUCcCXZSkg3Vz14WdNo3n/uotuJxA6hMp6VBfuHIfJtBrdsaXbyiA8M5kCg3QwLU3ObobrvEO73l4RnCsgVdSW4fdPIWPcLXbxgTY9T6c1MAdGQzucDph5oy2Ns3L9GwAI5a4X/50lKLE+eWJHizreezLYegZYh0D3ReaiFRMiQY73zCjxxSAt00H7GpBLLc1SxBw3Y//j/PXmFPT1i6hzKpidteVnuqFO5grRhL5tpj8lEG4xA5EIJjzbE5D/jrAsPt17g5sLDsW0qMOp4N1rBQQZsiMCOVwjnZRFIZBWcDTrmA9dveZONK+JeEmq+itSKOXh3QFWZZbdwAboUxr0AmeT/KG5Kiul5iO4v4uMn/RAzuO9Pv3LkIZ9t9utYkiRVXPC32LhgcgqoHXVXMim2LbuP3dQrfMR7zZygqQJch1gutWG9vmyk5Jj4QJzdIO4cvRbGgzB2uRtwcS7+vHXpvWJukCxHKE1WvNHlMHhmichPmcEieMNlDhVh5lHBYLZIfnOFhvxY/BrkNl5Ev7yEx84i1Xq8DeNdcsER5Hxn1+GI9lLT3gSeP/rwtWOShG/hNg9VNqAAv9HkocC17w8rXjJOE1C6JN7X+dbvbwSOT345FAbxxBok9vSJhPmgqkZKVOq4HjwD9JJtWL9YfLGnTIrQBNhy0Ui7ZjwE9lJPauxawzT3VaL5RqMKk5BvBDxmSa9saG59kAmB9dRvJAou+dNjYqU4sfWDSqakSX/aSJB9gc9tVSLz98f6rY1Ug68e+11MnHu7d1Xeb6uGba9I5iU1H/OauF0trGZNVJannMpR8sqmxD0rKSxOWYVRfpjcsbtu8ACJG74Iv4IXd2Y3DBbCxb2/0E0d0SrZh1FOukcllZqTS5f9M02F8K6Dg0K70Ix2dk6pqVDoV6mKdtGMlDaLhE0EAeTfubwh9s6d6MVhiC5fPOb0fOnbxLraFOelj5NnlOn9GolMM87rBp6vHN5awDtngmhYK3XfacS7xd0pwLit0Ac4DqdWdDZlBEnfgK5A3clk/ND6Zbi3UUaPDGKFFfzWmyQOFg4uF6euKy9CJU2lC+lHkj8TiXFzvr4mSzH0OnFBEluhFFkofLX+0zvS3yZ/LOUa5R97AqyhNBD8OC9x1M0vvYR5pYEiMoHo5kuEG68RlxkoNESnBEi6hnU86PIb4bjx665tzjAgrhSE05AEyXVNBwT1UURehVKJpBekTANMDuPwtpUX6V8y1lsBVjKWdVWGVcnXZJWVRD/DQBukExmMIly08jw1qGW+lXh3VwH8DNAKbQSC/CjuWaAMogCF9AhqlUmSnqiyRYAHhZHNHcZUNw0VY2ZRXYRhuGLDZ1bEtSBCr3b6g+YCWuX3Idb9WfR6NhTOo6F4SBtuyE61zk1zGDtjgXLAxcw1mdOcEr3i6004hR2VupSI++ptnFOHSJNK+IjpixM33BKOdfwPLRnvrRmghYby56ZnbWg1p4Iu57+g4Z867JLv7ybxtIraz+d4BMO7WDQz9UpUo+eZHsQfX8Bfg9ynwAtTjq6FVIcFoTBvcF2amQSKCcPMWDr3CMSuY/xEs+t2udByAizeXuWBtJkfEKgb5jdWto805g0SBZhGBCTLvK4cCHjkNC2p28Hhs8b24hANATywgwRruuF1WP6v1U4pLjEqI/o/Pld/0dJTQoULhEDkW2/LOTKbXB0Q2jq7cFzIP2rWVaCaLw6QsnZyPzxC1C0uBVMq6jZv/IVT4GwMbRzT3z2tlvbdTotKtny7Qkjlht4kUZKe4Fq74tLlPRnZ8Et9Ys9VAQ/1M678mj6zXD5jqhD6sjhKQeGOk2VXL+PUmdgCx+aFFPJILWgDcjjSse3L8fC7sDmwKopvwgwZ6NDh/fmKmYy0cTBY++aqgMyLS9nHt4U23Gf2BN/U9pnGIMCC8pZUMi7lFABQ8qc7QvOQdiculdyYd9rH/FLyiANho5xo3w3ravHnIX9193FrqvPAhA+ywSQQ0iQNoOqUBSmAs7Bp8r6jsN9/mOc/Ciq+aLFY6fMojaBo3n1+IdE2N8Pa3Xd5qs8Q0EoLJRTg072LcymbOJJzxmINCluz0JbKQ84Faw/Ysia/pJxvm8mQzMRDwdB+gpU3sIeoqMD4v/x3yS1hNNkxV6a0wW1pb5dAKF4F66X5VuSpUDldxLF4AXnqjZQUgOsV6kuUTcbTiYV7BJrY0b2sp3pFn3ef/2ZRwNtbDBW2nHbKYNsJpSSPBRQtAwSGZr0WH0tbNifjbYN83ougUqa+vMa2h1knI5dJ0WcMkSUjHItHZFucopizNgxeZZekmZnC4DKkPTeeCTWE/sUIwl799d6xBu5VCH1/fzC/QdOeiW/S5OzdSnMdW8mctM7u6y5SnPSeH2TvIR9kxd2lCHT5IvSuqVlZFUSSBkmEccaX0B5vClRKZdIhj3pQ9L4h5+kO1a+QV4TqrljndSxjpW7H9S9ORMLlTAReOIXK8mrZoZi8jlIwTRCtJpbFzN+8DScvszyW00Ixe1uaDLQYVQ3+Prvmns8GbMQ/KLkVJywl+2VOSWrwyCW765fWP+XiIrmNhsJY+YTtN/MJkA+XUUu4rQQA/P0Kezm92EEVlR8OjOeFGHH9lFWkGrdaCDjUk+5TXXwKlT7nG/akaZiue1pjJjnHijBxr1covBGf7LLUnFgDzXO9OCT5UPDk8h9G+EyJR+d/tSfLCRdQSLiXxB38zwhmNKHChASYymMFSetjPPSyfahYCFjuiyOgMUAZQJ/2HeYkN9s7+ELNpd8Ln3QsRIdYvqGG8jgZKyDrnKmKk4lbIUkfxTiVnNRGSM6aPA3mfPDmBuP7+eM4Tv5kDYLY0VGo9ifRXg3qcZGfj+MiZTzMWK/l+xR+9wzxJTS1smNmzGsgi39QmKyvElt8OXH50n3Fo8KSXjg0hPQ8aLCuNcCPyzoh2GvGjzhoQMhXqM/4oxhoXw1McMOIR28/sQymrM7NGKItiUB8cG8wWPCWO1NRfw8VCEI6EdOW/g7yWSnCyKTyMBPmrgmpTw8/MzeJzhRzTw1p76ANDSMK3ng4vXKuhfV6NY1WHw/t3n5uctJuzVQvVNReAfBA/RuBpHM/HEk7z+W/NKN9BV1dwELFD6G9k3hxUxWZDvYfpEwlh9lVIgedHFW4DC30l74tXH3JALT6PsKCfjkP3McUu8PvAGe06m0cRJB0JPwxOFd1hWaW+T0qygnuXtgZaL2D8uuvnjT3NMG0bxJwtjkDBDTC8a7a4SRlnqUPJJ1+tT4FHwGC2jvxnuOsqDBkMmXCcDtTQXjeb7pj252FxixGUcIqOV7lRB2yvXYETfgyIWkTA+aV5ea/BPIA6yCT+oTD5jwNcp275lEkkGi20FiBLjIJTQwcEqENk0eDOEQzOfy8jCpwoXV5qdHWwzmNMKtrCeszlZf789ZMS3JeeqruR0qkK/GOkUnpHE/kqskbta1T3YL+SREAXCVQVzpN/O04jtsgRSmyavMpoBylWKskogjSMzfygRUGhJ0zL5A7mvx4IMAus6srjmgajJM19mcbtGxUOTOKttteLTEjLO+RbacreVaFTjIePNMC/Eys0DoMxCsNfKullHGwx9cA7mlm0flsR/s3xB7epqMu7ZE6ADDkg0P5GBeZJoOgh/HF03mkrH/vmyBdIoX2/45O7HquEsZqXuGMaQgcOqtpKLPJ9PL9FGQtJ4G5kYJvdXyWPe85thY67YH3jUBQFklcTzLk4VJITxVZ8x1TNU462OpK+wTktIuwMsjX+LUz/Zazoi69KiIhe8vLrgz3D7mtBQBWDHHNu+mi7Txmia1e+/D6aZRkWqX2XvgWYdYF3sKObgUaYkOXwiSkkiMYd7yR7oX+tbMC9va5vDnU+EI5nmXnjrij5AXBKpUiJjtrQuEqVzdHYnxVNXACmQk9mRz03nRnqM+UXyI09ZytxVBNGvKh626+7tSxyyYQTS/9TI/s7deqSeBToT4kIFr7hoO//+qbXpSF97LXI4ApfB0N6TGNNJwCyER/iNc7wR/vGk7vsc9RhxUn4pLweS+XFz66RR+rBBoT31DfHczD5NX6xrN8XRpcU9hebQrvSmdUdLms/edGZkli52iSMr+SzvTjozz2Hipzm1QAQ4TRQCCJv2Ndcbam/H9+C3+EjhiNGDEvCcPn/V1emy/1NWfFT01mhlCa1E79Z2RjMWDEkOJsU5yvuSt469LPYFWPnqk9XpdbbQWD1clnONHDjxihXqT8Ea7y+3lboeODnfl47B3ju+NSuZnwYK18TlBVFVvi8RQQrOaRRFgiN5CyZbWYb/uSoKPFUpxaGZnSlh1WjBZN2s6iWIg0yf5cj2AmnwusBPh9uEr7S9joC9eohcSTjWjuda/D9gCWsIf8UBiC6YIFjMuLnWYT4QzRXgDWQnVcS72bmO70ZX4zelai9Kl+LOFssxsrNKB36b3jwaq9b8L0hjVg1KLtsC1rkkmuoNERtn4/O3mD117EqtLR3OjW0VL3le8lIw/koOBw4ZcnuWBW3IHiXBKlrz1k4rpeL6TZRmj3LTDpYfI7iwEdHQE1SaQjLlqVJwDH1zvZBN4kSfHnKj72tRVYBq3tGPAc0ObtNv6urwQL65/6jq//fzIFjstl4uUDrl2tvlx5Of8WwdybziLKAPBOgIkleZSM80mmBA16vkmPHQG8jqIukMd2EtrFgoWHK2Iubd4tyoiHKwpvv7i84ChOmxNUXNRsn76qoeo7+w8Lv9Xq8C01Ed/6zWyKNOcbvQidaHwefkrE4jT2J10sCKtd4Fb8g3wjfgX9YSInh9fQ7Tr+j3RKpKo/1IIFlYDMLI2dZt5OIkfJUsGd6O7d1e9RJpI4egM6CKMxG9Gw2ccQbY5StU81gwqxufCh+J/evh5ilSVzRvEB259c760tUy4Nynyc0Hsbpjl7MTm31y//8JeJiwtaSBZZ63Kl7vtK4UCm4IF1GNv1LBv7Mq61cSX1KgmyeGcGBrxatVqHbHDO+hscRoxgFY0L7zKbKHddqqQfXJRKdokMlIFqOpUfJ5Blpx6oB6TUadDVR7jv5Cl9P8cp6SW4649LshOltigZnW14NuTQU9ARQSBxBhYTsO2hKumIzprU22uAPCCkQtvRcweWDtMGGjszzJRPD8ZMxTF6BK0RidIn1Ll0JKOIvRaGX9v4YCfG+/LtyKKxX0qs6bYRcyFaYTPubekviyvHGgxy3RIwReaxzk/9eAzZVKd8+VyruhAUtK6+AkhuNvdulB9WwncEHTEvG1Z3Xf4pZeba3rk58DXHhci7mp80Awc7hvwJJ9z1PGGg3HwfdhKpmIvZoeefspW152DM2hOqujBmKVMOvmOvbBTshG5Yzs64c0pqy6ObvY/7v+IIfwcamVR+7GYO4CMuV2qXrjYMsBXNfnlRof0SDLkwiuDU9WiHeqTK0pyjzwqcC65GHNdg4otjFhz/C46cEHE1ZV9UTZ4GK+NieLL5CPCFwbPWaq9n6cMZm8+l1kTpCAqOAUXhjF6sjNmugEmPr7dsoE8D3RXf/PvDPkWB4mCs94a2Yzi0GC4FW0Bt6eLkWq0cwEpQOTPjL4jWG/yd5uvFueorlXd+Kk3f1WVvrzX6AE5B4uCv6YldGnjPtpGyyBwRcQzhfJ7AYUZbGqSt12wc4yxCThDWen8heLiweGuA3yEn0P/KTC+G1iaJ0Tbhdqf3Plwwokk8MJEno4ymbGv2mTSLiyLBx4AUAWDrooMUhLHqVGRG46tZLzjFpuV7/Z1g2k4qadTyKF132Q5+p5F8k5JNQLFyzhM9RcacwcbbgxQG/a2C3IHkb8WBvW+OHHRxt9Pnh1ahLUPEjIcDhKzGgH8pg28rkp2pvlDwfblrmJ1tUvY9sDH4BmK3PJj+ro1FnH/ZfaTg0fo4Zah1ottkqVOjR38am7JTr24zwN8AlskPvWHRGFhGGFyRLJfOkTHozKgZGOwvZXhaotCz2pS3BO2X1uF5bbcoiXRajCJ07oPiTSZ7uuU8vhiqCC97WIR90bCsbMFHYcLakeRAVO5VL0BT7nb8kpHX3I0l4Eu61OgP2xjoBS4dBttG0oycyD7Ulbp6dycwxTrV48eWX6fU1Y+9XnK8VVlUUSuEjvuylaIzoBqouK8ybAnoVNPhR6703CEqh8xgrIR8CmKQ7kaheBUxgKpFNO0/1tZuzeUAz++vi1pGOroRK/fERb7CNh2uXQVIdWuysALky/dlW7aX15UWKs2JLZtJTxvM/v7oiMKqgrE6kcUujOhteW9f6R7SxpnmY8Lu1x5P59rwmxHXl8LrR7R2zCJWpfuox/3PeXzIRul6PhO+ib3yATP0kERmKrm2d4bgTqtgnhUD5pfzqg50zrBYRe7Iv0shqnrzc4xSfsV2Yy7SZJthHa+LblZTSgkml/K5txbeT5TWIWzMhUCPAyplY0jETIWkF7e9J/uoPfEwaZ/GFDhDCr4vaykcNx9Drpi2M6c9blk823gs7qCuBmps2t+BikS0K4r7uB3Yye4WTTlFfkqvndmDhkP5sjiYCwsJamYa5hwB135W+2AB3H9vihOeCVH/bfb95AjuIUnXWX84PLLvJO/eKCaiOY4A3iqY3JV1RvcrJtQG5HNr40EWvq1XuqAqQb7JIztc44uXG1nvsHnNZd/JD8bk6AvP13KoHgkM98ZarLRYjxmrF7CQroKwyEkhPsGK0idESHR8HpaLlE4cmysjowVPbyzNNVapI+p+YBmTIeYHCvA+wOvcws2QnOhHIUz8P1Slv3mzsliXPVX4e+xPibcrh63pIJchoFhBgGB77bOjUYgzZTn3aes1kkpPUDmZPE0TK7Pkeo3q1BaJci4uNDzz4nMy4ZVk8IDTb0ci+w0606CsNkmuRqQpohIO5W2+R3TREu2GX8dxOTOYeTswxuZS6Nv4bgDVXO8VOeaA82OHnLE7P2QJKF/vvrh721swR6LYtgeF2TaFaCFiFLB6Z/oBHxF83lzCbdJtZx8/sNdy007vN/oMjMiSiBLIzUoNzEDxaIQbe/9uYeuufqY4bnk+evIdAcVUE/ofOfBePRxjkSPAVFG7t9fdd3rqFq2S1Auubcac6gn4LI8Vyf1nViZUOND8hVjsLaxVGX358XW0cZ/bO847/l8Iy1SK+HK3GrhnkevXWMkFSnQE0VodOU1vCIxr2XVfyT0mYWS4ragl5hE06Qv0kHfVF16lcBVO1oL1gpsqG4TQYsOBgr6gAM4QjMzk8Xgy22UKBcjkkaVd59rA/XDysqXdIRQUiZfbQ18eq2rT1ep2lJZutoUIY2uw0HwRdXQALITWMbbUcn/YqXl6iDZStBuCJM0zrRWmw/NjWm4plyVd2o9oNYPFGXbKaB0XBKGWDS3HkP9DNg3khc3cr2iKGLb5RZmY9Wz3JYhUBolhG8CqZuPswV9fpkdZAgL4FizGL5+rdmmEERy/OLrMTokeJp2yq/ht9BP++oaOrUQWI9pgxZ10LB5VA3L22Iik/vmDOJZ/ToMQ1OFmBmZ539wRqWkMPSJYaffnsxkhfxIzvg3Wi0MKtLqFyHjuSathN+hTafCaIZO9kiyqAaDp8l6xA6ifJC1l6C0UNKIZQciQpKlmbq8/cn8KkeoRMYf+oPrwqLWIGK6adebkI89PZ49nuOQCosB9xP+J1veAMW0DvvgbYqXXryLS1Eg/1DRUljAOu8uH7zoIxvTKWJXRqKtJx1rlIhFC9vZ1BCZPOXo1vY87sS42AlTHBil6Kr9bj/VJ2J9gr77AoQc9RSuwELsi9pufYBed3xJ4hCZ9nKUQczsWxWvPsmszJ4qCpD4qRk2eFvWy9sIVV7lGb0WESdX1jO8CuGnQU5m9xf512RwK80839qQY1ZJaAMWGL/zE89R9sKck3kI8aZKkVhzSYC26HAvbsx0bEW06FddVB80jfQ8g2h+Q427rps+5RayUisW9VNQylHhyiKuaJlGmppiki2XR8Xj73aN1FUM7wK36k61RyBe14ygLVQLvsbzn8Cn3CvA4pEQJ3AkJR5QD1xYyNZR4cfQnMENROTGeV9cfKLqi1/RN0SE2xvZYJEwzonOAeyLsvp2U/qMnJTa/sbYaVIOZe/mXjlVi9dQb5Qci4CzbOElkCsZKa4aQHXLGP9nwQiwtUXLzWh7hFDZcFKF5hk8W44ObLcvVtZNCDHsiV2Xez59PGItQsLHR3jnF/5a2wa9ml9IcV9+laklhZ4iOZlN5a6GyhLHyszLZgi5IagjXwJejyArRnL+sEdNE997+z9jT2mPuOjbb476IgqcWGtVo8YWoALbw4K0S4ASJcj/w94isOcAtAOGAPjJBICbpyqDD6WRxV4GqMxBE/GQO8r5X+FJPGHV9oJgYVd0N4lQvYlb+yuHKYZ6Q+QA7FLSvew9P/HayTT8OiIApj1skhoM4VCe/lZbe3OvU7vVv0Y4lZKcJwhrHvdXwRobBaLVwv9FdETuONuvJ5lYXw3Pafc0xWVJP+JeM87b0tFk9H20t/gaLAxM1XwkB7xW5aMhoUsYydrs/oEucbv0iTRTgbhrVO3avRNPpF4mFhDpJpMMsrenr/13tj4EeclD+JUcQMD5zMSbiom1XOypED+Sk5zhvcTXg/cfXZAySsGHOFcE2NXEBB/GBF1X0GIdxcjI4kbaduvhIYDYYV6BaWhV9WtGzE00LtnmQ3ja++RcU1ZL9eD8bJh5cqnGUWwxyhx3IfHemeHlHUjVvjH8rRu9qPEN0M0V7Dxq4vyrPmJrDYE8teFxYqMKPz8bbPRvA+voTl+5Oks7TgDmZcCKsHahQBwAfOlh3vKjkNciq7jiWpwFRE6ZTYUThTdh5AGYurQEMldfac2YP+1uL23WaX1782kOi1X3cmA+uKpHvVlP3hDhcmCd47aAv+H8ZNFdcFzbnuP6JjuBioUh9UC7Q4sHk9YVvIoe0wHRPx24kQjn41z0iKg0JrBWjEcNF9Wnqed9p/AF2vMFZGOSfaeB5TUPECyR1kI3hm62BvK7wYb1Xc07FObtjKk7+6j0WbPSnH7Kw175XaW8FCNZCxKRhjqr9u4tvuqMMTu48LewXzSI8Kce939SYAoU9j5SgwkeGSGghCmy8UcgL130SNoJ4ZXo8pR71K3wC0sEHiRLIgNg3yauIwkXjSn26VATrgezGnAwysYsAmlfZhqCXej6uecz97qlH9Qev+TQxjvQeUHRShkwcSoZbcI6ZOH7GNjFNC0X4RzFTpq+ITdeBGrlAkxV9A2RiEwS0JP7nwxUBU1ke8Cj4ekVaVIMsr0Fk8FoVWMERG+m4rvnLjR9WWx3v+3vA5ZWeJRzkUtvu9BhNE0d41ZGDjeSBBLZFGqqAyMDTeR8nkfT78irIQJjlI7nNrjA1MZ4kFYSsyHT8koodnicTvDMjf0zUm6DiR4BMrUZYXmkyvJWpahbJ9LHdKNgUCDpvnfePNSVn4ckDHXxAQEtx89U0krXPqd0piBU6Fi10zk0F9IooT+3VNKs/UsB57pJjB0uBaJiiJGJZ/vJMf+ygsbdvAPiUtgitZzPlXkTO4DQK1+BknljYYE0mh4W0qVeLgvjumwkrmrETmsyly/EGt1K5CLUD2pXqbuLR8sj+b6uc6pGkE6QcdPIwDAxPvY/e8EsRJEnr+8Ike6qun9DgDb2pSi7Lm1AAbNJ3GomBMBG3AeeaKBB4Sw3Oz0xasJZeIkPUpMod7od0W3it5U1SOMCeOuJUefKzM7g08NckxcvypQxVkmJxV6s8Uj9zX1gvxp4SurTzQ1J/K0FZpXFwLWgXVObMQKvGdHttIY4y77uacAVeIRs9HYoxh9vBVzRfi3lhqan0DfIRchtlpN43LJmA+q5DamXRBFsGHkhWPDN4LIdl90gzdprN0U15c6lQsQ67TBU6kTkGEFGZAl4vTVVGf2oXEQfN+ZBkkOpi+tQYR9H4BtmTQVLC613TKLEXBlba2Rz7/cM8QB4Z7yazF8N8vaVnTC6yg6qUC214Q8k2G1I4zxI6K6EdNb7lPxTefvVPsU0OE5ZknuPqPhisVcGZeSqR3aJg9mqM+066Ip3zVSMsDHh6dy4wRDZAxDeLfpCFioVSjNdjjdrySOpjVb9ddR+MRPvawAynP5wNnmxykaU4oBB9oF29EnaiFDHns5fJxKwuVoo4uff0iyYXGwDkZHeb/xBoGRTgueD4KYCSRC0aa44iuEbwXEjw6bFpzNw3QAY08WlIw+JCMRpyUWNFye1/L9Kys4tMyE7mpB/D3IOKu6h2fir2A/Bzu+gKDdlB1Mk3E7uf4Ouayu9D2lnkm4wjpAhCGDlFwooSLE1DFaca1U9nNxjD/WrULSuBQ1lGMxuXuFe8N2RaikuP/+nu5pOjivI1WEJ+FTdRRP8KSXZ3p/NabjGMpfr/WsmYMdGyJPzcw9/lIOAYsq1rr8xkq2fj6CZeFarx8V8tQ6UytFm8drH6WrBw1M7X6WxByEOrPVIQv7MyJ0VkcCeiH83Z0ZOT/B2DESCp96Y1VPtc/IKqnlwd1Px+EqCpUn41vjaByhSeo58px45oQmilS/Mn0P4xUHYSj4X5NC3P0kxykt8jQREJm4o+Bwt7HHhkF6G/FWNM/egZBvrm9ors+DA4zxXQY9L7ekF6X+nmI9KFuI0mnZaBwSCP13WR6jThWkm8qmkz9h9btJ+zeppmA+rV5z6XjFOCakumMXfEJwJZXwplyLpRrgsqTXwy4MYYmqi/qhe1Lgg4pjYHSaDVWdC76Wo7FdB159ZPt0ipot9umQn8C70vv3VWmdwtehgQkv+y0jGtPZmn+Njsn++3Z49p+rA23fOze817th2JaZC75dC34HgY+MTQSNcZhtOsSeRwNNQXKp+JbeV0FsbUJNz0HOLMYEjcAJBE0bnva721j5+n2NaBDaXsxZvNVrQQC0V5ULYEbNL270rOATV5Iwl1Ee+HCaUSF6WPCTu4Gxqa3qzI1oQTlLoH/3bsbexgTZex9J6OA74GWle83CdPl2IsfedkCXeDnlZE9IH5eeDr0q7IJP+5DT6kOro+roS/LgmNaHetRaOPNS91Fw0aBXGGIFyJqaKcNFmlsagaDIaPz7HuJCSfWzS3/2gEd31Ssv7fPfOHfFPwv3PlZ5PxUKDuuHid82aud4YZgFZtNK+Oc0pvPBBaRa96z7aHYvQ1GmWAae83AgYePD/PyzTrUE9jSozyCJMHQudr07AWa8KkFXgPXEfDdxksaciRs9H48Fa8pbAcoEBKQ2ZnrT6/Y5CnsMp3/uc0XW5blHuyItUOHoyseElXexC31DhD1X/FEUwbLqKMPMBoj15zb/XU6XGNl9iEh7mE0d9qEu2d3cBzI4ef55POegSSHEFEO8WNDL1FwXBXvxoJsz+pVp3e68nS5Z9iibNc+913pjvOSVDSOtYFHMrkgz11mJ8eyufPSo6Pqk0gHbUfgbMYGlgpZpRbPGsaG2shrZPLc1zPC9wGMHDAUeoHTQS6I48mt7o/bJE8Vdgl/pitdfsquuB5nDLlOrQ+LgcZnctqXOFtb4ry+Gi2T4j8H2vz7eUtOpHOSO0k8b3ZppJpgWNcKYB4lbQlinhBtKGgt8V7fy3tUNf/HFoDOh7/Yl6DHhDAACLg/54VbixMdgmOb4abC5erLwlAa2qVmOYClIiTkeWwaVw7rU8Gd/K/hpNZOA/eDpQR+bwWgtX3pfuzj7MtdKGgJRWbDowyzdSY7sMkjD3nYczbXt4K/wCMwU7Gc8oqmAhNv6N+BmOKfKlE042SAnm26vytvxz/hEXININa8qYP28x8lq3YJcRcZ+gP4ggKRc7pxRQF9pzKqXAnSOTXOREyRtP1cNH+agDHr/XZJtRWc/Vb7FzMSSYzIezEGGKnXEwzvO+pNTVC2YKAOqfPXYnGJeut/2snbmdKlA6jPcowRo4QLRdsgerV63mtVJLUg1PX+Y/pV5v4R7uZ5rpa33xAVUCT+ouIVZUVUcm4FiApiS+jJy/116ujGZs/pm0eNgxY3vyfWcAZnmeBP7fQwlZw6KxU5PDWPH2fBM2+BliJoXprlDc1P4t16rgJi1BW2TYC2olt2Niw4CsgN/bknz/u8gHILYGZ49Y2R7CPXP0yploaybzN3JATUV2nEHaDMD8Tz2247kzxN3WjFgQ1hEcH2Y2ClMkn5i4I/+D0wOkL1gD4Pa/HIJ3PVthEbwnEtz8InmNEajfJcV8+HyD2T41glBp/zY5h9/YZXNmAsJYYJaspuZMXqMnRu4YMVzZCnrPNxNUBHRm4iHSCqtAWHy+4GETTE9dwAB77BJy1LiOJmvtaPDt+ou8nuJuHh2Za/+uolHt7JXc17qE04u+gFmxkY+eSh45T9YKAamp9HPij146b0al7BWJPlycl2At7zXekHH3lLQMNqm4qopo+jVW0P+ZKxzXYclpUuyexy8pU0Ur9VyeTZE7uL8JEiaie4heciSULUcq8BIee9TI8+8M/8hqsLKQCP9foqBvtFTnrOLUx3SKclgF0sUGbCWneLuTEW128esiIKJxAardsTqCBJIDraVX3j4zYO4JGVtamIUt7njA+xLPV9k/wMZBsP7nKNlmrIl+HmgPJB+TwX6UG3oBkpzjeYFXSbSplrA+wMA8mlFDw9GqTaaBXHO4gGzZAlVLRmDco5j4gVv0iMbIX7xiFCq4/pggjkQXI6tAB265XfQWFS833Zz0IC0HBRDj690WAGI094QsytPaj/j2xV5yXr407ePIcDeowTv4/n01k3GodloOD3KzIayM5cssT5KyAlCDKZt6gyk/f4L1m5ECYj1wvQODS7YnYkLqGzoZQEKW0gJ2oLVACJdUVNi/uUxCgMzA2hmo13WHsBSz+8bBJjzuwZs8FeNZ74KkD9a8hcdbEfUut7a327EhP3XkxFbvCunjklyjFDtd8vPmb9oqSPOaEZr6Wnih8YZZTiwU2ZiVWlacJabWUNIrQr+lh2rUEkS68H2XTr8wuQCwsCikVP7q4X5aRBMsBgFV7hw7d74psrbGT9ew9sQbiqoUuA0Em3g+pYfo00Na1x2MXnKtBd0DWgkOfeMeSV0kBj0WLslg6Van9Uj8hlAbvdBsmfzXiM2KZxZy/j3Gln0vI3ozKJjbO33h8a11Fu7/TeSmxb8un024Uef1ClNCF8n0ujZPIzxrU/LbgarK73pWzXZU4yUtvL1BH63cpPaKjBkUVA6/YjGWth60p7FXWOMN1ZZmgW2vQ6vas0jpBJ/TcnzIfxJORtULOVQCYYulKW7XWwfjCBolrgN/Svy2m8Qe+hSubIuOB4++F/XEcWSXHqOplUb6B+ADyQYcMKwlJcKyBwWrdPDPD0MrWo3iC0LlEDxis0nLEJizaYdgrCDy+EkPj/DgL5P8ODOCiaflz7JVAgVf/TNpUw8Qa1zMZAqh6r9iNaD4u5p3OhVODS9uOWBtfNNTqLNpHt2VriinkKFH9AM4vZu3L7j0eyAdXsWJknJyjx8q8ROp/z5xFtID94EBJnPfwC2U3pDbQYOFGo0mZqL60SOP4eLFCDnlFWCy08KBuDXVG1mLr9tc6TuAD8nMWRcWEe0ytDil2vDXMnLwQaInQSSjnxDq0GMkFPx3LS4sT7QcZVmDDICaiOitfryJoc+hw129hvivJgu9gntydFiewvvHfh3kK7aAUnVJi6q2NjmHbiBAZDROcXk+wh1dH8dHme8C/88ovWX3rdMEjqmvmHAawg5hguZTZitjzNCK0auNJX17DbXOksT9x2jTxcFMBl/WfkTbCwjLGCvKY/Qnkis+yAai6rg9Vp+Y8BrnXEKG22VA9f5BM8jcXD4KUhBpgNML/ubM3fUphjIdgM5npqpRjdB/blxE60fFj1CQtE8khzjc2M5zmiMbU2zArD+KFSx3H++24DZlO7RE/XnVgLwwtXbhL5D2VYJPzB2lkebb7zHbO3LfUWNnDDryUCcODv5PxQYWowzYdQnfKpMU9bkgWuHnqodFKRL8NF78pZLyPaw+510a1+nQ4PP++2TsIgMJPmj8R02LLBgLzHb6OhboqHLJddPO4mxsPc8kicEtg1Zz8I2Tjr5l5Wz9fXMLqoOxvclx6qoq5hEUmWyVtqXx5XkDnIyFrgEDXRCO/Gr0T9ONy23eKHARxPT7PxqvvfuN2gUvu22lpAWRztklEnpvdc1R6dYhhpOkwHEIII95qr03GyMuVZQNkAXTvMZNTneiInUKUF+1XE6hjzMtYldMydDq+JWgdWPCAsqAWyevhm8ZtDvmQx8M4pNPvRQHME/JH0esQkzv0f2DNKVDzEgW1eTDu4y5yoMxgWm7E+slt8FyMISMsKzG23ZDzs04OlaBuRbtQtUnactmYq05qXAMjpAFD5Chvquh8pieTrHNk2LmmfFRlYLJwrGSJ0qIi8Z8ANeh0dMl41uWYfsClwPQLZflg2Re94PBRaZM3qrVLfNo1a1LGJWDcv/JIUxQrpeeqlCoXQnBKaWmwCtqgtbAIWn1SBSvwg7Z3Ox3onqceEWgWVjGjDVP5rbV+H7PjiHJpEfPNcP+yRnKvN00iY6jcueulQ38eP+JOEaMNN1oklUzERAHpwLzUdnpNiJ5yFUPLUTbEnjoejMfwqmydscgoXMU2JB/Sjc62s+oWNk8GshslqA2NMyP6wM8+pA92pH8Vmby9YNdpehQ+SbsBRZ3AsIR7br5n9U/z2eSB/v+kUTCn3prr3qhszLktIbojWhso1A5FmXrGs6Z5hLHqUQOhuOtc+ve+EXHDVEjHdKxdVV0MCyGtJOOlzV1KCZcj1cwd2NyzSIMC0hax/sFLAt8A0Dng5/LdqWHPMzkXJs2M2uRYsGk/pJna2D8B6poR+/CKpd2L0shf8nUwQf9D6nc0XJ9PJUkf0jnFbSg3wfNOInp6T4o+rmNt+gqaRpHtz9FR7pgANkpOYLUGlxxur8Kn4etLWLxGv6E+FCmmWOTXCU+sXbD0mdTrJDXVxTwRiyWpPKPEhG53mjOtLlBe3Oglao+9cBmDwDGTOw/QC8XnF0hqZYqsskf4OV4ZDh3Np13wtfCkk/ksowAQPuOc7iMrHkzUlocZLf7VfVoPPGQ80xAW5a2YJI6So8TT5mV66DF6AxR+ox4mWXD+yIhc6K00iRykaJPmyr511I0gO2QpEQ72uVYqwogW0Cz4PSISbRD8fboAT8N53FHhEr0zB1qxzdjZfHyL1q66Y6YhK89k28c4C4EdoNUgohKoxfXGncI35usvGNLlBx3Pgr8tT0W2qo7qG4jyZjNN8FkSqefKi1s8a8A6cMlLMNp8pyMoXK/RW4N0/Nog9YTZtZLUjDPlQU47JCQ7NY43XmVzOrPnyQVaihts3NYlL/jt329MIVRQ16ac1lPIR8dp54hRKi9Ib9/hYzs69J3GGAy3l3p1guaSqt1q9f+ns1mLnki2KKMwvI1aX+IYT550HzAG36rhDWagQ9+sFivhewwDHt90zyy2ROC3mDNKJ9ECYv3cR5elbA9JeUF2esEwBYhZLC6X7y55kA+1Y8LPoMbD23p42BIQYkY37isWwYvr7YmoOSHcedvR5IuzAkAi8c8MQLPo6kKbpg1AQ29JvhF0j+PSjGyC+LumqOh+tZ7HjLpLKCLHbOQZUiMH5w6gjy1kIZHzvpDT2zVqZD8lQX2a8zYb/Vua+TYTn9Jm87wvD88LGgZqNk4csA6K1dPDQgWm+BuDborAe5I7UOKLALtYeMMZ59dBmlANi3Ku+oETPiM1+sKNs8tlYSxclevJe5LudBdSBR1mZ+igFo29fd4/Q2xRS4YowEPv735yg0BYCKHGfXLy7reovm8swVm4WGmV4LDRbbqeGG4zc32/Y1bcCC6u+3sVk5P4MbTeeG3ZoUcKBMvrHhIbAz8XlXU8OZulN1ZnPLWNLE8xZemBox+9Nt+bcq6RqjDP+4w7uYyeTzDbsFMB1iUHK97jAD5X5DS7ZhnTZKtaQKDdEAgcNy+P0Mi+9cKhflKnSepvh6kyWPG9Q0JIN0fSrKglrmVc1vsYz20RoOZfK8VBPYjKn/RP+mSutf0R0LO4Aew05nWHq2mEifT6wBwkN1JIJLXH0s8yP0Ka/XtLRbQU62IRDlXHW4+RbFHlYNn2FyBOCXeeLUJ+LzutsplEA86FpDUha1/v1bD0pSutTgCHJha4IPwCuL6c2gCbq7YWpUdqXiOTLfvZHgYxbsG7KI9TdGNFYRjBHemiErZFk0BWwkSwRI5rhHsNUMxmN46BrcGKmSajC+PIY/HSt0dEHHCPQWTr9pAKxHsMc5bqLLr7JeVQ1AUr6FnWeg4sZ78eTaZiirbWp5AZxODNk+vlqWIGiTQInov5PdDyWEnRzIUvFMaUntoazHKRUJEZZDEmuDy9A0aWfkLGdwTZRgPNmaWacbWdU0IY3ItFIiLAKzdDlh4uar6tPj3i69BeV0Ee3CHvT3RSiUogaQ0hvCLnzQUqimWSPcFTo5RHeFUKStZH4lPMbxnDjDB+iqZntyMz5yaYh5oYfsKQ4rMR8rvFC6WRrRJLZl77UcW723a+jDEBQcKaqhjdYXM8M87zqXxWkONoHBjya1EqtfEwrXrefE3pxFcXFHt+YsYUxJHUkvr+wV3Sw+OsekmMel2QeNAxu84k+q/iWg8nVja/fTEeWykkbGVBH5n05T7ZWjMgUvN3jbfuJuXiPIv6wyRPjWTRsVRuOGwr/4ltA3gt7mSEd+BSfEcYnPFPmpmN4j6UA3auu5YXSZNJrPcbvHf47BP2zlq7v/Q0joC9jhEKJ7NjXdNuuI7PPRLEYYVzPoeoI1rSW76z4XWEgyPX9n3RY0+hSMKUn9Nsq9ojGYrDlWYuomIT+jUpTsghc6Hd/TSn0uKFmG9yswZ0bGbSRSzoYBpcD1KKKCCEi44jGq80fGMPjYwbEB/tCk+jGkTyqR+Gr/xVCD7pv9+Jwcpm8jFf/w/R+72p8xyN1GQJYiYQb0U2XqHkRGvgYkt1HhqKbN6j6bh1ys9Wwfd28IhvuPow4Q/ucSe1lakk4u1AX57uVd+zlrFvgv0wwg9H37E4fnr+eF1NYfeAzvshjAIJZGklz/x0WC5gmslG7jqg+UWJGXKqFHVE/iOJkG+Aijr7p5KXrrljHje8IOJxABro2AxPg0T+t46Si2st0mmUbU2gaxXFEjD204tL+Zp521lzAMTEeSa+cVA0rjIoaBH2dY44fDyzxVCoCrM0OXFeSHcFvMjefGT0clGO6TQp98278j043/0o5kA77cELcV6itxLO9BTVebFCM4sme2sUfu7PnsPzgoS8TOYO7AZP8ZfqXX6zoCiIWXZ2CB3QyJyKMzyJYXfGADM6XzyEV9kyjDXM7i/IzjymwRgGqrGG1Xf0iHA7OdQsrra/Cjm0O+vxFkjoepWEuSe0V90W6KocDIqKsZc0vcQiEIHL8c/cdCzr5wk2loPQ0cjCdrDhu9vppB98aYcOPQqGDXuQ345KEM9+ztRh9KQEvuoM+TM6Ehx4oLxJTv71DHdcuSVVvUIGUjqgsw6NPKZSRvFGyJ7QfD3DJv++yDwvzSwh5DZhRKIGvDDYB951xHZNQAp47Pzs59MmvfxD4L12fF+eulIBRonx+crWWNQixh61PHvDE8ADB3y1O+IAVuoAJi+ABwNGfNF1BO9drxyDeAwOtn9+RF5SoeqSDcD2piZ+vlE4gtRRNqb00lFIUZRakP9kNagz265mVuGVVhp0qYjQ9WrsPNt7XUp5MPJRdF/cpTeH5vJQmt68vZeDDbgggYFsl8Hc7+68ajhKWUDE4WtziQcFOLnARVNDAQgr94jAUy8oa1QXoBlUsqjdZSffYmYfK88VQN2QF66urx5fLqU89sTs6s860PHx/hQ2XowSeETvXf+Uis+8gNah77wNJ6FTIXQajdr3LegamDEkOj1VxltP8kMZpWytgmaoWMnXYY0Cm/H+DNOLZXX5Cdy+lA8D/dTsrQYgT+WrKDGP7e+dWJ5A+pYPl1f4cbBEFtPOfjtENXkx1MOmBQh0hVbllGvG0zrdsfdw4VP1/WwVsOV5XOExTI3FqN05iEYi50A+qeCPUwksXrvAr0gIqdzPf+yW/yp8OmDpAIRtWz7S8RTxys0g5qdw1r+YkAJZxVDZiy4xUNdHFjAjUqN6BAXE6AH8zpkptZqBvQ5+rJWw34eTwvw48zmPJ/M9V085ADEe4VmGJUkb/EtXMJpTPJwrvugOUkcBvlp/SJoDcQ5cBwcBZoMyP+UnAAJ8b/y69h1X2nwDqTLzPR8xfkfb1fT5Zi4uafAwUGy3oC8wLeqDnA5lsP3C2wenY+CMa9usdRUJchC6/AtKnVfesEEbeLm1AsjVLHwsD8vQf4cgpW4vXbVFA0j71WQjCzjASiqmeTaPil8E5KNs+A6oBujVtPBg8EQuEiJEWPyrF80Ie+5WtWNzg4dny+QPamvvxznhLMsRAsxE2mvbk4d68RPDXh+Oae5oL2M+SWeMg/1p/vW7fttZSkmCxmyL/z1hRN449v0zXeZ5RdiMNZ6N06lp4LMkTa9GwGx9JvErKyUyNvTCL4eiSDrHpagOfficgYZT0JNClne546uPJ1yNkmmF30a96LgD705ecdkG2xQyBZRExuudsDchVPOnrVAGJcOSKyIg993R2eztjIShoKLaA0kLHjlk+/DrJdKLA72URJMPlaYoBji943QLHj7ea/HFw8/hRYy5Wjvb1vnGA1+C7gt0aUzHbA9DfPrigrCN04zCHZOlllou4WwZCHKK0OgKY9xvc9o1yYI/dqmMggmO7DPsdNErFj2dzI2NdLtUXCPz9okHzPFBlYF6ppdzZGu6hIGpOJP2aSTiAhCBXwNMP/WSzNOb5Z5Q95ZrsMDoDjRYuojYGFlyR09u0pgXcMLacZ68FzxK2qC8DuSvpmZLLOjsLm2zjGrwD5DDKWZQiQU74jBf6+b8Dabux3VsjxceNL1n5qFnEqfUxHjsD+NwIHHPHoJSE0X2gSVweYSVxEOaUO9Au1yN4pN1W4b6ycGVtqhVsvpBzhmUUPTvf/JyDbMADTnpFpyWTC1dN+ut1r7e3OhlTd1DfyvCuvrZZl60bcvXoXlYcsF8wctMv7xQlIvTxR1HQpW/YIqeRgpp5zTcpHfT3FZmcmBDa3CRroA2FGtcns7eS5iPfEnFPjKuTK+zXHDo3jgbiMrx2fRc6KVxLh/6mbWl2RFFw5q/KSmYJN73SdYbsvLR06qAUF8tDBU+cHqUbaT3QK7VVkwMwzorbHeImY4HcFX6S/Tde25Afy/NRwkLQopH53Iy9dOvSTKLI69BYZPPKoXfy82SE4k9iG2WpszQpkifUOhiarPnF+t/G+InouE6CApCtWcNHAx8ZlwUciD7fIhOmEAQM3K8KqciQqZQTHKLf5up/y5ad7lDcPCKsCVt3nHPc2f+12rWVrSHGL5wH6E8Y/I+AM+XkY0DBG79coq40Tw6o1dR6qY0ccfM55eLnySOQSGImvwoWE6Sa2D6Dd96ZpqnjmHPrniLgjHb7c3z21yEAE56lAi9PKgoyhQ9xHtegxWCENAA8r1sfbi1Wzsu9+TpLy0/EvjSjLBVXGLjKEMI1JZUIaFPqzqytakdyc0bAcOvbUYj9KQh8LmSVX7erIZ/++1nRjQXRbisiwerLJdobRSEDyhGs9Kk1/cXXXv0B73h/yBMIZTLBy7J+zkKM0Wh6eAnq9fRwz4WCSlJajeIHMbhOqUAubBuNJ/dbhBHkRBpm768cLC/yXdDjdcm1B/xLSIf00gZLwm63cfKoHSGGGMMqNtaeQ1rOcqhlX8HfPREcQbZqIimi6E/ktaWOimz5LZy+wj7Z4tkx5rISJWGguL+03ulj4J4cwH8OxXYa0hGScFu0zQHmnQKT9TvJYaW6j6j/rJkyxfSssJxaaGLswsXbLnPkdsMaFEyRmlxiMGZ5PxDcpeA4dmL1Q4K0+uUn58asV9WZdrx/iQ3m15zXWZoiehQ7dPQkvtjKzvDeD8KGF82HiYfiq+lKbdtxyjhQZB50VsRzy+Lw7opggfZZDvZqJlsCz/AaXb2hUhH8rKqLs1Iicas2aAA//jpwjgvbt3FG0jhdQbjaAVg/cLgGA9Qx3hZjOigbVXh9rUJaiE0jloQrRNN1j/dWz0VjT0023lulwONv5UTyJ/Stu3M2xRmLEbQVAAgjWQsNuJmWmzwLxS3MGkcr+TgQm4TaK1QYf6ojMR58/YOK9X6asRUgYKonda+Et71Nak6UEkLHBxz+VJFCrsSBUC3bSROQFmsrLDJ+jQZwGiskV5fEUiQ0rKD2RZHeedsQI5HDSatbqW7m1fBijL7mQwJPTRXEwiNXHNcTqbnNrtMZwYqeYHU6Y5TNtW3U/R0AnaT8/pPxPsGuytTcB08mc1yAv3GWsuzkbUFtZOQxWkmo8zCJ+6gJzFuZTjbNFEbcJqR2CeOfFVFoTHVEkqJ97fLWYfk7tY/w7Q/hPARrkqg152wsaBmyafAyAZswTjdBJqRBZ44muyPmJwoJElsVtmHYQtRc28dFXLP9HixxBYj72t1MAVmcOvYwp7GHV/EUYqkrVzPcEwS+GGehluWcvVyLkTuTdcFERaoFebAHX9qR9L/w7hsp7hUFFW3El9QBX2bFw99ot0Sxehyddyi4e7UZ9gPfmFRvuvO/TQ0DAIJEWexoD/1ysDi+dKgPWTnS36XjN2FhgMHeIcm6lMJLMhL0mfVgtCEBlIq5OqNHz4VQyrtaHtSPOvXkqVkrG+vsYTjNQpYIM5SADxJdP8o5OoVCzmo2R4oO26Kw0TcY6lJp2zqMo/e1EUwh05q0OConZeSPXboIfZenXrLMa/1PZiZUFu/ndBY/6+MvhFxVX08W7UeEUeyFOvswJUnNZ2Y2Iz0MVKbXPHe/o9jnLMJ2u8ApmJH8wqDL/MsWurIQd796cHipB0W7cKBwACbAWhQKoNYThce5o1F23H/z/kc3BKo8PIaR1u4It/Qyi43P29l3jg9GQR9fk/6I9vVEtZss5Rhw4HD+HADdVuLCncvL7pbK2UlU55gfa9a1xctMNLG6I6Uj14SN8Ujy47nwAghLV6v5/QYGT0zSXevFIVs8ZjSHUXFR7ajZ38Ar1VPwT/g54hYhrqtq0lP1sHevhqzOrnJaljsNGuv+QI8DgQoKUOjYqtgVn4dxEwAIm54DR7QRfEB0vaM4DVHn0qaj8odqixRb/Ctw2rwslCoble6bhNOQpPx2TuYfXoEndIBVOQV81t++rQDSJ8B04RewZFqfUc1Z82sLEOPpmcSuuoHLCXaKC2HjNMFQeSagxlGIrsrrzQGq9mY2Bf736j9QlIoR915wLRugsiChsZeeXg+Tp3pZnwVIag60xYMguzqJRA4wPxWtbjeQkj0zjZvkvcPFvtZZvfniaPfyqMpun/Ts3JpHvGEhXv02KWe7zSzsWTEETevHZuhl1Fu3SAQzGBwEJdO+DxM9yLZ1VaDMq3+5VVzPf5NkHjSWcJBB5+7qM/CChII6TnnkhyXJ8z7+jCuvhzLkhsMfoDe7+WoNFd23sk96INn1QTpn/Px3bPFVKGVrvwJi4yY6cg95SK2QDjrHSb6qR0VD2gPcSKBnO5GXXh8WvFqrtwx9VikOn9/AzC4UtEh3aAk7SaKnU1au/za7D0nP62UEgBGVn15wq901CFaMzfuSuV67XYs25ounx+RzRS6wuoz/dtbTKNX4YSnj1q8t8TvwGO1gbPL9iACvfPWGB5H5cA/drBvCMfHQDNY8rmyYWEac8N9g5dznbtOssgxaQk7BofzPBa165zhLBW6Qycn/+4pK2z0iTWmY8EjkNCGAnJCtz9vP+nv+eMwvgryMsTpUlmzpePsL6YOTAIoCwSBtJBIY6DjS0ittPLfGt0HIpjZsBVzQXv0zAvAzMKqNSBzaCSu956MBMx0IuhqDhuvx6ykzA18AFuBidbXsYmvTdhNiTMxY680DmfTpJh9LLwjdheVdYbsLL5kbPTIMRNjdJmWrwo69OAhorSY5ZXIOE3GeJeWlQG49zndGqZgMjGMHkYseyuHne0jqzUcQ/omsltbIHErhkC54GeX2psMkmGerVReaDnZH2YEwLUsPAJG68MbR0h5F9pmshaPIKcYNTiKiC4bepn2My0yvleu2ldAw7tS5YSBPOL6y6DHoIRWd5x1Gcw+8OVkeBcT1qidG5MhfnNQuoptRaQ9CDi5CUnC42Ntmv7g3e7a3uxYWlwImrTLEckBlr3m9ZfW+lGJRgcdoOohK8rp6Sf0iA8SrrzbYlTztm2hsB0/7i9D+Qa1BvBnSRMYN91qJiid2qaALGQaGWmH6lG1y3kJPN1+T37iIO2K1fKrsHoA28lyivi8/3zUd/o5T+XutLPFJ9wr7MST0Ds8k3VTgZtJqYfHEywASXcFEgaNETH1a5UTkCBbnh83mFzgzVV8g8y5b7gPmC5UBe/MCxe1Gaq2at/7NqLFZWXpUqxlPOOsQD7T6zHNPz8D7JOSr/u+BSuyll5QzuffveEjGPxuwodT83Pi6Ox69sN1JAvNbLLXatql1Om8CsrMaKdfTXO3kgrGYYUeXX9qwmNBL4KiWwg+JWjeT8EnM1xOkG8VkDmXZVcmb96lZJ+dIRBdyPI6ElP4X39wXNXZJe8xookZ61F3ZlFp7HXC1l04XWUnrRx2KbH2fXLLy2g7DL1LzXzRBXqnxLdqpsRDAfCPhQHOyKKqU76qIoAlkptWQ79LgH9pptIMDqFrv/7LIP3Mw1QwO2Ay8pcE+KnqMVC2p2sUrol6sS09m0dUclbgYAU8m32oEq1EJy8FRVZZnxP1rktWDZ6AOyPkEui0E8N5DO8zmnyT+KEcgytsQhlqWBWno8FBd1Ryv/uKfIKTLz7qZx43lx1SqbF9b2hpjDH5x/JQE3YGIWwBr5RYIfDUzIiv3QjKJBaU3RYWdvbloBTLDGNHTV7Cgx4+0S5wFvTzU1hzyXQ41pZxqMiiiev0FWe9Pm2g2CSksWvS6/LwUcqT8btJLao3X0Qt4vTdDMlmSvK+ntw+DjjaKRxKF4+RSdBqcnys725a+XObxyi9qsfLak+SGGOpDP9GHF6sFXM0LKO6vgL/GOsElXlZHhYFpPlzzIzHjLsm9l9Dfydx1EgL+moatkEhrtjj5/a8c7Xl8Q8HmAiuOuPfUNt/FoA2R1ozoJAclOjdCP0xTe5kFOReJ1ByoPdeIigQRuY+LZNL4JbPBqLFumnsXexKfnun2SoZNcG9iOBw0ZhavXyegyZHnpgGpqxKI27dZ+K7nTEfCqtH/tCQgXWA+tIkyBY4hGEteN6YECrRsVqvvsuNCvaAIqo5DIy3kn29vSQi3KBlEYsXHOfRLE/w9UfvMLXgNNaKXMOD8JYECO5tnTQdfLDIBwH7osSQMIi/k925rpcowoEXGMZs//+8FJkZsHMmKR9w7ZdwSiiD4CjkP+D14HXD4Yc+q2C/q9H16FpZtZFEG6lP20Auz0Uuvh9zvOYyFvt4SpmU1XyVyXcZ8/PvCzuO0Lo95L9KR4P9+jeuqX787vGSHEg33RQGa2MuGCESfzgODWSMo6jRXdNYcueWu4J81cU7e84gaCwzeBu+pABnFrKxOhU1YwJ4jMqYq8/MCbLaeoU3fhfegoAcen4iLEiajuTFU0dERniaQRkkE2VQCRM79FtHR+tp6YF/xh3le1Jmvnp0xmKsJODpKLbTF39q/A8O7v7U6uNTypCVH3uIOL5sjE7fZnaARjo0wNBhxUnNb/TjxcTx34Swo6gMTcadOpJzUyqnmr4Fgs7UKRHuZWwCRCl6QDZJbGP8I+18Sbt+o6u3lo7DH+ulns3HRljoYJBrx3I4NoQuA6E/2O1NFSClATr8wu+SR5bRZiQYcSnWN64wkkJ4706Pr+eZlUfud8LsqkYjlyKALkw4nmKczSGJnPIMrb08d5POC0xirmN3Xokan7TkDT3TghAjEWoa8SW3opMYcNUtut1T3J1b8+UIqo8Uyc8jTjbN2V5s+ulTDVZvIMG8HMey1m+YJwOH+U0AH8grML4KY2rswNOyv3DXc336EmuM3BEG5XQuqjxnw9mAqrsEEd98dL/wSGILtyyJetKiSKnEJNDOnTnidjHvFUE8Juot2ofYOQgiT3salsMPTntBUNox2IlZpYGzMYxVAp6g5HbBP+lDmgGNCgNT0hKXpMBc9CSjn0cebmB52ZH9EudJpWoaeHYMXFrKYHVU1As1PQ+gG70dzWFS0AqDH5N1dtBZK8XGdFYBlkwZTG0AtPmVyc8Y9+/qR6p+Mq5pV31iOEzSNolbRG79SnjPUgvwKIdTNn0pLjU5xjduVHB9fO7QqguE+K06sbNstOEOWLUE+dp3fJ6LA6+DrVu4vbyNPazrp0xGpsx30t3rmsgT6Pvc/NwM7+24d8lHCyYqlhAchC1e2wuQ0rRdY/zyABp2HimGpDwGaBhMtJ9o7d99ORHz/y9St/Xrka9ZzAgXUXPBJbllb7lFYR+s7iI13I6zgwpyvCkxqTaJefhWSCHg4eLaSTWIF5d6wH8ubw9+DJ0FBwCxY+D5pgFVe9Rtv1l1xjDAvOFrUmFj1dJ3USaPZKsEeJEgtTxHc4PB0d+pi2FCIBbWPNIR6Ysatj50f+aoJPUwR7JToRprF1JLaTyHe9Rt8IERUmER8x7IW1j9Iecl4En2tdpG4EO5Ez+G6sgl1G1UbvIZB3hY3KCmkm6PhQ7Dzo1Z+05lJqUBePeXKKff6YZF791KTJjfxC73jAsdsutJIQDJrF4sj8WE82zRxy+yxtiMGEDYUajjVUM9QLrQpdV921IvEYnNzkf4rh41YkUjVuT8Ta+Wm1HZZ/jDMIvtdlmlZRyM+r3ay6ucGRZFTS1bs/IuZhWFBvvpRqFrSzVrnZBh0oyF7rgefHEUB2nqKfObUSlYilH3EXxPdzfuOzXejvid+F8WQVRqjRnqpzjVE2TQ/yUSj0A0+70zP96jepwZxRaqj2yLb3CYqpX6dP8+OgXexDMY+8gcJRSLpHiKZ8htYiJFotO+wrKUVtW+G3Qqt9PB/O4lV/Xg4w+z3buDppYitE5whgyfwWMalCgLNxbCHN+ayWO5laewckILulXjDFDzPlJeHCe8iJwjneLz44kz96Afuejm6aLqbHOXjqT7UJKUG51Sl6NbM/K23lX3GDvgv7///NrYeBFRjPQwIahk33DINg+00YXI/OdNqzRBcoeDZIxG0jJeOYlK1W51tBaYifFjPK7EauqDaSLYeXwc43hjfOrytOGJZY08UzRCCJO/5BI5bwMWVw5f+zUm0Kyl4XxnU0N7yYcUTjMDYstnm5RILibZP1qEiOB9TghS+x1Tk9EnLNRDhR4M0gDCMU+/OVp2yMdOnxPqJebsUH/sO5gNIE1AQzHyIG8zwcxDKbn5y2w1espmNrq1ckbWsTp+BBR86zaTX/GnjA4IOQqUU8kwXZQZHdhlWSuTAdKjYfcIFOAHPULWvqwIOIFVx8o5O8xmt1IGpwLY4g3fSaMtEg61QTbXlTXXn14RwPQbbAH92E8rsHvDJlO4NAEskzWeAkoDa2nhSynH3IKYS/1UlCG6gfTRcQLna8Qm4bE+gVIxM/ct5D3uSXsAZdPQ/akfIjYOaqdIamcXqLC9U+NCx6wLJejNfJl6v0phJxrZFqKV5l2w7VYekL4MTjA+ILdLcP6QUKSGLwxda9Hy4juRxX8axhv133ZNj0rza8un4fHAOp0uIvf8ZGe+3nySwE4c7VuTi6DUFBMIsXFi9lh80W2iIqVQgrMvC/+86Z73Vfbj+tt9IcJThM5oMJSrLuWDrhQchH0u0TXfSqN32STsXsXV++s1ukd8JjmpoODbr5JK4Mh6g3NREhUB/IohVT9SE8hH88KwiZ5EOTdQ64QNnM/Y7hlpdYnrAjBy/XZlKZ7LZVAJwBXmz5civjFIzf5ntSf1TAS5VFU0IA+jSNo5qKCcrsdc0ihaY9ppJEHSCB7l+dYHWibCVD6NEOJIxgmmh23zzPn+OrcGatEpKQgqiLW6fnSqJ1IrqtECLBfaafIZ3dPHPT9aiJi2YIh+KtHy1TARmWZVd6RBLczp3qDIVEd1XtS9vTDCXWBhqJeRKlWkzQwGKMT0D+H/h+L4lVrCpJ7usRrr7WLM6sX0fGWdhZl5zW5G7Gl2oK9GShFRT/KXzJvCqNRaElW+m273TnLHNJhMIyMo5nC96n6FcEqoiYkk/mdbQQsArnjwANV2aOYChOdBlEPqHStVfSqrY/1eeU8/hvt9/z7yFXPxtdPKQKKK8wE+JURFOG4hYW8E+4PXg3PdqLT+cixuLC+ndDFAAAeTHxUMbdalOGRf3AA3Z8mKPUBAazMEca+R8BoQ+8KTwo/7BsTlT7A1hIHgUa9col3+9z6Nd844uEEEWKDg9HoOfDtnCJzqcKK2RaNDFcqHuC0aJtvPg7ict9WaJwLzpRXBoAUA8W6wtg0J6TDvyEYwmO51I3eOiv6wml/7+FGH3n/eXNMtGxHrvJLTBPI15FtDRziLjlkpk5yr0tKKE4BU7yYsXeESwJgiMF8/R5o6aPlS39L40rQjyFwjWCfpR9MGHof64YxOWNdgi6jLwKSAMfsHfMNjTUAOOUHcxg1L3/mYzxFRsOpwki2nkShcxD8wC8JhaxigLJKFnVmVg6lrkqtu/Jf4O2E82q38UM8bSoI/RVsay0MB/AELVIzT/Qdfidxyj6xyNJ7e0RIhswEwEBVdpG+82xA3zayKGpZuS26vNOEJTi8PmK74MWW+YAVKT/NxjUNB5QlnBp3caIkOE4M5tcTa5LU0p6AGHGAh6UCl012kGHaX8+vBNOxoC0ClwY/SpK3ywTW+WLYffSLPSP6QZ4zB52WTO7+DcZtm5yJE4vJI+5bj3ErPnj0ArIHKFSjW+q2W+V2+mH/LvAxG6fQZ1/ToumjBiENZw9liham6uHvTSYz5nFDVsjQNuXIr2FfrKtMFWB3hZ1szbEI31DiJMShYNWnFfvJRsMjjnmISXkrqmoGCppCCwlGD+8gRXsI7y+CZwxKpVjYucE7eTdvjBg2OMb5vwYDb+jm+DknavgOMBDxiwHAAX5rPv2zXcHKHx252dT+fSj0SXq9iqzBnTiXoa/YhWMpLjreRkYORjoyxA52DmmowS/o9qjmoDeVu2Xd6Ww08PvGx/zRwe5EKNN26V0ZdXnJ/UIILPv219zCamerOnGOIFJrnXxnIRNJ5MoHojryM7b8pRsufsNJbcT8XadW9arXKSm3B5K9+uqEZJz31QZlgznuOuPtqfMNBfF9J+x5Ma3IaVTfM1tWIUano/wqljFHQpngu8bUtZr1k8PDhgndy10fqKAOfkQPGRtQftaKA1/Yh8Igxd03CucHUlFgBpXT8dIjPdTKa17Xa2pEfxerNamaGEsWNRmm0qTBPXeT89KYc5L1vlbbrGkGY6VrzvlrWaZw10koZh76oHEjYgkAMQgDed42CuqiGJXPEDV0bEyTcODx+Lu3vmrCGQDFiZfdtOEBzpgqYE2AZ2bkel8jF1tY/D+f5YhbedTrdlLuhqElxhS6XtQkKBzKZXXUFy7RY0NxI2EQTz+24+IIipRaKHqe4t+85vBnH+8ujd9e67U19hwnjopJynLgUbJDlhqMlt6eI/6iAgq1lSt8sspC+gAof21K8vln6GloKgb0NnlZMClRzdpjaCtecUeMGIYrCKKKuxTsTDGwT4hINAq6Ygzpvo7644OOGoKTTIB5hqln8sB0pE5o/JCOYMa7RBLb34j0iNC2SwATM0MmOKd71gssRqBIjlikg/GZ7ENFGsEOALcuRSaP3QfN47MkEhMnZvkumc3q1mHmb+bd6oLq31o14x1qkKnHIjtKeQGYxRVo1beX1Hx1rKXjMcnTru3kgf+KuEgCZiRgI5HqzpOGTEyKR6PfwWZi3LFWFj28Kc6Ll3S8hXpXdBWCwDergq4tf+qTeV0PgBI6MC9AnE05A6yNQVVkd4hQNfaDPZYgltHld3xic4WVEdT246f93L+l5EdKx0/BjO/ua0z9mg1joqGH+QkFxNjIy764ItaTo2xwYqNpE1FekUNsqqmKVZTSbqt4AoQwrH/7NRoPS4gpB85erm1D9OOcjAS6pkxeRu0p10Q/XxVS27iv2vJ/rJXtNRcDyXjgG5lP9wbiNctLToNsILgqKY3NcFHdcRrok6dvqwyWIQ7D3Mi5FD9kF7xIQ4udQdLeqm+1pKGsk4SzUL8YNCstKbYiBby4TJln3hi3RhsIfKFLUVAJ8kaVr9weVVPUXm8KJx+yVb5UNSNWjytnA2XjQw1l/x7hyyc9sjaD/4nFzQa0VA/Ba8py8kdco+Zm/w6SBa4CD4000EF5SD5Dal4zoh9WR/AyK3Ula6p543XNmBOfL3xycvYXgVGYQgCzvM0vtoKKJDRuwH0dAMEuyPrBoMqLMzUbSOFbgnSQSB4Jzdp2wwMB/wp5ofhQcX0Zd1L3tAyu2KxQ9rfjeRQIW4msbn0qds4TN4H+0u9TW/KNMc37nDOzGcaoFDqIcmEKvbtsnHqw9A1XUXr4DzZdbgSSGlT01PLVbboqV6E0lo75n8UJ+yNdm8i7VERx6ig5wS8emdSotAiEui7mqCw9D0Iyk/5+Q/p4uUH/7noaCD8TogyQDEzO7Im3dr+IymaVA1lqAX8EUazLKMO94Euc/0tSghT8e9A4ePgjXzyjoaBIosKWi7CclhP5p/Cjezt6yTDDYLR3nvxWUuvowgTk27kts5tgZ8czhtfgG0NSI3VGnkHFdY36O2leLhuSoTlpM/eBoD2xD1kVIKlwDiRpgEt1UaEYz77rdzjaUsKTFyD8nGKBQnhf23kREO7p+13r7eYn6Q8oY2x79DuxCi4YUoDEm7GR3VjDZmhXB48N0nuT1Bd/mQKJiu7wPfaH8/DtnuMIS62GKbECtPIL8wkBJUsZ3RXv2lxNic6CpjavQPdJNvqurQOAkVnGQpsgcFvHHvG+rVzlaTbtbHw1wYw5wCTRJyBN8xgGg35bOx9U6fyajFh/qWNsfdz44ndY6u9XivV2gQ3QK/wfbKpnLuszxR4t6/ATAwxdrgSdzTgjUa9lZhHaLkPlnbx8c88tRH5PcAw20UmyMJFrkQuJ3TXnlsxaW7hXuoJoMzz96xhwWMNypsp0usAbNtDkujHAJCo9cOAIo7F9IzNmiYY3qxQr1FtGofNTx6HQsGKCHzWvVx+4NbkKxAYJ943uVEcnHCvaj5irIMtHUrqCe/EycbDPLWIsI/C9H7GTAWyvHYGJbyggtXFLp80RKl639pjTL61KTTUGWzQtQRXsqY0nGePElbEBbvPuqQBAMMgJBkeTW8uvCxuy3mHRV9DhALR3LR10nQ8UAyS6reHUFC4vkk18AL+e+gCrwbezPke2fkXldxrX1VqHkrawG13l0w+D0GUrru2YbnnFvtRlzygEfCigPbKGpg/d+hmbu2l19OAiU3LzjcI0poCzbEWt6N0gIR/ybKGiqCJkiPVh1llCF0M0t+sDT8yAuVRxU6q0eJELamnE888BAkKYOSq8R7rpS0xdjZywt3qPUb1umwJryYhFpQuuyd98tS0SxwaQ+emI6vbY9FVmN5Duag+RqFx0omih4d8sbk+HLval8gOHUPh0BOaFpBZo6XmZTxQtbzOu4sqQOmy//pd4t7apBR8FxBftPNYLzBRx18m2juZBW3dYuWZvpxJr/cyq2zaAF9BbY0SeIJc7s/xl36shxKHtvOT8T1+p7fJGj1ubziQ+RHcv2bcnKzZlzxykwoak9HLQyWGuJWgUy80xifOxP/RixbIrYPZPjeKZmE75wWzDZiYKwpoN//Gh5oB90msvuWTd0Ew5p/ztm+SXNYJcFRcHH25LGosoupUf9FeubZqrzkP9xzzBY7pfiznD7erwbxHVt5A/YWJBIFTBXbNJjBMSQOG3LaZa74sjBN3jFLtPrmyjbjXeDEHaBz2gfx4bpqaDe7Y3+tsDNZqmK/8vwSeAGWaH3eoTBzU2uQc8S21Fx90ESLE8OIJ2Ix+FqmWxUVPaSWHwqokUBxiTSrZl6BEjNpugkquAmU+mktUTzpIz5knHiZ7mUdDNIZLWG59jThGb9BVyteZOQ9ArZ/2eyjSQ5oyt6WKo64YeUyTvlRLaEvXGUsC7eTE/TqQskUQp1Snlfv7iB8qnPz+nmztTnOE9MOZLdWjF51Ez4obYCeZqV9cvscIbdxjFPzclvT0t+/zdIL6s5ckLlffDZgf1lEmtlpvjFz+PASzAR7+SYJr8VKGfZodiIi5dIgH4XBARCkIXxBzMLn6kApKDT+ui4qngx06bGl4uI9XgWEHJqEolzoVqol5vd0tabFFb0Td/bhCPibhcm8mi181/HuRMtQ/oHupZR81OMiFXv+TLneCUqvto+zpH57pG8fnGG9KWlUrIi//KOZ30TWlxg3fzg4Dfl5eltrUmZfwQmieJ2MoLtm+8ZiL1md37DU2czLh/1IFjT/7EzC3NXDPKWSUmDuIecXmJZMJ89Y/WdGc3629qK5vcfAZRpFQFZTWf8s9IGlC8Kmg6d0lVG39GbSsEJzsDS/O4tkBUQhkaAMyo5c/vMQJb7din3IYPWcCzSBHadTlcXhF+bXpptDqZkRiGRWvKGPRcl11NF8XT08yyHJkaMzCfIBHW6dUIwLKfA+RvM+eGzr1t9YsNd6fOkayxDVHcR6iIXaOtuTJgWnpVLXaEwA+vLtx9XY4fv7R3noGCr92no8OPB1yxqjWExk04XVsgUtRf2qMMvjwwMfTDwJw9xTIm387YsA16i0X2G6W4vXefRCqHUIOIhXK1Fvd+QNRWerf65KTkQp8TTkDtAJtOkp0tRhYL8CK0Wz+R6ASafL1R5k5bAjDNkWOrHvU2OdefvdXc7puJ5PjAryQ/tEy6Xie57shbjS3YoVF/U0SRwBrajUTD8mdNFeiX0HtkdgQc28LWNb76N2agQyrf38Zapx6UZxi+RGt8OmsLHal2X9dYDHBaWQbu790eYd/g4b9QYK5Ov6CkWZzQTxsFHyqY3cs05xFo77r5fE5X1Pk1iv4YNlP7pKQYqe5PjLvi9W9oQ6+/BgJN13B2jghYaxn2SYcAt9pTAiURSG0m+VWLYoEbTYVFH14kcgkIj5zAqZnIHwjM/j7XXLS3RnTNd2ts6t6L8PCSx8vKkB1P/eQJL0mjY+nzjHMVrbtHPCrPeOAkADXGm17basGVCjjMFDVnBDRUjlJzWfQcfO9O0lbPoZcpI32SkPu8/LNm1x3ymiWxSvgVkn6bWJ1sh+xnLTlDUS+jDNEAjSnvF4jTRfaHVubJsDeaazgHs=" title="Mekko Graphics Chart"/>
          <p:cNvSpPr>
            <a:spLocks noChangeAspect="1"/>
          </p:cNvSpPr>
          <p:nvPr>
            <p:custDataLst>
              <p:tags r:id="rId3"/>
            </p:custDataLst>
          </p:nvPr>
        </p:nvSpPr>
        <p:spPr>
          <a:xfrm>
            <a:off x="345123" y="1268861"/>
            <a:ext cx="7580313" cy="4903783"/>
          </a:xfrm>
          <a:prstGeom prst="rect">
            <a:avLst/>
          </a:prstGeom>
          <a:blipFill>
            <a:blip r:embed="rId18"/>
            <a:stretch>
              <a:fillRect/>
            </a:stretch>
          </a:blipFill>
          <a:ln w="1905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180" tIns="34180" rIns="34180" bIns="34180" rtlCol="0" anchor="ctr"/>
          <a:lstStyle/>
          <a:p>
            <a:pPr algn="ctr"/>
            <a:endParaRPr lang="en-US" sz="1899">
              <a:solidFill>
                <a:schemeClr val="tx1"/>
              </a:solidFill>
            </a:endParaRPr>
          </a:p>
        </p:txBody>
      </p:sp>
      <p:sp>
        <p:nvSpPr>
          <p:cNvPr id="26" name="btfpNotesBox304406"/>
          <p:cNvSpPr txBox="1"/>
          <p:nvPr>
            <p:custDataLst>
              <p:tags r:id="rId4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>
                <a:solidFill>
                  <a:srgbClr val="000000"/>
                </a:solidFill>
              </a:rPr>
              <a:t>Source: </a:t>
            </a:r>
            <a:r>
              <a:rPr lang="en-US" sz="800" err="1">
                <a:solidFill>
                  <a:srgbClr val="000000"/>
                </a:solidFill>
              </a:rPr>
              <a:t>SensorTower</a:t>
            </a:r>
            <a:endParaRPr lang="en-US" sz="800">
              <a:solidFill>
                <a:srgbClr val="000000"/>
              </a:solidFill>
            </a:endParaRPr>
          </a:p>
        </p:txBody>
      </p:sp>
      <p:sp>
        <p:nvSpPr>
          <p:cNvPr id="7" name="BainBulletsConfiguration" hidden="1"/>
          <p:cNvSpPr txBox="1"/>
          <p:nvPr/>
        </p:nvSpPr>
        <p:spPr bwMode="gray">
          <a:xfrm>
            <a:off x="12700" y="12700"/>
            <a:ext cx="72768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endParaRPr lang="en-US" sz="100" err="1">
              <a:solidFill>
                <a:srgbClr val="FFFFFF"/>
              </a:solidFill>
            </a:endParaRPr>
          </a:p>
        </p:txBody>
      </p:sp>
      <p:grpSp>
        <p:nvGrpSpPr>
          <p:cNvPr id="20" name="btfpColumnHeaderBox198768">
            <a:extLst>
              <a:ext uri="{FF2B5EF4-FFF2-40B4-BE49-F238E27FC236}">
                <a16:creationId xmlns:a16="http://schemas.microsoft.com/office/drawing/2014/main" id="{DA04D66A-74F2-EBB0-1CB9-9B035E1184B5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8163947" y="1239538"/>
            <a:ext cx="3693091" cy="285432"/>
            <a:chOff x="4776416" y="1230864"/>
            <a:chExt cx="6616393" cy="285432"/>
          </a:xfrm>
        </p:grpSpPr>
        <p:sp>
          <p:nvSpPr>
            <p:cNvPr id="21" name="btfpColumnHeaderBoxText198768">
              <a:extLst>
                <a:ext uri="{FF2B5EF4-FFF2-40B4-BE49-F238E27FC236}">
                  <a16:creationId xmlns:a16="http://schemas.microsoft.com/office/drawing/2014/main" id="{A51E6DE5-B3FF-9E6E-72F9-06FF5B8CDAF4}"/>
                </a:ext>
              </a:extLst>
            </p:cNvPr>
            <p:cNvSpPr txBox="1"/>
            <p:nvPr/>
          </p:nvSpPr>
          <p:spPr bwMode="gray">
            <a:xfrm>
              <a:off x="4776416" y="1230864"/>
              <a:ext cx="6616393" cy="285432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400" b="1">
                  <a:solidFill>
                    <a:srgbClr val="000000"/>
                  </a:solidFill>
                </a:rPr>
                <a:t>Commentary</a:t>
              </a:r>
              <a:endParaRPr lang="en-US" sz="1100" b="1">
                <a:solidFill>
                  <a:srgbClr val="000000"/>
                </a:solidFill>
              </a:endParaRPr>
            </a:p>
          </p:txBody>
        </p:sp>
        <p:cxnSp>
          <p:nvCxnSpPr>
            <p:cNvPr id="22" name="btfpColumnHeaderBoxLine198768">
              <a:extLst>
                <a:ext uri="{FF2B5EF4-FFF2-40B4-BE49-F238E27FC236}">
                  <a16:creationId xmlns:a16="http://schemas.microsoft.com/office/drawing/2014/main" id="{BA839E87-E739-88DE-F827-60108146105C}"/>
                </a:ext>
              </a:extLst>
            </p:cNvPr>
            <p:cNvCxnSpPr/>
            <p:nvPr/>
          </p:nvCxnSpPr>
          <p:spPr bwMode="gray">
            <a:xfrm>
              <a:off x="4776416" y="1516296"/>
              <a:ext cx="6616393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btfpQuoteBox951386">
            <a:extLst>
              <a:ext uri="{FF2B5EF4-FFF2-40B4-BE49-F238E27FC236}">
                <a16:creationId xmlns:a16="http://schemas.microsoft.com/office/drawing/2014/main" id="{00759A83-AD11-9ADF-98B6-0BC726CC4182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gray">
          <a:xfrm>
            <a:off x="8167306" y="1610619"/>
            <a:ext cx="3693091" cy="996106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t">
            <a:spAutoFit/>
          </a:bodyPr>
          <a:lstStyle/>
          <a:p>
            <a:pPr marL="90729" indent="-90729">
              <a:spcBef>
                <a:spcPts val="0"/>
              </a:spcBef>
              <a:buNone/>
            </a:pPr>
            <a:r>
              <a:rPr lang="en-US" sz="1200" i="1"/>
              <a:t>“I really like the </a:t>
            </a:r>
            <a:r>
              <a:rPr lang="en-US" sz="1200" b="1" i="1">
                <a:solidFill>
                  <a:srgbClr val="507867"/>
                </a:solidFill>
              </a:rPr>
              <a:t>ability to communicate </a:t>
            </a:r>
            <a:r>
              <a:rPr lang="en-US" sz="1200" i="1"/>
              <a:t>with a real person to talk about any specific needs I have concerning my mobility. They were </a:t>
            </a:r>
            <a:r>
              <a:rPr lang="en-US" sz="1200" b="1" i="1">
                <a:solidFill>
                  <a:srgbClr val="507867"/>
                </a:solidFill>
              </a:rPr>
              <a:t>fast to respond </a:t>
            </a:r>
            <a:r>
              <a:rPr lang="en-US" sz="1200" i="1"/>
              <a:t>to those needs and update my stretches accordingly.”</a:t>
            </a:r>
          </a:p>
        </p:txBody>
      </p:sp>
      <p:grpSp>
        <p:nvGrpSpPr>
          <p:cNvPr id="32" name="btfpRunningAgenda1Level428265">
            <a:extLst>
              <a:ext uri="{FF2B5EF4-FFF2-40B4-BE49-F238E27FC236}">
                <a16:creationId xmlns:a16="http://schemas.microsoft.com/office/drawing/2014/main" id="{EBD28625-4E96-21AA-8FF1-9DA04E87704E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0" y="944429"/>
            <a:ext cx="3576749" cy="257442"/>
            <a:chOff x="0" y="876300"/>
            <a:chExt cx="3576749" cy="257442"/>
          </a:xfrm>
        </p:grpSpPr>
        <p:sp>
          <p:nvSpPr>
            <p:cNvPr id="31" name="btfpRunningAgenda1LevelBarLeft428265">
              <a:extLst>
                <a:ext uri="{FF2B5EF4-FFF2-40B4-BE49-F238E27FC236}">
                  <a16:creationId xmlns:a16="http://schemas.microsoft.com/office/drawing/2014/main" id="{F5E29422-F163-A984-195B-64858832C77E}"/>
                </a:ext>
              </a:extLst>
            </p:cNvPr>
            <p:cNvSpPr/>
            <p:nvPr/>
          </p:nvSpPr>
          <p:spPr bwMode="gray">
            <a:xfrm>
              <a:off x="0" y="876300"/>
              <a:ext cx="3479186" cy="257442"/>
            </a:xfrm>
            <a:custGeom>
              <a:avLst/>
              <a:gdLst>
                <a:gd name="connsiteX0" fmla="*/ 960419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60419 w 1816204"/>
                <a:gd name="connsiteY0" fmla="*/ 0 h 257442"/>
                <a:gd name="connsiteX1" fmla="*/ 905699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60419 w 960419"/>
                <a:gd name="connsiteY0" fmla="*/ 0 h 257442"/>
                <a:gd name="connsiteX1" fmla="*/ 905699 w 960419"/>
                <a:gd name="connsiteY1" fmla="*/ 257442 h 257442"/>
                <a:gd name="connsiteX2" fmla="*/ 1 w 960419"/>
                <a:gd name="connsiteY2" fmla="*/ 257442 h 257442"/>
                <a:gd name="connsiteX3" fmla="*/ 0 w 960419"/>
                <a:gd name="connsiteY3" fmla="*/ 257442 h 257442"/>
                <a:gd name="connsiteX0" fmla="*/ 960418 w 960418"/>
                <a:gd name="connsiteY0" fmla="*/ 0 h 257442"/>
                <a:gd name="connsiteX1" fmla="*/ 905698 w 960418"/>
                <a:gd name="connsiteY1" fmla="*/ 257442 h 257442"/>
                <a:gd name="connsiteX2" fmla="*/ 0 w 960418"/>
                <a:gd name="connsiteY2" fmla="*/ 257442 h 257442"/>
                <a:gd name="connsiteX3" fmla="*/ 1 w 960418"/>
                <a:gd name="connsiteY3" fmla="*/ 0 h 257442"/>
                <a:gd name="connsiteX0" fmla="*/ 1120719 w 1120719"/>
                <a:gd name="connsiteY0" fmla="*/ 0 h 257442"/>
                <a:gd name="connsiteX1" fmla="*/ 905698 w 1120719"/>
                <a:gd name="connsiteY1" fmla="*/ 257442 h 257442"/>
                <a:gd name="connsiteX2" fmla="*/ 0 w 1120719"/>
                <a:gd name="connsiteY2" fmla="*/ 257442 h 257442"/>
                <a:gd name="connsiteX3" fmla="*/ 1 w 1120719"/>
                <a:gd name="connsiteY3" fmla="*/ 0 h 257442"/>
                <a:gd name="connsiteX0" fmla="*/ 1120719 w 1120719"/>
                <a:gd name="connsiteY0" fmla="*/ 0 h 257442"/>
                <a:gd name="connsiteX1" fmla="*/ 1065998 w 1120719"/>
                <a:gd name="connsiteY1" fmla="*/ 257442 h 257442"/>
                <a:gd name="connsiteX2" fmla="*/ 0 w 1120719"/>
                <a:gd name="connsiteY2" fmla="*/ 257442 h 257442"/>
                <a:gd name="connsiteX3" fmla="*/ 1 w 1120719"/>
                <a:gd name="connsiteY3" fmla="*/ 0 h 257442"/>
                <a:gd name="connsiteX0" fmla="*/ 1120719 w 1120719"/>
                <a:gd name="connsiteY0" fmla="*/ 0 h 257442"/>
                <a:gd name="connsiteX1" fmla="*/ 1065998 w 1120719"/>
                <a:gd name="connsiteY1" fmla="*/ 257442 h 257442"/>
                <a:gd name="connsiteX2" fmla="*/ 0 w 1120719"/>
                <a:gd name="connsiteY2" fmla="*/ 257442 h 257442"/>
                <a:gd name="connsiteX3" fmla="*/ 1 w 1120719"/>
                <a:gd name="connsiteY3" fmla="*/ 0 h 257442"/>
                <a:gd name="connsiteX0" fmla="*/ 1120719 w 1120719"/>
                <a:gd name="connsiteY0" fmla="*/ 0 h 257442"/>
                <a:gd name="connsiteX1" fmla="*/ 1065998 w 1120719"/>
                <a:gd name="connsiteY1" fmla="*/ 257442 h 257442"/>
                <a:gd name="connsiteX2" fmla="*/ 0 w 1120719"/>
                <a:gd name="connsiteY2" fmla="*/ 257442 h 257442"/>
                <a:gd name="connsiteX3" fmla="*/ 0 w 1120719"/>
                <a:gd name="connsiteY3" fmla="*/ 0 h 257442"/>
                <a:gd name="connsiteX0" fmla="*/ 1281020 w 1281020"/>
                <a:gd name="connsiteY0" fmla="*/ 0 h 257442"/>
                <a:gd name="connsiteX1" fmla="*/ 1065998 w 1281020"/>
                <a:gd name="connsiteY1" fmla="*/ 257442 h 257442"/>
                <a:gd name="connsiteX2" fmla="*/ 0 w 1281020"/>
                <a:gd name="connsiteY2" fmla="*/ 257442 h 257442"/>
                <a:gd name="connsiteX3" fmla="*/ 0 w 1281020"/>
                <a:gd name="connsiteY3" fmla="*/ 0 h 257442"/>
                <a:gd name="connsiteX0" fmla="*/ 1281020 w 1281020"/>
                <a:gd name="connsiteY0" fmla="*/ 0 h 257442"/>
                <a:gd name="connsiteX1" fmla="*/ 1226298 w 1281020"/>
                <a:gd name="connsiteY1" fmla="*/ 257442 h 257442"/>
                <a:gd name="connsiteX2" fmla="*/ 0 w 1281020"/>
                <a:gd name="connsiteY2" fmla="*/ 257442 h 257442"/>
                <a:gd name="connsiteX3" fmla="*/ 0 w 1281020"/>
                <a:gd name="connsiteY3" fmla="*/ 0 h 257442"/>
                <a:gd name="connsiteX0" fmla="*/ 1281021 w 1281021"/>
                <a:gd name="connsiteY0" fmla="*/ 0 h 257442"/>
                <a:gd name="connsiteX1" fmla="*/ 1226299 w 1281021"/>
                <a:gd name="connsiteY1" fmla="*/ 257442 h 257442"/>
                <a:gd name="connsiteX2" fmla="*/ 0 w 1281021"/>
                <a:gd name="connsiteY2" fmla="*/ 257442 h 257442"/>
                <a:gd name="connsiteX3" fmla="*/ 1 w 1281021"/>
                <a:gd name="connsiteY3" fmla="*/ 0 h 257442"/>
                <a:gd name="connsiteX0" fmla="*/ 1281021 w 1281021"/>
                <a:gd name="connsiteY0" fmla="*/ 0 h 257442"/>
                <a:gd name="connsiteX1" fmla="*/ 1226299 w 1281021"/>
                <a:gd name="connsiteY1" fmla="*/ 257442 h 257442"/>
                <a:gd name="connsiteX2" fmla="*/ 0 w 1281021"/>
                <a:gd name="connsiteY2" fmla="*/ 257442 h 257442"/>
                <a:gd name="connsiteX3" fmla="*/ 1 w 1281021"/>
                <a:gd name="connsiteY3" fmla="*/ 0 h 257442"/>
                <a:gd name="connsiteX0" fmla="*/ 1449336 w 1449336"/>
                <a:gd name="connsiteY0" fmla="*/ 0 h 257442"/>
                <a:gd name="connsiteX1" fmla="*/ 1226299 w 1449336"/>
                <a:gd name="connsiteY1" fmla="*/ 257442 h 257442"/>
                <a:gd name="connsiteX2" fmla="*/ 0 w 1449336"/>
                <a:gd name="connsiteY2" fmla="*/ 257442 h 257442"/>
                <a:gd name="connsiteX3" fmla="*/ 1 w 1449336"/>
                <a:gd name="connsiteY3" fmla="*/ 0 h 257442"/>
                <a:gd name="connsiteX0" fmla="*/ 1449336 w 1449336"/>
                <a:gd name="connsiteY0" fmla="*/ 0 h 257442"/>
                <a:gd name="connsiteX1" fmla="*/ 1394614 w 1449336"/>
                <a:gd name="connsiteY1" fmla="*/ 257442 h 257442"/>
                <a:gd name="connsiteX2" fmla="*/ 0 w 1449336"/>
                <a:gd name="connsiteY2" fmla="*/ 257442 h 257442"/>
                <a:gd name="connsiteX3" fmla="*/ 1 w 1449336"/>
                <a:gd name="connsiteY3" fmla="*/ 0 h 257442"/>
                <a:gd name="connsiteX0" fmla="*/ 1449336 w 1449336"/>
                <a:gd name="connsiteY0" fmla="*/ 0 h 257442"/>
                <a:gd name="connsiteX1" fmla="*/ 1394614 w 1449336"/>
                <a:gd name="connsiteY1" fmla="*/ 257442 h 257442"/>
                <a:gd name="connsiteX2" fmla="*/ 0 w 1449336"/>
                <a:gd name="connsiteY2" fmla="*/ 257442 h 257442"/>
                <a:gd name="connsiteX3" fmla="*/ 1 w 1449336"/>
                <a:gd name="connsiteY3" fmla="*/ 0 h 257442"/>
                <a:gd name="connsiteX0" fmla="*/ 1449336 w 1449336"/>
                <a:gd name="connsiteY0" fmla="*/ 0 h 257442"/>
                <a:gd name="connsiteX1" fmla="*/ 1394614 w 1449336"/>
                <a:gd name="connsiteY1" fmla="*/ 257442 h 257442"/>
                <a:gd name="connsiteX2" fmla="*/ 0 w 1449336"/>
                <a:gd name="connsiteY2" fmla="*/ 257442 h 257442"/>
                <a:gd name="connsiteX3" fmla="*/ 0 w 1449336"/>
                <a:gd name="connsiteY3" fmla="*/ 0 h 257442"/>
                <a:gd name="connsiteX0" fmla="*/ 1617650 w 1617650"/>
                <a:gd name="connsiteY0" fmla="*/ 0 h 257442"/>
                <a:gd name="connsiteX1" fmla="*/ 1394614 w 1617650"/>
                <a:gd name="connsiteY1" fmla="*/ 257442 h 257442"/>
                <a:gd name="connsiteX2" fmla="*/ 0 w 1617650"/>
                <a:gd name="connsiteY2" fmla="*/ 257442 h 257442"/>
                <a:gd name="connsiteX3" fmla="*/ 0 w 1617650"/>
                <a:gd name="connsiteY3" fmla="*/ 0 h 257442"/>
                <a:gd name="connsiteX0" fmla="*/ 1617650 w 1617650"/>
                <a:gd name="connsiteY0" fmla="*/ 0 h 257442"/>
                <a:gd name="connsiteX1" fmla="*/ 1562929 w 1617650"/>
                <a:gd name="connsiteY1" fmla="*/ 257442 h 257442"/>
                <a:gd name="connsiteX2" fmla="*/ 0 w 1617650"/>
                <a:gd name="connsiteY2" fmla="*/ 257442 h 257442"/>
                <a:gd name="connsiteX3" fmla="*/ 0 w 1617650"/>
                <a:gd name="connsiteY3" fmla="*/ 0 h 257442"/>
                <a:gd name="connsiteX0" fmla="*/ 1617650 w 1617650"/>
                <a:gd name="connsiteY0" fmla="*/ 0 h 257442"/>
                <a:gd name="connsiteX1" fmla="*/ 1562929 w 1617650"/>
                <a:gd name="connsiteY1" fmla="*/ 257442 h 257442"/>
                <a:gd name="connsiteX2" fmla="*/ 0 w 1617650"/>
                <a:gd name="connsiteY2" fmla="*/ 257442 h 257442"/>
                <a:gd name="connsiteX3" fmla="*/ 0 w 1617650"/>
                <a:gd name="connsiteY3" fmla="*/ 0 h 257442"/>
                <a:gd name="connsiteX0" fmla="*/ 1617650 w 1617650"/>
                <a:gd name="connsiteY0" fmla="*/ 0 h 257442"/>
                <a:gd name="connsiteX1" fmla="*/ 1562929 w 1617650"/>
                <a:gd name="connsiteY1" fmla="*/ 257442 h 257442"/>
                <a:gd name="connsiteX2" fmla="*/ 0 w 1617650"/>
                <a:gd name="connsiteY2" fmla="*/ 257442 h 257442"/>
                <a:gd name="connsiteX3" fmla="*/ 0 w 1617650"/>
                <a:gd name="connsiteY3" fmla="*/ 0 h 257442"/>
                <a:gd name="connsiteX0" fmla="*/ 1922221 w 1922221"/>
                <a:gd name="connsiteY0" fmla="*/ 0 h 257442"/>
                <a:gd name="connsiteX1" fmla="*/ 1562929 w 1922221"/>
                <a:gd name="connsiteY1" fmla="*/ 257442 h 257442"/>
                <a:gd name="connsiteX2" fmla="*/ 0 w 1922221"/>
                <a:gd name="connsiteY2" fmla="*/ 257442 h 257442"/>
                <a:gd name="connsiteX3" fmla="*/ 0 w 1922221"/>
                <a:gd name="connsiteY3" fmla="*/ 0 h 257442"/>
                <a:gd name="connsiteX0" fmla="*/ 1922221 w 1922221"/>
                <a:gd name="connsiteY0" fmla="*/ 0 h 257442"/>
                <a:gd name="connsiteX1" fmla="*/ 1867500 w 1922221"/>
                <a:gd name="connsiteY1" fmla="*/ 257442 h 257442"/>
                <a:gd name="connsiteX2" fmla="*/ 0 w 1922221"/>
                <a:gd name="connsiteY2" fmla="*/ 257442 h 257442"/>
                <a:gd name="connsiteX3" fmla="*/ 0 w 1922221"/>
                <a:gd name="connsiteY3" fmla="*/ 0 h 257442"/>
                <a:gd name="connsiteX0" fmla="*/ 1922221 w 1922221"/>
                <a:gd name="connsiteY0" fmla="*/ 0 h 257442"/>
                <a:gd name="connsiteX1" fmla="*/ 1867500 w 1922221"/>
                <a:gd name="connsiteY1" fmla="*/ 257442 h 257442"/>
                <a:gd name="connsiteX2" fmla="*/ 0 w 1922221"/>
                <a:gd name="connsiteY2" fmla="*/ 257442 h 257442"/>
                <a:gd name="connsiteX3" fmla="*/ 0 w 1922221"/>
                <a:gd name="connsiteY3" fmla="*/ 0 h 257442"/>
                <a:gd name="connsiteX0" fmla="*/ 1922221 w 1922221"/>
                <a:gd name="connsiteY0" fmla="*/ 0 h 257442"/>
                <a:gd name="connsiteX1" fmla="*/ 1867500 w 1922221"/>
                <a:gd name="connsiteY1" fmla="*/ 257442 h 257442"/>
                <a:gd name="connsiteX2" fmla="*/ 0 w 1922221"/>
                <a:gd name="connsiteY2" fmla="*/ 257442 h 257442"/>
                <a:gd name="connsiteX3" fmla="*/ 0 w 1922221"/>
                <a:gd name="connsiteY3" fmla="*/ 0 h 257442"/>
                <a:gd name="connsiteX0" fmla="*/ 2188768 w 2188768"/>
                <a:gd name="connsiteY0" fmla="*/ 0 h 257442"/>
                <a:gd name="connsiteX1" fmla="*/ 1867500 w 2188768"/>
                <a:gd name="connsiteY1" fmla="*/ 257442 h 257442"/>
                <a:gd name="connsiteX2" fmla="*/ 0 w 2188768"/>
                <a:gd name="connsiteY2" fmla="*/ 257442 h 257442"/>
                <a:gd name="connsiteX3" fmla="*/ 0 w 2188768"/>
                <a:gd name="connsiteY3" fmla="*/ 0 h 257442"/>
                <a:gd name="connsiteX0" fmla="*/ 2188768 w 2188768"/>
                <a:gd name="connsiteY0" fmla="*/ 0 h 257442"/>
                <a:gd name="connsiteX1" fmla="*/ 2134046 w 2188768"/>
                <a:gd name="connsiteY1" fmla="*/ 257442 h 257442"/>
                <a:gd name="connsiteX2" fmla="*/ 0 w 2188768"/>
                <a:gd name="connsiteY2" fmla="*/ 257442 h 257442"/>
                <a:gd name="connsiteX3" fmla="*/ 0 w 2188768"/>
                <a:gd name="connsiteY3" fmla="*/ 0 h 257442"/>
                <a:gd name="connsiteX0" fmla="*/ 2188769 w 2188769"/>
                <a:gd name="connsiteY0" fmla="*/ 0 h 257442"/>
                <a:gd name="connsiteX1" fmla="*/ 2134047 w 2188769"/>
                <a:gd name="connsiteY1" fmla="*/ 257442 h 257442"/>
                <a:gd name="connsiteX2" fmla="*/ 0 w 2188769"/>
                <a:gd name="connsiteY2" fmla="*/ 257442 h 257442"/>
                <a:gd name="connsiteX3" fmla="*/ 1 w 2188769"/>
                <a:gd name="connsiteY3" fmla="*/ 0 h 257442"/>
                <a:gd name="connsiteX0" fmla="*/ 2188769 w 2188769"/>
                <a:gd name="connsiteY0" fmla="*/ 0 h 257442"/>
                <a:gd name="connsiteX1" fmla="*/ 2134047 w 2188769"/>
                <a:gd name="connsiteY1" fmla="*/ 257442 h 257442"/>
                <a:gd name="connsiteX2" fmla="*/ 0 w 2188769"/>
                <a:gd name="connsiteY2" fmla="*/ 257442 h 257442"/>
                <a:gd name="connsiteX3" fmla="*/ 1 w 2188769"/>
                <a:gd name="connsiteY3" fmla="*/ 0 h 257442"/>
                <a:gd name="connsiteX0" fmla="*/ 2357085 w 2357085"/>
                <a:gd name="connsiteY0" fmla="*/ 0 h 257442"/>
                <a:gd name="connsiteX1" fmla="*/ 2134047 w 2357085"/>
                <a:gd name="connsiteY1" fmla="*/ 257442 h 257442"/>
                <a:gd name="connsiteX2" fmla="*/ 0 w 2357085"/>
                <a:gd name="connsiteY2" fmla="*/ 257442 h 257442"/>
                <a:gd name="connsiteX3" fmla="*/ 1 w 2357085"/>
                <a:gd name="connsiteY3" fmla="*/ 0 h 257442"/>
                <a:gd name="connsiteX0" fmla="*/ 2357085 w 2357085"/>
                <a:gd name="connsiteY0" fmla="*/ 0 h 257442"/>
                <a:gd name="connsiteX1" fmla="*/ 2302364 w 2357085"/>
                <a:gd name="connsiteY1" fmla="*/ 257442 h 257442"/>
                <a:gd name="connsiteX2" fmla="*/ 0 w 2357085"/>
                <a:gd name="connsiteY2" fmla="*/ 257442 h 257442"/>
                <a:gd name="connsiteX3" fmla="*/ 1 w 2357085"/>
                <a:gd name="connsiteY3" fmla="*/ 0 h 257442"/>
                <a:gd name="connsiteX0" fmla="*/ 2357084 w 2357084"/>
                <a:gd name="connsiteY0" fmla="*/ 0 h 257442"/>
                <a:gd name="connsiteX1" fmla="*/ 2302363 w 2357084"/>
                <a:gd name="connsiteY1" fmla="*/ 257442 h 257442"/>
                <a:gd name="connsiteX2" fmla="*/ 0 w 2357084"/>
                <a:gd name="connsiteY2" fmla="*/ 257442 h 257442"/>
                <a:gd name="connsiteX3" fmla="*/ 0 w 2357084"/>
                <a:gd name="connsiteY3" fmla="*/ 0 h 257442"/>
                <a:gd name="connsiteX0" fmla="*/ 2357085 w 2357085"/>
                <a:gd name="connsiteY0" fmla="*/ 0 h 257442"/>
                <a:gd name="connsiteX1" fmla="*/ 2302364 w 2357085"/>
                <a:gd name="connsiteY1" fmla="*/ 257442 h 257442"/>
                <a:gd name="connsiteX2" fmla="*/ 1 w 2357085"/>
                <a:gd name="connsiteY2" fmla="*/ 257442 h 257442"/>
                <a:gd name="connsiteX3" fmla="*/ 0 w 2357085"/>
                <a:gd name="connsiteY3" fmla="*/ 0 h 257442"/>
                <a:gd name="connsiteX0" fmla="*/ 2598946 w 2598946"/>
                <a:gd name="connsiteY0" fmla="*/ 0 h 257442"/>
                <a:gd name="connsiteX1" fmla="*/ 2302364 w 2598946"/>
                <a:gd name="connsiteY1" fmla="*/ 257442 h 257442"/>
                <a:gd name="connsiteX2" fmla="*/ 1 w 2598946"/>
                <a:gd name="connsiteY2" fmla="*/ 257442 h 257442"/>
                <a:gd name="connsiteX3" fmla="*/ 0 w 2598946"/>
                <a:gd name="connsiteY3" fmla="*/ 0 h 257442"/>
                <a:gd name="connsiteX0" fmla="*/ 2598946 w 2598946"/>
                <a:gd name="connsiteY0" fmla="*/ 0 h 257442"/>
                <a:gd name="connsiteX1" fmla="*/ 2544224 w 2598946"/>
                <a:gd name="connsiteY1" fmla="*/ 257442 h 257442"/>
                <a:gd name="connsiteX2" fmla="*/ 1 w 2598946"/>
                <a:gd name="connsiteY2" fmla="*/ 257442 h 257442"/>
                <a:gd name="connsiteX3" fmla="*/ 0 w 2598946"/>
                <a:gd name="connsiteY3" fmla="*/ 0 h 257442"/>
                <a:gd name="connsiteX0" fmla="*/ 2598946 w 2598946"/>
                <a:gd name="connsiteY0" fmla="*/ 0 h 257442"/>
                <a:gd name="connsiteX1" fmla="*/ 2544224 w 2598946"/>
                <a:gd name="connsiteY1" fmla="*/ 257442 h 257442"/>
                <a:gd name="connsiteX2" fmla="*/ 0 w 2598946"/>
                <a:gd name="connsiteY2" fmla="*/ 257442 h 257442"/>
                <a:gd name="connsiteX3" fmla="*/ 0 w 2598946"/>
                <a:gd name="connsiteY3" fmla="*/ 0 h 257442"/>
                <a:gd name="connsiteX0" fmla="*/ 2598946 w 2598946"/>
                <a:gd name="connsiteY0" fmla="*/ 0 h 257442"/>
                <a:gd name="connsiteX1" fmla="*/ 2544224 w 2598946"/>
                <a:gd name="connsiteY1" fmla="*/ 257442 h 257442"/>
                <a:gd name="connsiteX2" fmla="*/ 0 w 2598946"/>
                <a:gd name="connsiteY2" fmla="*/ 257442 h 257442"/>
                <a:gd name="connsiteX3" fmla="*/ 0 w 2598946"/>
                <a:gd name="connsiteY3" fmla="*/ 0 h 257442"/>
                <a:gd name="connsiteX0" fmla="*/ 2767259 w 2767259"/>
                <a:gd name="connsiteY0" fmla="*/ 0 h 257442"/>
                <a:gd name="connsiteX1" fmla="*/ 2544224 w 2767259"/>
                <a:gd name="connsiteY1" fmla="*/ 257442 h 257442"/>
                <a:gd name="connsiteX2" fmla="*/ 0 w 2767259"/>
                <a:gd name="connsiteY2" fmla="*/ 257442 h 257442"/>
                <a:gd name="connsiteX3" fmla="*/ 0 w 2767259"/>
                <a:gd name="connsiteY3" fmla="*/ 0 h 257442"/>
                <a:gd name="connsiteX0" fmla="*/ 2767259 w 2767259"/>
                <a:gd name="connsiteY0" fmla="*/ 0 h 257442"/>
                <a:gd name="connsiteX1" fmla="*/ 2712538 w 2767259"/>
                <a:gd name="connsiteY1" fmla="*/ 257442 h 257442"/>
                <a:gd name="connsiteX2" fmla="*/ 0 w 2767259"/>
                <a:gd name="connsiteY2" fmla="*/ 257442 h 257442"/>
                <a:gd name="connsiteX3" fmla="*/ 0 w 2767259"/>
                <a:gd name="connsiteY3" fmla="*/ 0 h 257442"/>
                <a:gd name="connsiteX0" fmla="*/ 2767259 w 2767259"/>
                <a:gd name="connsiteY0" fmla="*/ 0 h 257442"/>
                <a:gd name="connsiteX1" fmla="*/ 2712538 w 2767259"/>
                <a:gd name="connsiteY1" fmla="*/ 257442 h 257442"/>
                <a:gd name="connsiteX2" fmla="*/ 0 w 2767259"/>
                <a:gd name="connsiteY2" fmla="*/ 257442 h 257442"/>
                <a:gd name="connsiteX3" fmla="*/ 0 w 2767259"/>
                <a:gd name="connsiteY3" fmla="*/ 0 h 257442"/>
                <a:gd name="connsiteX0" fmla="*/ 2767259 w 2767259"/>
                <a:gd name="connsiteY0" fmla="*/ 0 h 257442"/>
                <a:gd name="connsiteX1" fmla="*/ 2712538 w 2767259"/>
                <a:gd name="connsiteY1" fmla="*/ 257442 h 257442"/>
                <a:gd name="connsiteX2" fmla="*/ 0 w 2767259"/>
                <a:gd name="connsiteY2" fmla="*/ 257442 h 257442"/>
                <a:gd name="connsiteX3" fmla="*/ 0 w 2767259"/>
                <a:gd name="connsiteY3" fmla="*/ 0 h 257442"/>
                <a:gd name="connsiteX0" fmla="*/ 2945193 w 2945193"/>
                <a:gd name="connsiteY0" fmla="*/ 0 h 257442"/>
                <a:gd name="connsiteX1" fmla="*/ 2712538 w 2945193"/>
                <a:gd name="connsiteY1" fmla="*/ 257442 h 257442"/>
                <a:gd name="connsiteX2" fmla="*/ 0 w 2945193"/>
                <a:gd name="connsiteY2" fmla="*/ 257442 h 257442"/>
                <a:gd name="connsiteX3" fmla="*/ 0 w 2945193"/>
                <a:gd name="connsiteY3" fmla="*/ 0 h 257442"/>
                <a:gd name="connsiteX0" fmla="*/ 2945193 w 2945193"/>
                <a:gd name="connsiteY0" fmla="*/ 0 h 257442"/>
                <a:gd name="connsiteX1" fmla="*/ 2890472 w 2945193"/>
                <a:gd name="connsiteY1" fmla="*/ 257442 h 257442"/>
                <a:gd name="connsiteX2" fmla="*/ 0 w 2945193"/>
                <a:gd name="connsiteY2" fmla="*/ 257442 h 257442"/>
                <a:gd name="connsiteX3" fmla="*/ 0 w 2945193"/>
                <a:gd name="connsiteY3" fmla="*/ 0 h 257442"/>
                <a:gd name="connsiteX0" fmla="*/ 2945193 w 2945193"/>
                <a:gd name="connsiteY0" fmla="*/ 0 h 257442"/>
                <a:gd name="connsiteX1" fmla="*/ 2890472 w 2945193"/>
                <a:gd name="connsiteY1" fmla="*/ 257442 h 257442"/>
                <a:gd name="connsiteX2" fmla="*/ 0 w 2945193"/>
                <a:gd name="connsiteY2" fmla="*/ 257442 h 257442"/>
                <a:gd name="connsiteX3" fmla="*/ 0 w 2945193"/>
                <a:gd name="connsiteY3" fmla="*/ 0 h 257442"/>
                <a:gd name="connsiteX0" fmla="*/ 2945193 w 2945193"/>
                <a:gd name="connsiteY0" fmla="*/ 0 h 257442"/>
                <a:gd name="connsiteX1" fmla="*/ 2890472 w 2945193"/>
                <a:gd name="connsiteY1" fmla="*/ 257442 h 257442"/>
                <a:gd name="connsiteX2" fmla="*/ 0 w 2945193"/>
                <a:gd name="connsiteY2" fmla="*/ 257442 h 257442"/>
                <a:gd name="connsiteX3" fmla="*/ 0 w 2945193"/>
                <a:gd name="connsiteY3" fmla="*/ 0 h 257442"/>
                <a:gd name="connsiteX0" fmla="*/ 950801 w 2890472"/>
                <a:gd name="connsiteY0" fmla="*/ 0 h 257442"/>
                <a:gd name="connsiteX1" fmla="*/ 2890472 w 2890472"/>
                <a:gd name="connsiteY1" fmla="*/ 257442 h 257442"/>
                <a:gd name="connsiteX2" fmla="*/ 0 w 2890472"/>
                <a:gd name="connsiteY2" fmla="*/ 257442 h 257442"/>
                <a:gd name="connsiteX3" fmla="*/ 0 w 2890472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0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0 w 950800"/>
                <a:gd name="connsiteY3" fmla="*/ 0 h 257442"/>
                <a:gd name="connsiteX0" fmla="*/ 1119115 w 1119115"/>
                <a:gd name="connsiteY0" fmla="*/ 0 h 257442"/>
                <a:gd name="connsiteX1" fmla="*/ 896079 w 1119115"/>
                <a:gd name="connsiteY1" fmla="*/ 257442 h 257442"/>
                <a:gd name="connsiteX2" fmla="*/ 0 w 1119115"/>
                <a:gd name="connsiteY2" fmla="*/ 257442 h 257442"/>
                <a:gd name="connsiteX3" fmla="*/ 0 w 1119115"/>
                <a:gd name="connsiteY3" fmla="*/ 0 h 257442"/>
                <a:gd name="connsiteX0" fmla="*/ 1119115 w 1119115"/>
                <a:gd name="connsiteY0" fmla="*/ 0 h 257442"/>
                <a:gd name="connsiteX1" fmla="*/ 1064394 w 1119115"/>
                <a:gd name="connsiteY1" fmla="*/ 257442 h 257442"/>
                <a:gd name="connsiteX2" fmla="*/ 0 w 1119115"/>
                <a:gd name="connsiteY2" fmla="*/ 257442 h 257442"/>
                <a:gd name="connsiteX3" fmla="*/ 0 w 1119115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1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279416 w 1279416"/>
                <a:gd name="connsiteY0" fmla="*/ 0 h 257442"/>
                <a:gd name="connsiteX1" fmla="*/ 1064395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606878 w 1606878"/>
                <a:gd name="connsiteY0" fmla="*/ 0 h 257442"/>
                <a:gd name="connsiteX1" fmla="*/ 1224695 w 1606878"/>
                <a:gd name="connsiteY1" fmla="*/ 257442 h 257442"/>
                <a:gd name="connsiteX2" fmla="*/ 0 w 1606878"/>
                <a:gd name="connsiteY2" fmla="*/ 257442 h 257442"/>
                <a:gd name="connsiteX3" fmla="*/ 0 w 1606878"/>
                <a:gd name="connsiteY3" fmla="*/ 0 h 257442"/>
                <a:gd name="connsiteX0" fmla="*/ 1606878 w 1606878"/>
                <a:gd name="connsiteY0" fmla="*/ 0 h 257442"/>
                <a:gd name="connsiteX1" fmla="*/ 1552157 w 1606878"/>
                <a:gd name="connsiteY1" fmla="*/ 257442 h 257442"/>
                <a:gd name="connsiteX2" fmla="*/ 0 w 1606878"/>
                <a:gd name="connsiteY2" fmla="*/ 257442 h 257442"/>
                <a:gd name="connsiteX3" fmla="*/ 0 w 1606878"/>
                <a:gd name="connsiteY3" fmla="*/ 0 h 257442"/>
                <a:gd name="connsiteX0" fmla="*/ 1606878 w 1606878"/>
                <a:gd name="connsiteY0" fmla="*/ 0 h 257442"/>
                <a:gd name="connsiteX1" fmla="*/ 1552157 w 1606878"/>
                <a:gd name="connsiteY1" fmla="*/ 257442 h 257442"/>
                <a:gd name="connsiteX2" fmla="*/ 0 w 1606878"/>
                <a:gd name="connsiteY2" fmla="*/ 257442 h 257442"/>
                <a:gd name="connsiteX3" fmla="*/ 0 w 1606878"/>
                <a:gd name="connsiteY3" fmla="*/ 0 h 257442"/>
                <a:gd name="connsiteX0" fmla="*/ 1606878 w 1606878"/>
                <a:gd name="connsiteY0" fmla="*/ 0 h 257442"/>
                <a:gd name="connsiteX1" fmla="*/ 1552157 w 1606878"/>
                <a:gd name="connsiteY1" fmla="*/ 257442 h 257442"/>
                <a:gd name="connsiteX2" fmla="*/ 0 w 1606878"/>
                <a:gd name="connsiteY2" fmla="*/ 257442 h 257442"/>
                <a:gd name="connsiteX3" fmla="*/ 0 w 1606878"/>
                <a:gd name="connsiteY3" fmla="*/ 0 h 257442"/>
                <a:gd name="connsiteX0" fmla="*/ 1792827 w 1792827"/>
                <a:gd name="connsiteY0" fmla="*/ 0 h 257442"/>
                <a:gd name="connsiteX1" fmla="*/ 1552157 w 1792827"/>
                <a:gd name="connsiteY1" fmla="*/ 257442 h 257442"/>
                <a:gd name="connsiteX2" fmla="*/ 0 w 1792827"/>
                <a:gd name="connsiteY2" fmla="*/ 257442 h 257442"/>
                <a:gd name="connsiteX3" fmla="*/ 0 w 1792827"/>
                <a:gd name="connsiteY3" fmla="*/ 0 h 257442"/>
                <a:gd name="connsiteX0" fmla="*/ 1792827 w 1792827"/>
                <a:gd name="connsiteY0" fmla="*/ 0 h 257442"/>
                <a:gd name="connsiteX1" fmla="*/ 1738106 w 1792827"/>
                <a:gd name="connsiteY1" fmla="*/ 257442 h 257442"/>
                <a:gd name="connsiteX2" fmla="*/ 0 w 1792827"/>
                <a:gd name="connsiteY2" fmla="*/ 257442 h 257442"/>
                <a:gd name="connsiteX3" fmla="*/ 0 w 1792827"/>
                <a:gd name="connsiteY3" fmla="*/ 0 h 257442"/>
                <a:gd name="connsiteX0" fmla="*/ 1792827 w 1792827"/>
                <a:gd name="connsiteY0" fmla="*/ 0 h 257442"/>
                <a:gd name="connsiteX1" fmla="*/ 1738106 w 1792827"/>
                <a:gd name="connsiteY1" fmla="*/ 257442 h 257442"/>
                <a:gd name="connsiteX2" fmla="*/ 0 w 1792827"/>
                <a:gd name="connsiteY2" fmla="*/ 257442 h 257442"/>
                <a:gd name="connsiteX3" fmla="*/ 0 w 1792827"/>
                <a:gd name="connsiteY3" fmla="*/ 0 h 257442"/>
                <a:gd name="connsiteX0" fmla="*/ 1792827 w 1792827"/>
                <a:gd name="connsiteY0" fmla="*/ 0 h 257442"/>
                <a:gd name="connsiteX1" fmla="*/ 1738106 w 1792827"/>
                <a:gd name="connsiteY1" fmla="*/ 257442 h 257442"/>
                <a:gd name="connsiteX2" fmla="*/ 0 w 1792827"/>
                <a:gd name="connsiteY2" fmla="*/ 257442 h 257442"/>
                <a:gd name="connsiteX3" fmla="*/ 0 w 1792827"/>
                <a:gd name="connsiteY3" fmla="*/ 0 h 257442"/>
                <a:gd name="connsiteX0" fmla="*/ 1953127 w 1953127"/>
                <a:gd name="connsiteY0" fmla="*/ 0 h 257442"/>
                <a:gd name="connsiteX1" fmla="*/ 1738106 w 1953127"/>
                <a:gd name="connsiteY1" fmla="*/ 257442 h 257442"/>
                <a:gd name="connsiteX2" fmla="*/ 0 w 1953127"/>
                <a:gd name="connsiteY2" fmla="*/ 257442 h 257442"/>
                <a:gd name="connsiteX3" fmla="*/ 0 w 1953127"/>
                <a:gd name="connsiteY3" fmla="*/ 0 h 257442"/>
                <a:gd name="connsiteX0" fmla="*/ 1953127 w 1953127"/>
                <a:gd name="connsiteY0" fmla="*/ 0 h 257442"/>
                <a:gd name="connsiteX1" fmla="*/ 1898406 w 1953127"/>
                <a:gd name="connsiteY1" fmla="*/ 257442 h 257442"/>
                <a:gd name="connsiteX2" fmla="*/ 0 w 1953127"/>
                <a:gd name="connsiteY2" fmla="*/ 257442 h 257442"/>
                <a:gd name="connsiteX3" fmla="*/ 0 w 1953127"/>
                <a:gd name="connsiteY3" fmla="*/ 0 h 257442"/>
                <a:gd name="connsiteX0" fmla="*/ 1953127 w 1953127"/>
                <a:gd name="connsiteY0" fmla="*/ 0 h 257442"/>
                <a:gd name="connsiteX1" fmla="*/ 1898406 w 1953127"/>
                <a:gd name="connsiteY1" fmla="*/ 257442 h 257442"/>
                <a:gd name="connsiteX2" fmla="*/ 0 w 1953127"/>
                <a:gd name="connsiteY2" fmla="*/ 257442 h 257442"/>
                <a:gd name="connsiteX3" fmla="*/ 0 w 1953127"/>
                <a:gd name="connsiteY3" fmla="*/ 0 h 257442"/>
                <a:gd name="connsiteX0" fmla="*/ 1953127 w 1953127"/>
                <a:gd name="connsiteY0" fmla="*/ 0 h 257442"/>
                <a:gd name="connsiteX1" fmla="*/ 1898406 w 1953127"/>
                <a:gd name="connsiteY1" fmla="*/ 257442 h 257442"/>
                <a:gd name="connsiteX2" fmla="*/ 0 w 1953127"/>
                <a:gd name="connsiteY2" fmla="*/ 257442 h 257442"/>
                <a:gd name="connsiteX3" fmla="*/ 0 w 1953127"/>
                <a:gd name="connsiteY3" fmla="*/ 0 h 257442"/>
                <a:gd name="connsiteX0" fmla="*/ 2121442 w 2121442"/>
                <a:gd name="connsiteY0" fmla="*/ 0 h 257442"/>
                <a:gd name="connsiteX1" fmla="*/ 1898406 w 2121442"/>
                <a:gd name="connsiteY1" fmla="*/ 257442 h 257442"/>
                <a:gd name="connsiteX2" fmla="*/ 0 w 2121442"/>
                <a:gd name="connsiteY2" fmla="*/ 257442 h 257442"/>
                <a:gd name="connsiteX3" fmla="*/ 0 w 2121442"/>
                <a:gd name="connsiteY3" fmla="*/ 0 h 257442"/>
                <a:gd name="connsiteX0" fmla="*/ 2121442 w 2121442"/>
                <a:gd name="connsiteY0" fmla="*/ 0 h 257442"/>
                <a:gd name="connsiteX1" fmla="*/ 2066720 w 2121442"/>
                <a:gd name="connsiteY1" fmla="*/ 257442 h 257442"/>
                <a:gd name="connsiteX2" fmla="*/ 0 w 2121442"/>
                <a:gd name="connsiteY2" fmla="*/ 257442 h 257442"/>
                <a:gd name="connsiteX3" fmla="*/ 0 w 2121442"/>
                <a:gd name="connsiteY3" fmla="*/ 0 h 257442"/>
                <a:gd name="connsiteX0" fmla="*/ 2121443 w 2121443"/>
                <a:gd name="connsiteY0" fmla="*/ 0 h 257442"/>
                <a:gd name="connsiteX1" fmla="*/ 2066721 w 2121443"/>
                <a:gd name="connsiteY1" fmla="*/ 257442 h 257442"/>
                <a:gd name="connsiteX2" fmla="*/ 0 w 2121443"/>
                <a:gd name="connsiteY2" fmla="*/ 257442 h 257442"/>
                <a:gd name="connsiteX3" fmla="*/ 1 w 2121443"/>
                <a:gd name="connsiteY3" fmla="*/ 0 h 257442"/>
                <a:gd name="connsiteX0" fmla="*/ 2121443 w 2121443"/>
                <a:gd name="connsiteY0" fmla="*/ 0 h 257442"/>
                <a:gd name="connsiteX1" fmla="*/ 2066721 w 2121443"/>
                <a:gd name="connsiteY1" fmla="*/ 257442 h 257442"/>
                <a:gd name="connsiteX2" fmla="*/ 0 w 2121443"/>
                <a:gd name="connsiteY2" fmla="*/ 257442 h 257442"/>
                <a:gd name="connsiteX3" fmla="*/ 1 w 2121443"/>
                <a:gd name="connsiteY3" fmla="*/ 0 h 257442"/>
                <a:gd name="connsiteX0" fmla="*/ 2382733 w 2382733"/>
                <a:gd name="connsiteY0" fmla="*/ 0 h 257442"/>
                <a:gd name="connsiteX1" fmla="*/ 2066721 w 2382733"/>
                <a:gd name="connsiteY1" fmla="*/ 257442 h 257442"/>
                <a:gd name="connsiteX2" fmla="*/ 0 w 2382733"/>
                <a:gd name="connsiteY2" fmla="*/ 257442 h 257442"/>
                <a:gd name="connsiteX3" fmla="*/ 1 w 2382733"/>
                <a:gd name="connsiteY3" fmla="*/ 0 h 257442"/>
                <a:gd name="connsiteX0" fmla="*/ 2382733 w 2382733"/>
                <a:gd name="connsiteY0" fmla="*/ 0 h 257442"/>
                <a:gd name="connsiteX1" fmla="*/ 2328012 w 2382733"/>
                <a:gd name="connsiteY1" fmla="*/ 257442 h 257442"/>
                <a:gd name="connsiteX2" fmla="*/ 0 w 2382733"/>
                <a:gd name="connsiteY2" fmla="*/ 257442 h 257442"/>
                <a:gd name="connsiteX3" fmla="*/ 1 w 2382733"/>
                <a:gd name="connsiteY3" fmla="*/ 0 h 257442"/>
                <a:gd name="connsiteX0" fmla="*/ 2382732 w 2382732"/>
                <a:gd name="connsiteY0" fmla="*/ 0 h 257442"/>
                <a:gd name="connsiteX1" fmla="*/ 2328011 w 2382732"/>
                <a:gd name="connsiteY1" fmla="*/ 257442 h 257442"/>
                <a:gd name="connsiteX2" fmla="*/ 0 w 2382732"/>
                <a:gd name="connsiteY2" fmla="*/ 257442 h 257442"/>
                <a:gd name="connsiteX3" fmla="*/ 0 w 2382732"/>
                <a:gd name="connsiteY3" fmla="*/ 0 h 257442"/>
                <a:gd name="connsiteX0" fmla="*/ 2382733 w 2382733"/>
                <a:gd name="connsiteY0" fmla="*/ 0 h 257442"/>
                <a:gd name="connsiteX1" fmla="*/ 2328012 w 2382733"/>
                <a:gd name="connsiteY1" fmla="*/ 257442 h 257442"/>
                <a:gd name="connsiteX2" fmla="*/ 1 w 2382733"/>
                <a:gd name="connsiteY2" fmla="*/ 257442 h 257442"/>
                <a:gd name="connsiteX3" fmla="*/ 0 w 2382733"/>
                <a:gd name="connsiteY3" fmla="*/ 0 h 257442"/>
                <a:gd name="connsiteX0" fmla="*/ 2543033 w 2543033"/>
                <a:gd name="connsiteY0" fmla="*/ 0 h 257442"/>
                <a:gd name="connsiteX1" fmla="*/ 2328012 w 2543033"/>
                <a:gd name="connsiteY1" fmla="*/ 257442 h 257442"/>
                <a:gd name="connsiteX2" fmla="*/ 1 w 2543033"/>
                <a:gd name="connsiteY2" fmla="*/ 257442 h 257442"/>
                <a:gd name="connsiteX3" fmla="*/ 0 w 2543033"/>
                <a:gd name="connsiteY3" fmla="*/ 0 h 257442"/>
                <a:gd name="connsiteX0" fmla="*/ 2543033 w 2543033"/>
                <a:gd name="connsiteY0" fmla="*/ 0 h 257442"/>
                <a:gd name="connsiteX1" fmla="*/ 2488312 w 2543033"/>
                <a:gd name="connsiteY1" fmla="*/ 257442 h 257442"/>
                <a:gd name="connsiteX2" fmla="*/ 1 w 2543033"/>
                <a:gd name="connsiteY2" fmla="*/ 257442 h 257442"/>
                <a:gd name="connsiteX3" fmla="*/ 0 w 2543033"/>
                <a:gd name="connsiteY3" fmla="*/ 0 h 257442"/>
                <a:gd name="connsiteX0" fmla="*/ 2543033 w 2543033"/>
                <a:gd name="connsiteY0" fmla="*/ 0 h 257442"/>
                <a:gd name="connsiteX1" fmla="*/ 2488312 w 2543033"/>
                <a:gd name="connsiteY1" fmla="*/ 257442 h 257442"/>
                <a:gd name="connsiteX2" fmla="*/ 1 w 2543033"/>
                <a:gd name="connsiteY2" fmla="*/ 257442 h 257442"/>
                <a:gd name="connsiteX3" fmla="*/ 0 w 2543033"/>
                <a:gd name="connsiteY3" fmla="*/ 0 h 257442"/>
                <a:gd name="connsiteX0" fmla="*/ 2543032 w 2543032"/>
                <a:gd name="connsiteY0" fmla="*/ 0 h 257442"/>
                <a:gd name="connsiteX1" fmla="*/ 2488311 w 2543032"/>
                <a:gd name="connsiteY1" fmla="*/ 257442 h 257442"/>
                <a:gd name="connsiteX2" fmla="*/ 0 w 2543032"/>
                <a:gd name="connsiteY2" fmla="*/ 257442 h 257442"/>
                <a:gd name="connsiteX3" fmla="*/ 0 w 2543032"/>
                <a:gd name="connsiteY3" fmla="*/ 0 h 257442"/>
                <a:gd name="connsiteX0" fmla="*/ 2711346 w 2711346"/>
                <a:gd name="connsiteY0" fmla="*/ 0 h 257442"/>
                <a:gd name="connsiteX1" fmla="*/ 2488311 w 2711346"/>
                <a:gd name="connsiteY1" fmla="*/ 257442 h 257442"/>
                <a:gd name="connsiteX2" fmla="*/ 0 w 2711346"/>
                <a:gd name="connsiteY2" fmla="*/ 257442 h 257442"/>
                <a:gd name="connsiteX3" fmla="*/ 0 w 2711346"/>
                <a:gd name="connsiteY3" fmla="*/ 0 h 257442"/>
                <a:gd name="connsiteX0" fmla="*/ 2711346 w 2711346"/>
                <a:gd name="connsiteY0" fmla="*/ 0 h 257442"/>
                <a:gd name="connsiteX1" fmla="*/ 2656625 w 2711346"/>
                <a:gd name="connsiteY1" fmla="*/ 257442 h 257442"/>
                <a:gd name="connsiteX2" fmla="*/ 0 w 2711346"/>
                <a:gd name="connsiteY2" fmla="*/ 257442 h 257442"/>
                <a:gd name="connsiteX3" fmla="*/ 0 w 2711346"/>
                <a:gd name="connsiteY3" fmla="*/ 0 h 257442"/>
                <a:gd name="connsiteX0" fmla="*/ 2711347 w 2711347"/>
                <a:gd name="connsiteY0" fmla="*/ 0 h 257442"/>
                <a:gd name="connsiteX1" fmla="*/ 2656626 w 2711347"/>
                <a:gd name="connsiteY1" fmla="*/ 257442 h 257442"/>
                <a:gd name="connsiteX2" fmla="*/ 0 w 2711347"/>
                <a:gd name="connsiteY2" fmla="*/ 257442 h 257442"/>
                <a:gd name="connsiteX3" fmla="*/ 1 w 2711347"/>
                <a:gd name="connsiteY3" fmla="*/ 0 h 257442"/>
                <a:gd name="connsiteX0" fmla="*/ 2711347 w 2711347"/>
                <a:gd name="connsiteY0" fmla="*/ 0 h 257442"/>
                <a:gd name="connsiteX1" fmla="*/ 2656626 w 2711347"/>
                <a:gd name="connsiteY1" fmla="*/ 257442 h 257442"/>
                <a:gd name="connsiteX2" fmla="*/ 0 w 2711347"/>
                <a:gd name="connsiteY2" fmla="*/ 257442 h 257442"/>
                <a:gd name="connsiteX3" fmla="*/ 1 w 2711347"/>
                <a:gd name="connsiteY3" fmla="*/ 0 h 257442"/>
                <a:gd name="connsiteX0" fmla="*/ 2964622 w 2964622"/>
                <a:gd name="connsiteY0" fmla="*/ 0 h 257442"/>
                <a:gd name="connsiteX1" fmla="*/ 2656626 w 2964622"/>
                <a:gd name="connsiteY1" fmla="*/ 257442 h 257442"/>
                <a:gd name="connsiteX2" fmla="*/ 0 w 2964622"/>
                <a:gd name="connsiteY2" fmla="*/ 257442 h 257442"/>
                <a:gd name="connsiteX3" fmla="*/ 1 w 2964622"/>
                <a:gd name="connsiteY3" fmla="*/ 0 h 257442"/>
                <a:gd name="connsiteX0" fmla="*/ 2964622 w 2964622"/>
                <a:gd name="connsiteY0" fmla="*/ 0 h 257442"/>
                <a:gd name="connsiteX1" fmla="*/ 2909900 w 2964622"/>
                <a:gd name="connsiteY1" fmla="*/ 257442 h 257442"/>
                <a:gd name="connsiteX2" fmla="*/ 0 w 2964622"/>
                <a:gd name="connsiteY2" fmla="*/ 257442 h 257442"/>
                <a:gd name="connsiteX3" fmla="*/ 1 w 2964622"/>
                <a:gd name="connsiteY3" fmla="*/ 0 h 257442"/>
                <a:gd name="connsiteX0" fmla="*/ 2964622 w 2964622"/>
                <a:gd name="connsiteY0" fmla="*/ 0 h 257442"/>
                <a:gd name="connsiteX1" fmla="*/ 2909900 w 2964622"/>
                <a:gd name="connsiteY1" fmla="*/ 257442 h 257442"/>
                <a:gd name="connsiteX2" fmla="*/ 0 w 2964622"/>
                <a:gd name="connsiteY2" fmla="*/ 257442 h 257442"/>
                <a:gd name="connsiteX3" fmla="*/ 1 w 2964622"/>
                <a:gd name="connsiteY3" fmla="*/ 0 h 257442"/>
                <a:gd name="connsiteX0" fmla="*/ 2964622 w 2964622"/>
                <a:gd name="connsiteY0" fmla="*/ 0 h 257442"/>
                <a:gd name="connsiteX1" fmla="*/ 2909900 w 2964622"/>
                <a:gd name="connsiteY1" fmla="*/ 257442 h 257442"/>
                <a:gd name="connsiteX2" fmla="*/ 0 w 2964622"/>
                <a:gd name="connsiteY2" fmla="*/ 257442 h 257442"/>
                <a:gd name="connsiteX3" fmla="*/ 0 w 2964622"/>
                <a:gd name="connsiteY3" fmla="*/ 0 h 257442"/>
                <a:gd name="connsiteX0" fmla="*/ 3150570 w 3150570"/>
                <a:gd name="connsiteY0" fmla="*/ 0 h 257442"/>
                <a:gd name="connsiteX1" fmla="*/ 2909900 w 3150570"/>
                <a:gd name="connsiteY1" fmla="*/ 257442 h 257442"/>
                <a:gd name="connsiteX2" fmla="*/ 0 w 3150570"/>
                <a:gd name="connsiteY2" fmla="*/ 257442 h 257442"/>
                <a:gd name="connsiteX3" fmla="*/ 0 w 3150570"/>
                <a:gd name="connsiteY3" fmla="*/ 0 h 257442"/>
                <a:gd name="connsiteX0" fmla="*/ 3150570 w 3150570"/>
                <a:gd name="connsiteY0" fmla="*/ 0 h 257442"/>
                <a:gd name="connsiteX1" fmla="*/ 3095849 w 3150570"/>
                <a:gd name="connsiteY1" fmla="*/ 257442 h 257442"/>
                <a:gd name="connsiteX2" fmla="*/ 0 w 3150570"/>
                <a:gd name="connsiteY2" fmla="*/ 257442 h 257442"/>
                <a:gd name="connsiteX3" fmla="*/ 0 w 3150570"/>
                <a:gd name="connsiteY3" fmla="*/ 0 h 257442"/>
                <a:gd name="connsiteX0" fmla="*/ 3150570 w 3150570"/>
                <a:gd name="connsiteY0" fmla="*/ 0 h 257442"/>
                <a:gd name="connsiteX1" fmla="*/ 3095849 w 3150570"/>
                <a:gd name="connsiteY1" fmla="*/ 257442 h 257442"/>
                <a:gd name="connsiteX2" fmla="*/ 0 w 3150570"/>
                <a:gd name="connsiteY2" fmla="*/ 257442 h 257442"/>
                <a:gd name="connsiteX3" fmla="*/ 0 w 3150570"/>
                <a:gd name="connsiteY3" fmla="*/ 0 h 257442"/>
                <a:gd name="connsiteX0" fmla="*/ 3150570 w 3150570"/>
                <a:gd name="connsiteY0" fmla="*/ 0 h 257442"/>
                <a:gd name="connsiteX1" fmla="*/ 3095849 w 3150570"/>
                <a:gd name="connsiteY1" fmla="*/ 257442 h 257442"/>
                <a:gd name="connsiteX2" fmla="*/ 0 w 3150570"/>
                <a:gd name="connsiteY2" fmla="*/ 257442 h 257442"/>
                <a:gd name="connsiteX3" fmla="*/ 0 w 3150570"/>
                <a:gd name="connsiteY3" fmla="*/ 0 h 257442"/>
                <a:gd name="connsiteX0" fmla="*/ 3310870 w 3310870"/>
                <a:gd name="connsiteY0" fmla="*/ 0 h 257442"/>
                <a:gd name="connsiteX1" fmla="*/ 3095849 w 3310870"/>
                <a:gd name="connsiteY1" fmla="*/ 257442 h 257442"/>
                <a:gd name="connsiteX2" fmla="*/ 0 w 3310870"/>
                <a:gd name="connsiteY2" fmla="*/ 257442 h 257442"/>
                <a:gd name="connsiteX3" fmla="*/ 0 w 3310870"/>
                <a:gd name="connsiteY3" fmla="*/ 0 h 257442"/>
                <a:gd name="connsiteX0" fmla="*/ 3310870 w 3310870"/>
                <a:gd name="connsiteY0" fmla="*/ 0 h 257442"/>
                <a:gd name="connsiteX1" fmla="*/ 3256149 w 3310870"/>
                <a:gd name="connsiteY1" fmla="*/ 257442 h 257442"/>
                <a:gd name="connsiteX2" fmla="*/ 0 w 3310870"/>
                <a:gd name="connsiteY2" fmla="*/ 257442 h 257442"/>
                <a:gd name="connsiteX3" fmla="*/ 0 w 3310870"/>
                <a:gd name="connsiteY3" fmla="*/ 0 h 257442"/>
                <a:gd name="connsiteX0" fmla="*/ 3310870 w 3310870"/>
                <a:gd name="connsiteY0" fmla="*/ 0 h 257442"/>
                <a:gd name="connsiteX1" fmla="*/ 3256149 w 3310870"/>
                <a:gd name="connsiteY1" fmla="*/ 257442 h 257442"/>
                <a:gd name="connsiteX2" fmla="*/ 0 w 3310870"/>
                <a:gd name="connsiteY2" fmla="*/ 257442 h 257442"/>
                <a:gd name="connsiteX3" fmla="*/ 0 w 3310870"/>
                <a:gd name="connsiteY3" fmla="*/ 0 h 257442"/>
                <a:gd name="connsiteX0" fmla="*/ 3310870 w 3310870"/>
                <a:gd name="connsiteY0" fmla="*/ 0 h 257442"/>
                <a:gd name="connsiteX1" fmla="*/ 3256149 w 3310870"/>
                <a:gd name="connsiteY1" fmla="*/ 257442 h 257442"/>
                <a:gd name="connsiteX2" fmla="*/ 0 w 3310870"/>
                <a:gd name="connsiteY2" fmla="*/ 257442 h 257442"/>
                <a:gd name="connsiteX3" fmla="*/ 0 w 3310870"/>
                <a:gd name="connsiteY3" fmla="*/ 0 h 257442"/>
                <a:gd name="connsiteX0" fmla="*/ 3479186 w 3479186"/>
                <a:gd name="connsiteY0" fmla="*/ 0 h 257442"/>
                <a:gd name="connsiteX1" fmla="*/ 3256149 w 3479186"/>
                <a:gd name="connsiteY1" fmla="*/ 257442 h 257442"/>
                <a:gd name="connsiteX2" fmla="*/ 0 w 3479186"/>
                <a:gd name="connsiteY2" fmla="*/ 257442 h 257442"/>
                <a:gd name="connsiteX3" fmla="*/ 0 w 3479186"/>
                <a:gd name="connsiteY3" fmla="*/ 0 h 257442"/>
                <a:gd name="connsiteX0" fmla="*/ 3479186 w 3479186"/>
                <a:gd name="connsiteY0" fmla="*/ 0 h 257442"/>
                <a:gd name="connsiteX1" fmla="*/ 3424465 w 3479186"/>
                <a:gd name="connsiteY1" fmla="*/ 257442 h 257442"/>
                <a:gd name="connsiteX2" fmla="*/ 0 w 3479186"/>
                <a:gd name="connsiteY2" fmla="*/ 257442 h 257442"/>
                <a:gd name="connsiteX3" fmla="*/ 0 w 3479186"/>
                <a:gd name="connsiteY3" fmla="*/ 0 h 257442"/>
                <a:gd name="connsiteX0" fmla="*/ 3479186 w 3479186"/>
                <a:gd name="connsiteY0" fmla="*/ 0 h 257442"/>
                <a:gd name="connsiteX1" fmla="*/ 3424465 w 3479186"/>
                <a:gd name="connsiteY1" fmla="*/ 257442 h 257442"/>
                <a:gd name="connsiteX2" fmla="*/ 0 w 3479186"/>
                <a:gd name="connsiteY2" fmla="*/ 257442 h 257442"/>
                <a:gd name="connsiteX3" fmla="*/ 0 w 3479186"/>
                <a:gd name="connsiteY3" fmla="*/ 0 h 257442"/>
                <a:gd name="connsiteX0" fmla="*/ 3479186 w 3479186"/>
                <a:gd name="connsiteY0" fmla="*/ 0 h 257442"/>
                <a:gd name="connsiteX1" fmla="*/ 3424465 w 3479186"/>
                <a:gd name="connsiteY1" fmla="*/ 257442 h 257442"/>
                <a:gd name="connsiteX2" fmla="*/ 0 w 3479186"/>
                <a:gd name="connsiteY2" fmla="*/ 257442 h 257442"/>
                <a:gd name="connsiteX3" fmla="*/ 0 w 3479186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79186" h="257442">
                  <a:moveTo>
                    <a:pt x="3479186" y="0"/>
                  </a:moveTo>
                  <a:lnTo>
                    <a:pt x="3424465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8" name="btfpRunningAgenda1LevelTextLeft428265">
              <a:extLst>
                <a:ext uri="{FF2B5EF4-FFF2-40B4-BE49-F238E27FC236}">
                  <a16:creationId xmlns:a16="http://schemas.microsoft.com/office/drawing/2014/main" id="{F14F58BF-8920-CCD6-6A05-880D374A41FA}"/>
                </a:ext>
              </a:extLst>
            </p:cNvPr>
            <p:cNvSpPr txBox="1"/>
            <p:nvPr/>
          </p:nvSpPr>
          <p:spPr bwMode="gray">
            <a:xfrm>
              <a:off x="0" y="876300"/>
              <a:ext cx="3576749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Customer sentiment</a:t>
              </a:r>
            </a:p>
          </p:txBody>
        </p:sp>
      </p:grpSp>
      <p:sp>
        <p:nvSpPr>
          <p:cNvPr id="24" name="btfpQuoteBox951386">
            <a:extLst>
              <a:ext uri="{FF2B5EF4-FFF2-40B4-BE49-F238E27FC236}">
                <a16:creationId xmlns:a16="http://schemas.microsoft.com/office/drawing/2014/main" id="{148AA06C-6F95-8F63-B808-F972460F967D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gray">
          <a:xfrm>
            <a:off x="8167306" y="2761943"/>
            <a:ext cx="3693091" cy="803592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t">
            <a:spAutoFit/>
          </a:bodyPr>
          <a:lstStyle/>
          <a:p>
            <a:pPr marL="90729" indent="-90729">
              <a:spcBef>
                <a:spcPts val="0"/>
              </a:spcBef>
              <a:buNone/>
            </a:pPr>
            <a:r>
              <a:rPr lang="en-US" sz="1200" i="1"/>
              <a:t>“I love my &lt;health tech&gt; app and my coach. Lacey has stayed with me </a:t>
            </a:r>
            <a:r>
              <a:rPr lang="en-US" sz="1200" b="1" i="1">
                <a:solidFill>
                  <a:srgbClr val="507867"/>
                </a:solidFill>
              </a:rPr>
              <a:t>thru thick and thin</a:t>
            </a:r>
            <a:r>
              <a:rPr lang="en-US" sz="1200" i="1"/>
              <a:t>. She's understood my needs for my bilateral needs that I've had surgery on and is </a:t>
            </a:r>
            <a:r>
              <a:rPr lang="en-US" sz="1200" b="1" i="1">
                <a:solidFill>
                  <a:srgbClr val="507867"/>
                </a:solidFill>
              </a:rPr>
              <a:t>very helpful</a:t>
            </a:r>
            <a:r>
              <a:rPr lang="en-US" sz="1200" i="1"/>
              <a:t>.”</a:t>
            </a:r>
          </a:p>
        </p:txBody>
      </p:sp>
      <p:sp>
        <p:nvSpPr>
          <p:cNvPr id="25" name="btfpQuoteBox951386">
            <a:extLst>
              <a:ext uri="{FF2B5EF4-FFF2-40B4-BE49-F238E27FC236}">
                <a16:creationId xmlns:a16="http://schemas.microsoft.com/office/drawing/2014/main" id="{6E8DEA6E-7238-0A56-FF1A-B9BDFEB63160}"/>
              </a:ext>
            </a:extLst>
          </p:cNvPr>
          <p:cNvSpPr txBox="1"/>
          <p:nvPr>
            <p:custDataLst>
              <p:tags r:id="rId9"/>
            </p:custDataLst>
          </p:nvPr>
        </p:nvSpPr>
        <p:spPr bwMode="gray">
          <a:xfrm>
            <a:off x="8167306" y="4494475"/>
            <a:ext cx="3693091" cy="620712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t">
            <a:spAutoFit/>
          </a:bodyPr>
          <a:lstStyle/>
          <a:p>
            <a:pPr marL="90729" indent="-90729">
              <a:spcBef>
                <a:spcPts val="0"/>
              </a:spcBef>
              <a:buNone/>
            </a:pPr>
            <a:r>
              <a:rPr lang="en-US" sz="1200" i="1"/>
              <a:t>“Willing to change my review, but the </a:t>
            </a:r>
            <a:r>
              <a:rPr lang="en-US" sz="1200" b="1" i="1">
                <a:solidFill>
                  <a:srgbClr val="CC0000"/>
                </a:solidFill>
              </a:rPr>
              <a:t>sensors will not connect </a:t>
            </a:r>
            <a:r>
              <a:rPr lang="en-US" sz="1200" i="1"/>
              <a:t>and have </a:t>
            </a:r>
            <a:r>
              <a:rPr lang="en-US" sz="1200" b="1" i="1">
                <a:solidFill>
                  <a:srgbClr val="CC0000"/>
                </a:solidFill>
              </a:rPr>
              <a:t>not been able to reach anyone </a:t>
            </a:r>
            <a:r>
              <a:rPr lang="en-US" sz="1200" i="1"/>
              <a:t>by phone to help for several days.”</a:t>
            </a:r>
          </a:p>
        </p:txBody>
      </p:sp>
      <p:sp>
        <p:nvSpPr>
          <p:cNvPr id="27" name="btfpQuoteBox951386">
            <a:extLst>
              <a:ext uri="{FF2B5EF4-FFF2-40B4-BE49-F238E27FC236}">
                <a16:creationId xmlns:a16="http://schemas.microsoft.com/office/drawing/2014/main" id="{C3B691F9-8D37-165C-86A1-0AB7035F1BBF}"/>
              </a:ext>
            </a:extLst>
          </p:cNvPr>
          <p:cNvSpPr txBox="1"/>
          <p:nvPr>
            <p:custDataLst>
              <p:tags r:id="rId10"/>
            </p:custDataLst>
          </p:nvPr>
        </p:nvSpPr>
        <p:spPr bwMode="gray">
          <a:xfrm>
            <a:off x="8167306" y="5270405"/>
            <a:ext cx="3693091" cy="254952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t">
            <a:spAutoFit/>
          </a:bodyPr>
          <a:lstStyle/>
          <a:p>
            <a:pPr marL="90729" indent="-90729">
              <a:spcBef>
                <a:spcPts val="0"/>
              </a:spcBef>
              <a:buNone/>
            </a:pPr>
            <a:r>
              <a:rPr lang="en-US" sz="1200" i="1"/>
              <a:t>“</a:t>
            </a:r>
            <a:r>
              <a:rPr lang="en-US" sz="1200" b="1" i="1">
                <a:solidFill>
                  <a:srgbClr val="CC0000"/>
                </a:solidFill>
              </a:rPr>
              <a:t>Dislike</a:t>
            </a:r>
            <a:r>
              <a:rPr lang="en-US" sz="1200" i="1"/>
              <a:t> the </a:t>
            </a:r>
            <a:r>
              <a:rPr lang="en-US" sz="1200" b="1" i="1">
                <a:solidFill>
                  <a:srgbClr val="CC0000"/>
                </a:solidFill>
              </a:rPr>
              <a:t>new voice </a:t>
            </a:r>
            <a:r>
              <a:rPr lang="en-US" sz="1200" i="1"/>
              <a:t>and the </a:t>
            </a:r>
            <a:r>
              <a:rPr lang="en-US" sz="1200" b="1" i="1">
                <a:solidFill>
                  <a:srgbClr val="CC0000"/>
                </a:solidFill>
              </a:rPr>
              <a:t>count downs</a:t>
            </a:r>
            <a:r>
              <a:rPr lang="en-US" sz="1200" i="1"/>
              <a:t>..”</a:t>
            </a:r>
          </a:p>
        </p:txBody>
      </p:sp>
      <p:sp>
        <p:nvSpPr>
          <p:cNvPr id="58" name="btfpQuoteBox951386">
            <a:extLst>
              <a:ext uri="{FF2B5EF4-FFF2-40B4-BE49-F238E27FC236}">
                <a16:creationId xmlns:a16="http://schemas.microsoft.com/office/drawing/2014/main" id="{C53BDF8A-7961-00B5-01B0-EAE9DA263E05}"/>
              </a:ext>
            </a:extLst>
          </p:cNvPr>
          <p:cNvSpPr txBox="1"/>
          <p:nvPr>
            <p:custDataLst>
              <p:tags r:id="rId11"/>
            </p:custDataLst>
          </p:nvPr>
        </p:nvSpPr>
        <p:spPr bwMode="gray">
          <a:xfrm>
            <a:off x="8167306" y="3720753"/>
            <a:ext cx="3693091" cy="618504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t">
            <a:spAutoFit/>
          </a:bodyPr>
          <a:lstStyle/>
          <a:p>
            <a:pPr marL="90729" indent="-90729">
              <a:spcBef>
                <a:spcPts val="0"/>
              </a:spcBef>
              <a:buNone/>
            </a:pPr>
            <a:r>
              <a:rPr lang="en-US" sz="1200" i="1"/>
              <a:t>“Great </a:t>
            </a:r>
            <a:r>
              <a:rPr lang="en-US" sz="1200" b="1" i="1">
                <a:solidFill>
                  <a:srgbClr val="507867"/>
                </a:solidFill>
              </a:rPr>
              <a:t>convenience</a:t>
            </a:r>
            <a:r>
              <a:rPr lang="en-US" sz="1200" i="1"/>
              <a:t> being able </a:t>
            </a:r>
            <a:r>
              <a:rPr lang="en-US" sz="1200" b="1" i="1">
                <a:solidFill>
                  <a:srgbClr val="507867"/>
                </a:solidFill>
              </a:rPr>
              <a:t>to get visual instruction</a:t>
            </a:r>
            <a:r>
              <a:rPr lang="en-US" sz="1200" i="1"/>
              <a:t> with necessary/ needed </a:t>
            </a:r>
            <a:r>
              <a:rPr lang="en-US" sz="1200" i="1" err="1"/>
              <a:t>pt</a:t>
            </a:r>
            <a:r>
              <a:rPr lang="en-US" sz="1200" i="1"/>
              <a:t> exercises at times when it's convenient to me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E8C2443-0419-5747-C0F6-1CD7F65903AA}"/>
              </a:ext>
            </a:extLst>
          </p:cNvPr>
          <p:cNvSpPr txBox="1"/>
          <p:nvPr/>
        </p:nvSpPr>
        <p:spPr bwMode="gray">
          <a:xfrm rot="3048423">
            <a:off x="11431924" y="190878"/>
            <a:ext cx="914400" cy="257369"/>
          </a:xfrm>
          <a:prstGeom prst="rect">
            <a:avLst/>
          </a:prstGeom>
          <a:solidFill>
            <a:srgbClr val="CC0000"/>
          </a:solidFill>
        </p:spPr>
        <p:txBody>
          <a:bodyPr wrap="square" lIns="36000" tIns="36000" rIns="36000" bIns="36000" rtlCol="0">
            <a:spAutoFit/>
          </a:bodyPr>
          <a:lstStyle/>
          <a:p>
            <a:pPr marL="0" indent="0" algn="ctr">
              <a:buNone/>
            </a:pPr>
            <a:r>
              <a:rPr lang="en-US" sz="1200">
                <a:solidFill>
                  <a:srgbClr val="FFFFFF"/>
                </a:solidFill>
              </a:rPr>
              <a:t>SAMPLE</a:t>
            </a:r>
          </a:p>
        </p:txBody>
      </p:sp>
      <p:grpSp>
        <p:nvGrpSpPr>
          <p:cNvPr id="33" name="btfpStatusSticker434438">
            <a:extLst>
              <a:ext uri="{FF2B5EF4-FFF2-40B4-BE49-F238E27FC236}">
                <a16:creationId xmlns:a16="http://schemas.microsoft.com/office/drawing/2014/main" id="{7AD00FF1-4CE0-AC4B-90D3-0DF5981737C5}"/>
              </a:ext>
            </a:extLst>
          </p:cNvPr>
          <p:cNvGrpSpPr/>
          <p:nvPr>
            <p:custDataLst>
              <p:tags r:id="rId12"/>
            </p:custDataLst>
          </p:nvPr>
        </p:nvGrpSpPr>
        <p:grpSpPr>
          <a:xfrm>
            <a:off x="10100356" y="955344"/>
            <a:ext cx="1761444" cy="235611"/>
            <a:chOff x="-4032515" y="876300"/>
            <a:chExt cx="1761444" cy="235611"/>
          </a:xfrm>
        </p:grpSpPr>
        <p:sp>
          <p:nvSpPr>
            <p:cNvPr id="34" name="btfpStatusStickerText434438">
              <a:extLst>
                <a:ext uri="{FF2B5EF4-FFF2-40B4-BE49-F238E27FC236}">
                  <a16:creationId xmlns:a16="http://schemas.microsoft.com/office/drawing/2014/main" id="{D29BE039-93BB-8C81-1E16-55111019C21E}"/>
                </a:ext>
              </a:extLst>
            </p:cNvPr>
            <p:cNvSpPr txBox="1"/>
            <p:nvPr/>
          </p:nvSpPr>
          <p:spPr bwMode="gray">
            <a:xfrm>
              <a:off x="-4032515" y="876300"/>
              <a:ext cx="1761444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preliminary</a:t>
              </a:r>
            </a:p>
          </p:txBody>
        </p:sp>
        <p:cxnSp>
          <p:nvCxnSpPr>
            <p:cNvPr id="35" name="btfpStatusStickerLine434438">
              <a:extLst>
                <a:ext uri="{FF2B5EF4-FFF2-40B4-BE49-F238E27FC236}">
                  <a16:creationId xmlns:a16="http://schemas.microsoft.com/office/drawing/2014/main" id="{2CE4B3F0-74ED-7264-53EC-800ED1F4E68C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4032515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6" name="btfpStatusSticker293559">
            <a:extLst>
              <a:ext uri="{FF2B5EF4-FFF2-40B4-BE49-F238E27FC236}">
                <a16:creationId xmlns:a16="http://schemas.microsoft.com/office/drawing/2014/main" id="{A21A7FC1-B024-64F5-73F7-33EAE2ED45F0}"/>
              </a:ext>
            </a:extLst>
          </p:cNvPr>
          <p:cNvGrpSpPr/>
          <p:nvPr>
            <p:custDataLst>
              <p:tags r:id="rId13"/>
            </p:custDataLst>
          </p:nvPr>
        </p:nvGrpSpPr>
        <p:grpSpPr>
          <a:xfrm>
            <a:off x="8068091" y="955344"/>
            <a:ext cx="1825180" cy="235611"/>
            <a:chOff x="17043814" y="955344"/>
            <a:chExt cx="1825180" cy="235611"/>
          </a:xfrm>
        </p:grpSpPr>
        <p:sp>
          <p:nvSpPr>
            <p:cNvPr id="37" name="btfpStatusStickerText293559">
              <a:extLst>
                <a:ext uri="{FF2B5EF4-FFF2-40B4-BE49-F238E27FC236}">
                  <a16:creationId xmlns:a16="http://schemas.microsoft.com/office/drawing/2014/main" id="{C6CA41CB-7595-5718-9CAF-3ED7CA7ABCF0}"/>
                </a:ext>
              </a:extLst>
            </p:cNvPr>
            <p:cNvSpPr txBox="1"/>
            <p:nvPr/>
          </p:nvSpPr>
          <p:spPr bwMode="gray">
            <a:xfrm>
              <a:off x="17043814" y="955344"/>
              <a:ext cx="1825180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Google play</a:t>
              </a:r>
            </a:p>
          </p:txBody>
        </p:sp>
        <p:cxnSp>
          <p:nvCxnSpPr>
            <p:cNvPr id="38" name="btfpStatusStickerLine293559">
              <a:extLst>
                <a:ext uri="{FF2B5EF4-FFF2-40B4-BE49-F238E27FC236}">
                  <a16:creationId xmlns:a16="http://schemas.microsoft.com/office/drawing/2014/main" id="{88982E24-9B65-1C4D-A308-D23298A4DCC8}"/>
                </a:ext>
              </a:extLst>
            </p:cNvPr>
            <p:cNvCxnSpPr/>
            <p:nvPr/>
          </p:nvCxnSpPr>
          <p:spPr bwMode="gray">
            <a:xfrm rot="720000">
              <a:off x="17043814" y="955344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1"/>
    </p:custDataLst>
    <p:extLst>
      <p:ext uri="{BB962C8B-B14F-4D97-AF65-F5344CB8AC3E}">
        <p14:creationId xmlns:p14="http://schemas.microsoft.com/office/powerpoint/2010/main" val="8368870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BTFPCOLUMNGUIDE" val="Visible"/>
  <p:tag name="OFFICE" val="Boston"/>
  <p:tag name="MEKKOFORMATS" val="&lt;MekkoFormats&gt;&lt;NumberFormat DecimalSeparator=&quot;.&quot; ThousandSeparator=&quot;,&quot; NegativeNumberFormat=&quot;1&quot; /&gt;&lt;DateFormat CultureID=&quot;1033&quot; FormatString=&quot;M/d/yyyy&quot; /&gt;&lt;Font&gt;&lt;Output_Font_Name Default=&quot;Arial&quot; UsePPTTheme=&quot;True&quot; /&gt;&lt;/Font&gt;&lt;/MekkoFormats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BAINBULLETS" val="1"/>
  <p:tag name="BTFPLAYOUTENABLED" val="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4"/>
  <p:tag name="BTFPLAYOUTENABLED" val="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ANCHORELEFT" val="True"/>
  <p:tag name="BTFPLAYOUTANCHORERIGHT" val="False"/>
  <p:tag name="BTFPLAYOUTANCHORETOP" val="True"/>
  <p:tag name="BTFPLAYOUTANCHOREBOTTOM" val="False"/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aYhHdubK/b9WYMbiqTQFZNRdTaHJ1Coz+gznC5J29/l+uni9WCTqRMIgVGBy5FSCqTCP+Vdrf4pg20L7fH6DBHxckpk0S12L9wE7UCaEQI049f2+UcrUbLH1ih4z/0sftQZt6TTaB4qiVuhc+/1Qf5v53XKFQ+LZHEpur87Qdh69wPaLkzk20KG+aJU7W6B0+B5kd0/QRAsdrfhLkpekqgOCXLclfqRB7urF88vCzZTluSw4FjKIC0ku7ySMlEpJRg0cd1yWcj4wxWsU7Z439juL0UjtIMs+Jcdwk1Qut6+GzD6snCOv8c0KwDtJaiYigTyyXMg1hXRDRA1bskHisLmUFTd4hbsKl5+3oQUTMsMNWiFoJ+rs4aZF3gPWi3YHrWbrkX9NfRG4NsGLlicZSDJfURXuoFwp5yVtv75dVGX8OIv2J97fOcH64RfkSKIeRpqQbxW3GFJRjA4Z+OJEJV8tTJQSt4XnKabci2IgI43ldX9fAGYrFx3rpwJSv9pwpNuGu/XnhHt6XZn3n80CoqNa25TA4W8N4P+ALBMwoFmB2m+qeJhwdDKsRWBMm32ZDdqU/iCm5i2dy3BhzZzPEB/QTNI6B1C8GuGX8FQ+hl9Nx+Js+z6OB/edv+lsK2lhWJ6o5CplSLhnJPnEkhTts6KAIpq1VziSNQtTgQ0RYADA+AU/T3YP1882kWsSiOp84s8C+ToJ2MImMhsJen4WJYWXKlLyST126330v41zas/GFXfgmIjiTcZKHLbER9ZGgZJl3MvCIN92BgZ/o0XJA3STH6zPQ4ksHucv9jKpoB9pgbzfkVgYut4FmQFblHH++9lmPioEsCXC0s0AAjVU/332uj/Jsx0TFmGSGxebIzgYAj9aaH0oMkYGoOBpMffctAsYr0q4BpC46dhD8Gns2a54+UKL6W3CGAwBRZXFwQ3wnD20d2IFyqm6DdIg3mfWIvb/VavWRgKqeLomQ0rGETNPswlSyB4xnULmomNOIslk9S+BBtMs36YTdVOxZS/h6T2rdNUce7y3FNPCVmz6VUEGVloe8XHgMsdfXjQcGXfBN2F/XCsCBsWDbPxNdZAkrv08IROJiCCERRLxqgzj2nKDbwl8JZOdxyZyUoMFwOs8zVO3KN63NdIZoxWHY/1nmeNCX8MUJVhl7mSJLh/BxupdMQhcSEcY0Gu25fUQ8tCufr6FAXrTB1+e+3DA0cBAj2vDb6cJan45uMGkxt48ZEWprE4LrtG8Ld8GtnL7LoaQlSUdHhlHKIEl2HUfOWRhfbUaq4CP6p8YSwdC09TkEQmiuULJLtRAe3qpFABH/7keUTBsU/aPwx4W3hjWmObyiDI5aTyF5WWzQyUUtEUT6u5Co5SJFJdHb14iTZFjccGprSyW2B3MGQN96t0u3aIW09v+YGLqV0mmDt82/4cpSq0IDrvZjNTHCzT9pHzzbk+KhFIWOlMBOQXBo7eCjR/snI/XZD+UDRetayaAQ4C8wv1RMquBk555FSamkpZyO1rfDTr0CsaYZj4T3SoiDSj9DiPTO/faynlnr1O8STagr3OniJCvdKOvrkWU7wdIn0NgDloTAeTmQqKMiRNFM/HAt0IXFkBskYttIiaNH/aOybqs1yjCPx2p5SWf3DvJ9Hy3+FpLE0ur7oxRJr7ARQUkhqG/qyac8RCZi44bCYYbglPkE9GlHMQcNaXWMvncUOLlKegnI5o/+uKXQXUIah4IDmRK4NeL0G9it04FRPUaaYYUNWthNgqpHzJtawF1yki1M9ZKaBZL5x5aDXYedJEZdKL0NC+oTyHwcycrbcVARpOCy3upb7VvEvoY40LBRuUzHM+zWkB/ZoWDC00hXlSn0AczDaByT5fa6PCDn8xnTeSTziUXJfbCytB+zzbFeWfVMUi9c0eQWClDZE5zfjMVTdwMzIT3qh9an8yXNZjXXPifaRKjtr71BjN1HlEUiYcobaDfxS0zRTvktynLKCnoIB0bOwu9razWb6j4OwqOp3DaDjWwMxgVyT3USeQSQcp73nVZvL6+sLpiIjQy2KbrfdPcA4ZZtPIop/tDslstxTVYRBZkJkzNuNbG5XRN+qnPb+vQojnL62fC2ZdO9IFlZW39uRRJE/9tvzuq0KFWmxf1oKXIWOunSzwdiHUGdRbL4zXshuDm/oHwAHbLrthjyaEHzFvVPaUQjKTXgH+jtCbWE1ciqAoShxlWy4Nf9gi/20GOVaZLf2Er7u7nXQdgYrYhq1Uh4xgyGTBiBl+U5MqQ2YtwCHGuAg/ie1Qqj4/X9LBh2i08sz4y/vDR8pbjA3TTOh4tDZW8d6mAIU+p6wn2dhKE1j71iURTVkrS5pwVRWBjZy7FcN8Hgn1aVcV0KPoqS0W32Yg/jYEk7NKNOrGKLLTqgrGv9QjZK5q37S5YDZBgB91ajUrSMozVzBzqExOZMxgjncE4tla+/oQNjB/v01kgp/YhvjLB3Tm1WhBdRlfeIlzMOm7b7hsz/0CZj/pv7d9InJ8s52XYNvZUP8KusoU+FqQPfAQ8eHznYkMlXdepVNf0R9EDp1cm2NtEwtI5bBkmMHZSCWKqu861XdnuZdDVtnoQMvO0GB58uJ095NWFEPnwgqzRaaYb37GeoRBGQNDXIR885+FFLGAQMqRFN5lF3itvyoG2aQLqnOQT/E19gL6FHoRHpi1GjbyxQRfLlnNxflBssdH8jqZNPi9insCau9xpQj1QwWu/1C8mAn0oFSb5UwUbfKjXCm6Fbhal+8xTtvzIpX51pmYvyhPvpGCDng4c712C+uJ9ekc5+IJscK4lRuwNGA26G9Ig2LHoyLc+oUPfS5dNEGg5Z9bYQXH2ng9+GayeymQmMjZujFQzxJomP16HGInERR/P2ekzuV6gIGvcXlc2GSycIE9guHvxCFGpyAHZbNZjAObLLiEk4LOh3i4vCEPnmGUtWjfmzEsgz6E/Cd94VPBoJvx9FOPMzoqnlRWDnsfggvT4l1pfEPzvBzM2W+9s90Px3tBcKI0cNP8GLqV26wzqur3xovXPRVM5YvW+ajFaeXVPLge2eScuHZdFgQoY0LEe/VXmIo+l8ziw/RQUpQUgzsUYQ//HuyDcy2JQbOQXaGH+2TLWVKX67tCOOCduhTxmX4GguT4HJQKC6eJgS9LQnJ1xCdulDFnsrjCI33W7QaLCVi+PVcrmeSL33S8Vr5EOPmL2tTaCN9uPWi5ELR+LEGQOJq9k26Gt2MJNwCMIhr76yMmJLZtQhA8N6NVKUaJaJdp+VJ90t+7/PiRW4MwuVvHx97jV/EVrAIq7Hcb1fkhGHv6oau3esDkDm3OOw1LVd0YLkH6Sw+XE24vqoUBGtO+YetRze+WWTRA9lUgUx5EQZmjE5m9rY2u+NQq1m/s6tdBWd+e8i3atM9tgAjWNUnaLjQ59hu4UInNRJ6rzDJNT6VLEOTPxnUqwXd5Ydd7yNCYkDt1W+0PnqoLid3Y2ptmXewKe2O3fJxajeohVaV4A7qFYN0SU5qZqX3S3UQtxffYkRTi4cv6ZtpvUWMVx20b221hJYoLTqAjSdwSuFbe6tPiqURNOX9eQ3/BoMWZcyxx6FJFghrQU/3Sg9BGc1KQ4yXl6/Yzm+jEbWQ0LDpSYZ+i2GJWsj7cRQp/3b7HaFjlkESC8FJky5xUA/0/03xSXGduC6h8HUGMQyKrfBxA6NT8o+0Sh8CaJ3Y/FjLSWNAPRsRKBmBnhAL914WxiJtDGgs3SpqGRvjVymiFv8LPFVTLRNWZn0ybw2wfJ6QYucj2H5ygLO5x3y6i5z7knvwozwHNAynj4gjPXsgLWNyUS06WLucQEQB4vVxQBpOLR37O++Q8yyJyqo4G3QvXSkIbOmX5AtFisw8UJFllP2MkcbE4hdlkTA4sevRS59tcpk5qH+idB04eoPpnIZISdcxUSF7NKZyqKXLfQlDbeyzzfYIRrRrTsPCrS6ZZiN2GzEFrRxbrTiPeWzwSyHdeAmjqi2Q9NvmVi3XtOqcB3lnaC3fPpG8e+JbCAISRH6gezogpsEL8x3uSrEUxYnWvFAEEpkAWuUVYEAWjxeRhaWMLq6EQCXNbdXJLF/hNeQnJ7e38eASbc2+ps2iKqhuFZchmwuWn0s3qC88wfkP1wM8/t4tfdZ+dTHok/AlMSk/0B/HygFAUBngTTdZKfWIA0yHT97v2FfULe3mPqmx1N1ClpS6bpq/grtrrLu2ZRe/WLA6JCEJmGm1PJZov0XdimBsFUFOx3LM8nb2NDuaxs4aFt0aScbYCa9va6r3NPpcSMA8qIw4v929JHr581zcv8/Oy35cFmTpgQf7BEZ5ynxrHpmo/myYKld101zgKU/kPdWkLhhxaM3sfsaEXpdWccf4JoEpZOB9zYeVggh+9wb2fD2S8EfGmNVxZ4yfSAljcS+o2bOUbYFjxX7dLIBVdPQkghzLN5A0gY6u4U89OkVNx3OJ9yPnPwwMlsDd9f03wibvPRe2cNa1R7mgpv7f+0VQI23ToNpIwuKhfXFqp55HITyU16NB9VL4uTZb3GfYILT54y0jFujOFPNhVSwctbK/UYivoYWJqrOjJgY7RZzQr923HlpVMdQQ8p9iD0Ucw+5Tbsqs+/6xP2Y+zdtjHXFutoU8slnlmCcuIYw9jw6aCgdcJm0fVdJEElwHppMh/uoqFAGmwnLYfpejW9q6mQekegUGExHS9aztf9iwvIGiOXiOyL9ozBH4ATf0oeWav7sim6JsybKTbr/3v1b37vQ+frBVcwXnXDO7tpolE0DBCqrZXIWpovIfRjvky+7fjhCuFxl8YkbWELrnnj7aGsCFDd6Sm5PJ+t4FY9UJilGSluDYL6SmFadOOU/ruzigeOL6NWdeQyI3k5R5+1MN4cE/NQAgbun+SAJhYLXsvda1z3Xl5ilOXu3ZynowNhwhFJp4wL0DLoCbW1D8ue3DeEr6/RNe7kmSCjRjEMkpYJ9qzvqtRv0yGTXQ9LuPQD49du7KzosPcjAlvY2LPUq4ISb1tyAGemDO05Hz+odmF1xFP8vX8Sb5uoe/GZp/mKXe2i3pgA61fSzMKBGdpWq/YwfMY+RoZFLPs0JxEN7TsYdTANWBUspsQVWxNRbCDo7wnRQ7Ibv66607crdtw9TPcf39lTmE9LJ6038WlJ9u2CkXdDFTIqu+J3TfKoLaXuQMHZx6Ny9/3o3TWwpLFBMG3PsgWmzKcFMgXQVWfPeo4m3lZbcul/3WSzwbONiwJJ5hzOEYK1fMfjS7fBuyIHyMBGoM8sFG9u0+VzgLE50Hureh4/hTNfmtxxZ+hfStmKcDKW4H0ru0+TCjOUupA167TjFYqJb5inYxWR9Pp+Rf3OCGFrIC88jcYkOr54jyHG7rBlqT49eLYupYc01/qztG/IxWBEGXmNTH8Sz4cX6t9SJOHhk3tY1FWlowhUpwBcWi9lLh3dVxA09NiqceUDjrnxtHCjd2L0G8ZHXg+3oojbM3/T8d/mrKB7isMzJGv0vjD/+R22+x1Sb2EqCX1cDI7VfgAcfjZDcSPk6l7CXVQn12kAlEiRZi8PQfa3jTTBj3FtUYFjYovRhi8yyf/AJ/3wMNvKpm+LuQcCKhLMt3+7zqhOc4j/RVJvRVFKynv7OLeY3s4FmSzECFLMGT0wZskzWiM/4gBvO4FxGdwde9P0cU6s3UTnbLHPwJbXh58UsJ1ZwbEa9YfxCiSdQh07ydLXknP45KTlVATyjIzZqGYXu3LSCgweARigWc5v6F9dGIUP0jyqFD08c4MjNPugNmHCEQ4LUz/h+eEDWCIuOryZIlnApBtxVf4cDMvs7GHBIGDzxwXRHvN565dHZiBn1YAVHTIMr/knn8ZPIvhvwRiEBNODCWbIaeCFCIdYBCjCmfuDuiD50W4FdOlSxhTm+X+t1uO9QJ+ikfLl1tSrxDkGGAUr9FWFa2CGPi3hcH748dRoV9vXknusErtcWSnazdU1ZCm14o9sLqlfHVlwJy0Ny3f1Qw+GWbhluPymzMVpB/7QphrASUVHOOZOxTqJ7k2/2Oe5mCIhFC528sq1bLaRh0x6seWCslihvcKcpr+/LTTudDFsp3LbzMKGBt/T3HWs+ijkjQonoKngBs4BmYdnJ+wQi/rw/Kd4SzSkwLAL7pmddw02eDFSX/LOngJBzjfGielTPngx05UwqXrfVI2Yi3K9m+yxD+kCCuNYnNVoj2WyBDurR9kItg0pmKs9nkMpS8u2EGDIgZnBARTSUDlD13DFVRca4zcvKu/C5ss6Lg9MALnG7QrfYMUS+aP4fssD2ElNFQcvULret2fW3dqqu6hnhJdfV8NTe+hKPv7PK2D72DhCzaZR+KnResfROrzeaXCRdkV6EGSvqsj7pNGxCXqnIsxRzxpxVH767VvBJyYkTw9Y9RXMxkZeQSAtKPgUitgEmiOJdyH+o+/rP/6M6OtfszfJ5UUIDwyyVPvmRO+V1FgBtxnoFl9hU+yig/W7+7/rgDT2RCuuSZrk2/dKK+fWMYn67200CbTpcK+0D4Q5G3p5kFUoEa1+Y3L9czCbdHK9JpphI3i9mhU+KQrnQJ5CH1J//DCLSyTj7ebn/tyjZwI5SashZp1f0S6DdLMx0wdcJxeRh4g3lGyXvAjwQwovuLB97z+EXTTC0oMKQ2JXYbSz/QNEdZc7yhRWlkUpcLrsRt7URGdOzX7P7mrKU0OT7pE44dMCuIn/giOl7Ff+iVAjbTu0Qg4bD5WEGhcGEwaW4pgidshVGwHQnSbREm64z+T8SPl6E2FU8e3ROhX05a/WaadZJ5V9Y6b3pfmhzGvMAQ0uSFdoObE7ZIBGjHTXKnxU6u12IKq6WLX4jRRVNe3Q+Vc29yg6SWRuk9oiKHaGv1hZX8kZAqet29F0Il9b5bfw5dLYDEcr/ZUCnrrYOsvPi/V/LKcPPXPH7grN+9/ZvQLHlB9m6X6+ty1JAk6DK7ZzUEII6GYUZVmyWG6YvKewYVBn/ytESWGImNMx4JzekBhHAEUWi0upiS08Jy8hTNfUB8wNrPYENkyqhrJURQkV9YQH+PyvfeWyM7MI55fnFtS5NEgq8yB8L9i4wgPKglfczLOCzjQiPo4S1lTDOJSGYX3DDyO7zfOCFtsL5V7pn8WKC/3y5+l7ZyVbE7aW9lJ5gPoVUBRcdVfAhawAi0+HCirklsfp+d5WyaTI/JfDbiLKWN+Rqe1qWhmxRR4rP2V6ghmxFd2ahQwn4ZZ1QbeLPuWPtz5vDqNpX2Njdo878WdXr0CHsOgaVrIWRQBjHL7sNbkhNeppaO1GWByGlWk589O7Mlcz+D3vpkcAvkzugGhIQEZ3AM9U8MfrQfCY/V3jdwq8RXRpWFUG3tOXxeEc6Mc6KguK5jopZQXZIaUDA0lLJuj+ZXNJHaDOcsMt6uqRz7pmxsjNCuDokF70ilqgWz8zBca8hXny/eVcxjaI3w3pi9THuGD5fBudJrHhJSHGipA0AeEQV+ZEvIS/zM49fUvpBlwaxRTCQ221fqJ9g6i1bGzLzwC1zAW5pbt/VxGH+UAm6HEF6KUAgub1MgHSVCjOV1neAqMdqRurqXYTDf/kocTygzxhDHi8kFA0mz03YyYlKvssR6oOghtc0IpMFiOITbZiIVb1714WwkEsvAV1hNAvVaPXlpA7/Vv96jPxenrg/T+JVsoO6tmfsabNfkH1r2WBeKelenxgMCflQMelWdYNNHY71+meJcKssIt2AL+Hy6hJ0iI7Ih396mVXk5NUivnSKRRUjytq7HSAM/c/sg+PTyRnr+EsMztT7YIonx4adJlYYZEOYOYb9JTTAJVsz/SS5bc8OB6C5EgHcJCaC8yPmA3dx/+lg6ehl8o8YmVfhNjlSQTbf5NaCS977KOXEYPNRofuQkPDDuM1epoHYeuUGU+IkPO2wbFBowUeuPaU7Zdj85Ea8EPF9/Fy51QMiBoSy5Sq3nQG5+Wt/VTH8pTl8NwFCiYyELPrrulYAvOERTQadQz27Q2oe2UdZJ8L/LXk9REAQCxaGm4USnj/uzaamnRwFVMQsf3K9/oUGkUdFa8Z0dLB07qMmdwjScg5CDZirsJfg67sw1bInNRyXZRnNxKExYvKOJKGmDO2qD3P4buelGCK/k9TxBlIxOkacPzsaaTKpKV40T98nxWa5A26wEp7GnBk+KsVgkL3FnjMHDT1qqIPBp3KMOCHy0Z0dA2v2FHW2ObrbrkZMeHKgXiobCLzdQ2dt0bnPat2LSaOeT4Pk7kPGNLQaelsfCFq/xYqrCBeNt06exvsVRZHEkGOlYnEc/cz/fOfEaP0k7jN0lFz0TpaeKLRsmPY2m0ov2kFsevWHDhveFAw+iSTTluVqBoM+JncNJuGO/RKu9mJVN5l/8SQ32UssKlsFSsK7lq+tkpBKRy7YqCL/yBTeYx9aPhOJ6FE3z4SZpfm/CItCbMwrSDSeh9PxC0bKePKcGJhobd+WEFHEZXDhVerPH90hLV5n/7vJiO+R7lyY35OlA+yvkU4+4qWfbIaGl4xletuJxqVFRZvCZS3LRmivSxV528TpHvwMvdt+FdiqyZwPlE1r2/LCLoMWegfxNvy9nMghjEremRk+R+/dqIVBgvCFD2CTKNtdOYN2HiWGiZXUVvrK4xi/9hl8Re8/kQI5rym5bSJrlGEUnHM038WHeSP7wK/DxAXeyrz0Ox8maQQSO5EOENm7DHHz6YnL7bzaL/EnIxsjFMtyRyvKoQACoUdhI/Yh9Ah+AcpxyJZA7/OlPHkhVfabmzN5xVbq07qgdcNWUw02U93j7QlS+Cn+yRw4Cn31bWx1ubZOrOltDemCohIPs8sGiHyc4LVtGwRbkApQDhd0eAIJcj2mJCVobV8VfdqQEnCQH+EQGULgqB5zFIiV4kvcn6HF5HrBu7LTlwMuEfg97Fnso5iJa4drnrOl44x5eg5PCHD5AabsxrM1nJz1gJhnO9sLncQPXP3VrkbIMK9tA0EVmiC/S0KCL4Vgimxg5hIjSGxvPheQkqY5Jy6hgCTDJ1jNayLbdbcG+mQk3czjuuFDiBo1ghApC+IRS3HQ1dRDgI22/W7aSZMxkCYZFgQz8MnevMoIeafzeMqKP5mRFezMnQP/O3IYNFYvDXalnTbZlkDeHBWxjfdOzE6z+FSS71GOw69BToQXmoEvEF+f/b7oIsYs3DI8Ml0ylSRp86g1zhpXcWJpXJw/fyiPY1lWRKTe6uGSrOJGLwFMPbOiqdDSK8EGORB1HYm92mDUVy065lQm+myk534kat/8oKgcxzuC7ttNTBKIQE1y6iTyKZ00ST9cl9sYULgJrBMLk278DPqnyi/5RLT7KQkKKByLdlaK+qEnuTMf15Dk5A8wD1JOzDp0HX//kU0gQCRC2rpjuKyDQIxvGfuRTsUXFkSYLS0fcWQ8PmKax71KXmaEsbJaaPlr/2WrT7AGJygf8bfXSwfBoVv28PLEbR7gb2pqUbywtzGyTzoTPrBIlKMFJ5qH/pMjp8MTOIzIAHesG81WnxIxM47sQ/0e6VMIqlPBjfnGPmeFSQi3xAfM0zzSqo8cYKsDrxy9haZXGLkFwQoCW07dAwtfVTsFO9x/4iVb1xN6+RnxE7+Az/oM9SxgNDnHpbdrLLGizg8qZWvGsK4v/T/F+WGA3TogOAfj/Urt5bQt9skQgHKHm61N7b1fUAIf6WdbBEJYNIhRwfM88MhP/hJST7nedP7KiCfUWJ+ZgM0yqutXq21R51eNXwIz1oLgtRfh4q3X3g9m4RsOC3Eqf/SExjXBEFJg3lZh5IPjo2ls8qeKlq0fk3ApAtQ/fnZnps8jXpxkD4JyF8g9K7TCEm9Yy5lR5BzmdiF0ALuAWuV3Y6XB3tDHrpOB8Yhc1YSE6+9rZLdAUAosN8+l/x5ISt6obBXxveQrHd9ss+UEERoVAj3lfwwf89uLCDEP3YPbcyV/4EYyCxZL3eBvEjtLfwlOK1wkHCndJUUpGK/HWi/IMjal23ILZSe7om1o5V8/J7xPvv94yjcfEbJ9Ws21iPI83iOcL9zHzq98QG76dKnTIHHFKiHKeilmWiyn6WeKAsPBhBY0X4gf+095J6zKE4ClJF9awLT7nb+twwuEEkVdn05F5+DWWZf/ieVuFe3mHDwplLlqS6tiBSuk6LO1igmn6O+T89K8B8TF+zGBcoz+1H96zs5DDP1oUM+WkXZdHO7JQOl0/TXNpMTDAtb6CJG5BGUgCt7WvFphdm3EfYpRLdFTfjC6WCyXO4zKhWXRdo44oN2prVIgTj0/maqcqAIOR/TiuztcHmgGtXdzfcIZzzlnXhadlf+FCdbuqjqx+ukB8+pg1dKLthdHWNrqqthdWM85WX9MLGBtEZil+YSOhYeTjnXBtthK1Vcct9RGumJpWqq/7VYFH38VxsMPT7Nsq78VrxcPNRKl6ImddR3Jf/h+q3Ql8kJ47Okedp1TSBofPMbF0S2Ah3xG0fuF8Np8zTNXx7+fMmyMDAmYTD/poYz5TS0sFPpltG+biQZXbhHhksBahh9oBtRkETYU05OFzw17kqxxKchpNhE1rW891Vy2au/9Hor1lAoCngdXqKawgHc46PH4cek6ai+0dvG7LlHqY8AhoT5OwGvlgm5qGRHd0SpQ0oV69gHAx2t5fyjpLHT6kOnAaPycuJUsZ8ljUjOmcQdqv8lD5DMm2GlS9X2NkZNT1wCcXlQkUqVWvQ46fhCU1NMYA8Oni6OytgDuLDfXnxqYStUXjPvYEhYbBx+18dA0kYlLdipJDuGLmzBk2X3aBE1tavDrWgJGPjZZ8CCeEC/iMnS2Hn122zUwcLvVmNkn4JI8S/nmSrhGA8dMwVy55bgj7d+qgFS5ldrzcYSwSsEDzhTUiJkfTy1rmqaF20MfEw+NQLttw55NgJ89/WDy+N0XHgQ6ed4Gq/RKunv58BmQTexn0xm4hmPZK/TcVUZAMq4nk+iNGuGQI89KutbaZPTYdBIEQ8FPKHlueHy6bYV51ExjOFLgmqUo+KeIJLWmHX5GJRr168WroFYr4UvkIfb2SaEV37zJDmkp7A2y1JnaIx/vlkArshsjD9SZmHFpe1SCH9uX28Vqkduuj/NxJd4Smv8wu+7uLujRXlkewtZFySj9CKhBpwaYW3QYWwq1FTuEHdStEhTqrN/Nj4P64ooLEdRdQk/wvgcO1EWfto7cR98H4v7E1HJxIk8FzxzlAAl2jGVDhbUf7AthQgIrnRFdUS+Fs0jqnuFx7J/VKqpEYKCZmN/mePCk1lC7Pj8T+/1ySzKmXiM3mCdsmhhu4Lyc7g4D81g7hYE/AzR0ZMakIeqQVJzPpNpfz0C1dmfAl8BuqJb2GheQTzhe+IwvOrMAuBAtF60MXshi1vzrDxB+mjZtxAP3pRHRjwi0G3hTIG65ubbYcwfrEluSOBZAo79g/LrsDt3LaCpiGDO7clL8uCsnKxtwH6+XcbI0XWSooyZgU7VU5g6ANjABcXoeJ6fRjikfjy1nlzNfCssYmVGpG6OCTzlbAMThxkFYmdywntnTeWD7M33J9o1RCDCXtaCSF/uf6hzmhdbNTEzs19O3CM86cvY71868AovKPCdwiLfWKPyPwZchNy4JF9XjMsMo5Xdc3/nG1NoHoCn7df2fzhT3JgBpcXJ/6TsQ9Df2qb7x+JokZylycOmQTGT7sOniZ7M0B535HcrcU6NTi8Pa+rlDHpz5BctiOfHaWK4FW50Zjmb0dckcPYRqiHXjtvXFWzFOwpN4ABD6k1FjarfMUIW4pOqaswlt5U/PhJK8osKXsUs4fxfWp8WJp5bNO4AFcUEgYQHcTY53lwsjwZdYSTa3Uxlszd8isDz3EZxbgTV4R2mkwcbTsD/ELxYntgezBbp5hEFcuYni/bAGkHwxT0odPaR3RrPNQvcie5Kr1+YU2FPjk5ex3MTxpi697jsGrL6PcPsUGnQs8hAGtBX5lS/9FD1Oc3fSGHmaYFooTOYYZ0DHBhFVnTP/ReHII+s8GjamRv1Fq7j7NtmcFuImGIqhR7NtmoBwn/3KYNCsf2/I8ioot4f0XDWBC7gzgSRspVhw4+znwrY9DrSewgJobUi0Fp7TqaGwM7QI2URFq3wrwClJJKCoiKD8je/7lK+Xh488kCA+QIcU96PSbHJzWFzaRoM9YqbJVNKw59CH43a+tFCyzCtj2WYnHFOzhs3P/+WFc5GpyxVm3ylJwIOsJqd8616WpD0sv5I2fBjpXPvimh8bZ7qgE+D0IIlPdADUYKLOUvgdZ8SsMuib7BYIY+Q1AtHTEYdykT5AdH1vHuF+aREG3OmLVIYu5TFAmVspXc5fwgWWg7veLhNl5ayyJ++xZ5Osu6HIBKjnDBnIge8UpUYrw3WgvBb/6fPL6iCCan9SFi5BuUWPI5U2gGHFRodMDzC/KPOZ/oh17bKdzmzk3Tqh5BJuwHqzrm4w/mFriRyaFrZdfclZTabprdyDXRJxT380tj38if6qr9kgng6nbV5uEl0krqT73lEDvZghAW/aUuCB/LVf3Yn0/Bb798kSRWZnf/Vnjlsx+aCc4aJ8Ik5fxQNWyBGrri6sxFQvLXFHaEkAYNjupfG0val2F+LNdgUQmWZziMcibnuWM2QR96rGvlrobSXoZvRCT3Fu6hezkgaZxYwgy5joxnMjeBZ2GnfjnMBsHAnmKXv13Y3G1tZz131XTMbO2gH5xDUjjxSvrc/7GeupFyUMl7IPlwEKc63G4y70NIuA/etXQwsh7AotYJ/sY5UYfRbZb7s2wECdGnfO16Mfh+zkrGU3C47nC4Ry25oNn9DHteN1CDLaU3CfW9PVSR6dLBR5+uJeMBNCMejkHyPwcULQv0QYu+uCN9Nb+ZcKxko3RVhMUMciV87DmBTbFuT35tFYuT7tVdPs5Csh/t7fh1XvlvqrpoJBVqnhub7nMUfoKsG1YFMqKZhS00GgXdasnRVjTJzPCBZ1aMgTXE3gPW1UsmycClscsI2N8Hl25p5nCBot8j3cM2tuQmtfiuXWImrna3jvhHqWSJDJVt1vW7Aklgo3U2dthvIssPKpiviiLhu4ISX7jY4YwbE5pujO1KAMd/x7c4Rwm8fF5NLyIp/8Sxu2xOpKvPFC27QNS5dfkcA9g0dmD4zGQJyvAVpq8y2nNqhLYUqSN/eG9ldnnKfJ3nE/eMmE+zOTrabJ8WsU/K8wIwL1vWAXFDhTiRvmxZc0bkdR7fCPOMQw1wuLgsBAt14lMdn7AZigNUiFWm/WFaq4j7eQkB8KKzjMQ5kcAZOeCX+yC6PfVqaO+PN9Wsu2vI5IqOhVo3fdrJejLrXSauxaZ7HSOtM8pkkBgJBv2lvIHYkyWAz1g017cvkWUD3vidvgap3x0OtQ2r8ajE1h8VUX62/743y06ifdpQCyRKBQ8oX0WMx3Di5PREuVKx1ahBmSvf7jdls+Ig2y3iHyg1XC0Om1jnBNcmh+xEI3fesX4hC80a/kXJBHk0qNgogMBlRCUL6jqn0togvn0wmFWC2Z5l+nOmEM5LJ84OFuGNLxCnJ9mjqUMJO814KABD3h+fBYKHy6qfj2szQsShLWQTKvEehXGovr+W1gBwSn42P+Lk6tayj7yTcCJ5bOwQCf+YoxIOMGHujwn0LNxZcFMr+9ZbwSLErXGAPUOVOMtWN7NVAK+SzQoQHF0ayXRxc0ArOxhJENsaSU/6tkBkg92sXhxdYwyNP46SD8dAZ4BeVhs0DNm8/I2/JBso0zaaW1tV0PTORx/oTojNQwf46Z3tQkECLKEZjyS85fpXsmPmjK+o7zhWv6VuEKiwcyUY5CLn07oDQaxvS3RMAVdo9C4/V4ielk16TAdxMhDCW3Ik7sM3ABiNYQMbZnU1obrCVS3w2fw14MZ0RoI4rdUnIAVSfVCQ74HJG/IUOWuNqXZ4wc6hhxevc5ikuoasar1paXbbmqatRtPZ47RfVil9L8pGFQfsGje4j513WUlqd02peMawfgLSeEi4wG1WGeT4u55aIhLMiNGhlWYWlQiROV+jxqVTwCYJ+fLa6sRjDODwrG+OogjIkSHm7pYi2QKkgGACYVVozUWuAMZB+UcXexykiKx9iCN8d/BTZlqA3NyYXgjtovUAYwXgHh20jDZHwZRxg0e6hC+kE4cm9o/rwskGpRzpQohAD3jcgrataX1avoHjsY72YH2SY8j4jpfucnJ2M5f60zCZXdjKFfibpdgjRD43Kj7onZIebYe6UP+9H35IwdgHpjZaIWRQAn0XvtibMHw0ZnL9UKZc68w8vWXvQPgJzzdGzsr9RM8U7KwFXGEbkBBcOTeb3mhrufZyxg8UMSIbxH7ny0bnulsza/AoNd7EuOVI3fnVmr44QaqNh3YQJ6xNoBdNH/yt13LVOf9NUbJ0H7zeiAYHGXDEE1aheokTFouyWSsIEhlCRxe5bwIYxbCEWLANwuqchbVMtupGPGS1FwJ98yXlfqk7CyZ6SNlKXZzcnkpJ/T/zs/jKWQYhdfg2Z1lJixt7l3T22hTk5O17LzEq2BIoMZtBW/SmPNrpyRcqszBvpstLZgz/j5eBF72JkMiSU+YWh0f9EFzEoD4zVaCfl2bOYj4lhTdoHNJS5Nm1QJhA6Kh7rD1EEKtq+qQEznqubOhTnmeXF4vJxZL4ybPMXJTi4muqmreQWOvwj1z2n6pBKxVhgTcBy/rwrTJh2ZJuD69V76ZM7bgcmfcPAnzZzJWishCMdxEU47y0vOTHH6jIOis12JpCNZDnChQaLzBmVxw4hlGKzUdrcPiddNSXRj3/28MWornIjVAJ3f430qUnyiaCP/N4kwWDPsflwi0o13RlFwaE1GFEYA7X3geDHHKdKNHFFVzEoCBgLlo2sAxaD2Nbx/BFaQjCGvYVODCNX+voCGh4Efns66ais20I79kkA+VgzdV6K8TQmjkm6HmFkTuXhgOOHu0AWwpuqgl3PKHwR1GuQEbK6Otv0cCCzwi/bBSCNHTkzjQeG1oa0GLunojhoowg0/42fpEO7+bbGjMTUv46QKVMb5VV4bpcTLF69+i+B5JMSFhgA33iPU/XY2dsgctH5VV51NSNmCMQ9YpxaxxyaM4PvF8yeylO8eEaCwS3FNtvTCzyXV4JHDSCVrfkZ096pX2nBpw6FUEwDf3ZQ6el0nkrhepBqN+k56imxI9Gi9m3/2XC+9/4dtbNB460gp6L8n6vQSpeI6J/H16dikkEEQrpPgp8oNDes9kKYgKLwUkXBROXL2y3qsTTVPz2CL/gknFlcdYkmnukyx2yvp9KnZfmxpOvQU7iKwv2FON+HihWEwhUNQFAZ3sOoNqlI5b3DFqwZodtfTSKOnRJdXxV1tPRW7DhIsnm6wj2RxEdv0xj4SeMvc70kxvksXosfPoYKdGYlogqhkr/EouGFb/3cIvVBaOGGXCHPaSSPa59NH8Vv9PdFbUQVL86b5ePgMI5vLPKLioCUz5mQ6EBsF4rAVrgGdux0adbVeiQZNNz7j4MxWHWfGfOUBdo4Mq5HtIwrkv+kzGnKkKTCDxYxYROkzoz2bSF11RqnlzuyHaujECZfllrnptuiGdSbD5O/8PNlbcTX66sRNGnQwYhm5XoV3i3wvHOfvo+iS4T9wBE2tTYOnvlbGIlwx5hEcxct9Q6kWzLgqtHdEZWX2UmaKEfcX7wuHsS52dPYStwfF0p7kWEgIP4GNL3pAeawr+ivZTl9B3SRJ8TnkZ/m37sGlYm9kHatbRq05O+1gQ1guRt9JLAL9rQdoLhmqCQLhQZ5Y1nVHTRVWg3CZZjqjapiqx0big1TGLstvP7PHEattmwxnJcgxwPvc2SE9ZNQNCllPzV4geXY10L7+RPq14GBlH9b+yXwkJho7Uh+56nb7fVOp1F9wGBlTIH3c1pZIZVf1aRY9a/9eGhecFuBA3Lx9FVjcCRo1izY6CsFTFYSBg/AJcSsBcnojYXAad1fISOZ7NHgmuCY3GwWzARSxPDE15wK9IIPBazOc/8ntqnk6Ywkav3TNOb/NkjUTOptjJzN4zb4VPYC3QnszDqoobAOxnHui56lUsmJb9pMst3RKSyvU53hzXacPI2kjXYYNnyHbgwgeFvuaIj41ZBBeC4o96+ENp/Ycgr5pyyqUhdS/Ihq4y4IiXIyT6H5HPVLyrclEVyUYche31rGnzsJml7oQK+aUAFitDlmfjdQrbP8egHm+sewsQ5Rri5CsnRo9f/FN7y1jBU35oC8RdZl+gFT1CCfsBV/qjxm4WEwWBoLg4pIO+vRi3V+rASza3gRl+y+x7Rc+s3PD3jsErASd737d8EGOnCLumZ7GcZ4THIbQHebL4Aj25nnUUoqHl4B6Le77iA3Li0Mv1VtQnzdD/ehNX5fFgbIeqdUpC6K6MOXlRiJVc93ZdMgx/CBpV180pucZrmwfbyDvGL3tDIDZVA+NZ7fzsyvrTMFleqHYk971YkFnUST8sA/hQ2udY5y8MaYfCUJVC0olT1vOOYvU8A29UuDY57OcB+YY/SJN4jTWR7PZoaocH2t6ithFr4ADVqLrWCfq6hRVTgq9n+AkVB5Ipq0G9RYUm6IWD9/nhiNx0Dqkwexs1iTNrwvld5CJnmV9r/oSHNDLz5UY+JmrdgAxaU5zBWdPfE9sIpnvohlvOnkWHjgrLKYKO0EybRx62FWfQ7sVkQzJDPbYh6XhxA8vGeeQipq0EQpGwvwGDsaA5H+qd+J2DMWxbQYjSUvE5ZLztRQ3CNrjVpd42rQ1ZexZiMFF216fbZDjwhwjyrM6QEHuB80MTCLpkpJ4Z2tZMLgW736R9SoV/dV0IC46gu0Mopi/qNoF2PxflKkXZ47Hnyns7Uj2SA+HKuqpiBdKFDefBnolTVKMyatDh4mZ3dnn9gQnbnWI6nIA/1Xqsd90DzP6/vhhVhtyM1teCs0GCBYkWJ4Zz2N/ymNPJOYBDDYT0Ew2Qt1Gd2RhjVw3Wh2DVjWYbTBlqr594nhV6SXPHtZ/Q4wNKBAsdUfgWMG9naOIdEH/2bu6HkpSR9hWOBe6eStnGydp+D40bRZnkw8MWwuF3T801GoaPkiPlrdeNt86wK5OJgICyCL4x/haGG0+bdF1AEPu2aW5VGd2ii7ISDqHvGzVRZf0/37y10xvH/St4sPQ/LQ5UhYp/a9AulLOrn+ghX7LjAuq72AFDEPMRYm3obog8J4rwfHY/3JLjTUyantKrfW8ysQAYRufAkv7quQu5fYRsCNtkLYqGjXtHD47sY+jC86cLHbaIlv0m3ErfeCw/P++tGj6zAsAV2nx6vZhRY5MFzk3q15RknFFvAlkSnI0iK9DR5s9+MdnJJUu6m7+19iwSLPGzclIYzDqsuVq0BtsRyk8xPkKFExrV2BbhxvYuYcbeOkxUDPuE7zVbDt20ItJTbaurovttHJWs4KMPMLuGGbGm1INwTWpsC7Uu7hTrIoRkZIBqnJapDzLMx84U2FNecurMf1w6XRDIjRxMyMLLsS9Jcw9b+FZGd0/BJiPzRfrqL9XgI/nypSIS/DY3Om5w7CIGrK/czwp4g8/CcWIV0qSh2D6fEpYpYg7pgwJQSYG/WAS3mhQvIRScdyV6Y3OjRUaC2JScuSqpDfAYOhr6ucsh0hGcxTIZ8MQtEaDKQWIpm8e+SQezydfBuw1p5xJyA6i9ikDCKOe67qIt+MqOSAjbh8yWE0IlGH4OPgONskHzGt8WP3+C4cbUXtTOVHo+w7wJa90Iw2BqyeZk+ss31o9TjGfEo7bJRxYDnTItd2o495Z+H88eqxjmou/b9EKO3K+E3W/PcBlpGcMAJJMAbWdanI2hjOcPDkrKvu/ybRoPaWdhXPy/gSDNd0X2cobgJR/Mlm1DMWU1EEIgARtT2HnBEirdO0MFLfrk+3AqIADNK6Zxe8WPy/EE/uJEj05F+TJRCuuek2TpSRtKCI5V1FwwyiOrAz9lEGk7JlKXFgzTA/0AFS6OW+b4B4SmB8IpWGE0A2UoezSEBfWIAe8sFUib3eW8VURcLrhSbAA0JA9QkkyLHFCfxU/c7uI0A0URRzgQKEGlCYuYaUKd8YYF3q01AtiqDGepdUrqlmD0XoiLDNtGk1nFkg+TGO2owlfW1d/fTGAm02vfTb0cqvkGRA+8s5MCPHYvdGIGBjIOiGwqylOECGXxJKtVEOolKfl7iiTIt8KKwnVPcBqMX0npGg8OP9bIT95V0ZoQ268pjBsvqMN245Xl2fHrwhsBkhkof9Vr/BZIF9iJn8U/Lc5ArFIucJTIlM7OAGkCi/BNXCS+mHIFAefRYbJPeWxYvCBN2CqdLDoGGcuOSOnehGvsM6sIxgs5U99KmndSsGrd4M5EdH1mzQagUkWcsLbrUlLFC5k+6Nq9xhlTfDO0/yxry3sUX6fD8z9c84A0ki0hfHDi3dIrohcvMzaI5F7vaxnqPytf4GJ5mR7fQ/s4OAcgp4owoxJ0lIw0h/jLderKlLTezOAPiPo5K9WULBDJK4VKgaj1ivUJA0pFEwR9v7GXAVxrtU/H0hvSHxk9Dn70LlqvrvifVgjGqXobexMPqNy/Va9wm73Nm6hEof9ZgklPjUR/mDhlKdyPP0W0i1ZalvODrYL6pPQuzBat3DvvouFmig9NvvDOraESCPkS5PjwAPkPID6jfL3FTtsEmV5napVveUIa954GPqwNYkXJ1anozXMmUNk2dsNLLGwNwYo6ThmTnevi42egu1V4HypS6Lss6QOUlK9DpDOUsQIhty4Sl6gUZBCSduSg1WXpushTpFMRGmakXfLOLyOWx4cEeo0cvilUfrx8hx2yI0DSBrFY9SQNJqII5ajihl+UpyWnC13uHy96pgXbCl8YswJbIHgjdRNYl5IhaeFaiAS4oRoGgviP025pTAGmtpQdKOaFMmd42X+/ejpGOQr4hH2LwoGlmWvIK3vqWRIy9pXg6EB6c5NLnfccWSuZZCXWXLoHjJTluLsDLVlWwnWNXPUjddxHo8Ga1cCvp5B97dNLVM2mlXDm0P2RJIgB28pDoT83YDBieVGfFt5tihIk1sGaK1D8N4RAX1AsyusKCKkCixiYM/Q4z77itdf0J9GPbBfKG4PYr+nZtL8qvMioIPieqN+FPE6U9tRQFdyPbvCkzVy1WRAJSmRsaGuNhFgLQfhun0exYKJwRt3K5cB8C6CJ1Al7WJRkrbgmp3obmz3twHVPdWHtK6vtULXHWFaJD/h47RQ31G188r2I/RlUQhhnafRgZWx/3RVYOtLaOXhfJ++zP6zYckp2yuOUo7wIEp9IaCVR8+4Ph0HM28bh/Luu91i/LOJOCChOSSyWrYQh1RNG0YC4WLY4PleBDKafjLI+38u67bnbPZP3p1/DL7IDVhtJfY08lKn/Oi3vVCCve3bhiDR4Prw7O6bQFXi6OfYChYqcGBetFHzzuQgjoFp5dqP5bgG4wDUTj82szSY5AugxSF5B/mPMFWdZxmPDsVpoqpNlqlB8flKK1xMrTgTepYYlcySHiO2nw/QG2wA1sGq8PQRqGwHRhbMDVfqK2qBALgjASgIgfBNaKz5tiiDKxMPgTYSSgUmWwlCmLmEhXIIX+1f4593GzpPKUrn43kHZQtFrTt+NKx0NXwFe/wkzlBbOl/3s6ysuaZMoGUVnYn3FyyWOotQ5hr2B7hr0Chv8v8Hu6rmmq7f2Ywj5rXEaGwEReFzsYXN67lb5YVQpvVW6krb+ihGqPC0VxofI4ov3G06GHYKTu3Rwc2JHNYjvus9E0HbZPDvXsRaw2kpFyKnWJpcKbazdG6cJlVAG9dM04Q+m2D4o1ddj+ZmDewhVns+l89RsmieVsa8FAGn1dlHbKdR7WdJLrwNnlZFTO8j3LVZeDdP6xNPmZ9PD5H3t26SHMWXDlcDPi7J4ld32oBpFSYR+EO5Als3kcXXJMzSe2LAqtHey6WV/ts907P24wblHIaxDj9nCehWkwLcIAr9O5ZEUk/lzOkjCbOknomMStaDajTljuB6ZL6Ow6rsB/rT1rcTfNVSSv7rvaRaiyPa+NTgeI5RklM21bTMmA5CwaLfKeu8CTLCPVazKEU3/P7OwaB+5gbzFSehXVNJFw2CNdWmdcXZLLS3yZJnjyFK99EdrGEBzW71VInAKM8SF25gJIHdRJ080SCI5DUgznkJSOXHLQBPjAMwDvPre8b6MJtMp+RtfwTXOhH0c/evv0AiFrVsP9zJR/ibrcni9klaRgk8ZojIeAReKN4yKOrNro1FoVsHVNUdN8tSh5jYLXBxSOYyam/HiPrIJOZ3YGzIzm79ThPCsxCwFwpkl9nPDlKYfb9CAGYKPYKYKocBmMsD4N3UXloS0E6X7bk4A6pgT6krb8zCoDi4iSIGoLGubxWhqKK2K2HWIX7uFJRLn35VsGAEfSdz+jx/qTKsoEFrUuSGb6xDIorp/+Kj9wOP+xZ7XKSVqZgIPTEYb/JhU3hW6RmJrl58c4MfFJCyQnbqjVR2Sd/hjvxAxGdCIFyzVNF+QfLbiAie6fHVa5Qdu7D4UhQL/yq3rfa5URfUqEfdejdJHJ7Py511U7Vx4/vJqUVlcQUnD+5IgANRUcbB4EjyNrpjExyKZalD/DT/qtHvrVKDwF3vD+jVRKwXoaVSaqPMhJ/HsNzvMaNKHpCXPEKe0M6koCpi1X2bN3H9RBwaoN/SbDDfJMEGrvNpLzVZNHmtyQiev5sZz5w0mCSbewqJmiGnrlaRJ/6J+lGcBBcNoLHBmPwVN8Qi0wEojEpMAHqp1vtWHeUlshg238AgJ0DpWRIG9yIMa7Y30wf3l0GVXfvqrNAdqyW1Age4bdvP2ovDL30ksNxU/NTPVoV06ZRO/Ms6ZOvdkTlJPBSsd2JrJasWpICmJYjr7DO5fp3bFwdQi5dQAss/VR7WXKcxZMmbB5GYXFyZZl4IoXWx2hmMTaKpoKxfLK8ZSmmOuj2d4ydLuw8AwJ/UPZtw1Y73L2H/TYoaIVtL0TXbQUU9ifYdGvfHryt+fLAIe1bnmgzBTrM9O44QpBlPJh2mEMMfBKYmHV00Qv+EZTnG6FUxWcgybsBscY15CH3JejLuvEKnGoHzDb3WymKhJWwTzHXxWlC/8ppl4Wz909BSbP7lDsR8jZDHccGlFjI36VYKr/repMvCccXC73MnUPuZPl+zVsvtuGAQ4Epa+rlGYA5tF/CaTQaEEPbumXfJAwACdsD6oiwLZoyauqOKQ+S/941nLBiU9icW6WITusq54ACLMb+8qKzCeu/+kHtrB6PttPXuQioU931Y8TVQ4fE/okQZoVWnhCWVeqYDRRpnVQs7bZ+oiz/cS016O9Yv7EgHI/UEsyKp8vwwz9/tPcIvaEx4dSrQbB+KBJHX0bjd5I4gafmkubbUyC6VvfTUikvhJ3BmNz7lmgaqJpfwwY/k4dtmmIG6CgmC1ygUYZKWFm8pbbg0L1eyIIe+V0Mdqih+fHzRNkNT2Zg/u8e3jCQTACl9RkLudemyvM057VM7k+JC/24OshhO4kfYk0cVZrP3tqXbaecrutNACXOXPCZd1Qgno1cxfXgbAjgBDSI950zvHd6/AAVzEO5t9gPAwtY3KTdEYhkprdyiElB0J1SXYnthOuCKmlR8wvxVgg9GCNoauZqp9np33JG3LcAc/MwBOU1tFosAv1yfY8B218wjSoO2tDqs0mGmMrAuZ7vPMcNtS8mChVIZynVc7NHg8DDvdJccLA53X7rR5nSV8kFi8bH7QO9PaIzGz4MVi8Md/d6O/Ms8u+5gGdSsVp/nSImKRPHMkFdZnweFitPf7QYkfdlZrLddhPmnAuqvdxXfZpfmlKHfSW/MTg3y4Qk1lF7RDiKLA1ZMTvrX9CvomJJYqaUN59RLoYZ/z7Nm6Ty7qTQ5PLLPWuIEhkrYxZpSImnzUv83OoChhg7t+YlZ2F8ZZ4dbnbp7cVVc+In23Lp7JVheQxWAlhrY8qt/ZIPpKm4TJ0Bpcy3i358qWU4emJqWRVwaxxjCyYT7tSCEN3iecLjVpSw6iMZJy9pVJtPagCA5cQJLmF8GGg6cUiUXj9GvWhiCcxKRt+7hd2I/cWgzLBG10VYHBYTXU1t9TNaNfFEGk25x7xsaxGaXwrWy9eMnrLrLVgaXsZtuOB/rMWIxKCpXQOH9zkKg96z3dLBc2MNzyhR10jjlEVXiRGhjjorpkIMTYe6WbQ9TNwKGisGs8Bq1BHG9c/yvnt6lrdqQ5FIhqLifaNmWGWcu99v57NF8TLss9+HLlR4bqlbMcqoKK4JVdPryscAn0j5lEBNo95zNmDR5wQrJ4FhJoKlAP6EZtw83zEpuVRhUu+zhb00squSb6Epvq0dJEwf8VWiR0gy3ES74WiDc7FfTkKJfoYw2fImfbx8Ttetp37vQbwTFECWZaCsU2E6wAO4KC1AKzeg61hp6vgSb3ceqHD8/ytJ569z+8nLo7rblRPhFRiq57vSksiN5LgEuYcI5fif/MVnKJ1OXZpXcC0TrmIQHY7uzYpA2EP8jJkYnAxF4XyvoN4gg68bV5E5jbmBzy9LTnCBDraCsQJdL6dl8iCxHciYLO16zAkif/RaRuNus7erfdy0wqn0SxVniMq9ZUrFG6lojCNcnbklvsfNm4xhI+TRmDFOlKPI4TTVMJstw7dG9qlVoMnlHiTy+xdzt1iKGN9AIg19l4vLTrjt08JiNkWi2I2EApXscf0uQ5e1JLSzJhUhrWiJYqyqFFtGYYonzYvwRbvMWcRJbcxSZqMfmCNTzVzq3jHBA30eyPA9XZC5neEXIWJ/FBIc4CX8OPj5H+o9eRJ0Q8BIsZ8J8xPi4KAYEL/Q+VZHynReuBdOPVsXSSupyRjHbFpAThBTO7Dhto5Dxd4SEx2mQF0wkath5lI4bTlC6WihezpnKj0rRd+zgTHQF7IYsxdttSJZNfjPJWwNiM5haGZSgzJ7CQ2e3tBv8RjRXawtm3ewE0s+tjC2+b+85uUnLea8/GwVzWxhMWH+Lu6QkTbp1RuAP+gwcLF7hANbMqXU/pbQ0xm6k7s7h5qtW+NIMJRNdwGXaQbYxSXMPyfPfMN9TtogUDIeOfD2fHO6Vq99r3S87sFtdEKh6f+iht7BJ2oZSgpOnydEKOyap+K50NF8NGIWKs/hYMaX5zxP9oBEMsCm1vLopIKSJOU6p/nPe+8zPZZpjLimqqOubMIT6yMEVEpgMo008g8FYnm6B8DEogBNNGWCoJfVMT/mItLJPrlTAb0nPDKfl52THgeUVTHyUvU/3CQLkg9oWBWM8Y7FkJ2zrq+jEo+hciHOmIIywNaoI05Q2O0JvE6JELHvnRFRRTJ+qHs74AKaaOpF2EfrNWIHcTX+89mrhZvY96Ne61UWsp0R10jNzI76ZdFvZGzPS5BDTdPbqNZJAqn/ssEvM9f4bZgkivGPtrUQfH+TbDcuoaK5TR2ojUMxXpcHSNXC8KFFG7ZqRlocqOv/yrxkv3wnMke6rotyOMtizttPM7AfHj2XO+AXN6gkpWrf14HdvhXGBT60qrz845AX4rpwd+jZ58oe1QRBALuGv06NbUQFgyfRdTafEmz8O+hFDi5M2YsJ++NrGw3Q4z28GyVBRb5zwIuwx0lu5XGxARAaO9x3U9vWEb8ZBvAaRqv9JcsAbjLuCLYRAGo2AiZ304E2uWc5WaPnlduTh9nkR6I5Sp2MA14smtIIMzlNWlLh+t4Rx5qfFIuTPGS7AbA9qBZ02snPhNmGuXprfmbXyGo5UNsLgYReMmRO6MSJaz78JX3zMlX5axr/dlzFB28R2U50dqNsHxO/tLSbRKhBxTZegKUdN2Gisnun7GcMwvSUvH3Yx4dcmbLO9GAVpMWwpJ2BnycCi6Cd+BVmNe0qhm1685kdjJznghogxS1pq50tqgsj5/2N612tHhnz9fNvraApo9MVqqAscRRO1cUAzAiV28SjnlAT562c6NKuio5LmcDYjWt6qect/7F2/qPK4jTqZbLrrbPdoUyqExHEbxKnH9AWfuHBqhxsz4Fiem6KKAtTLD4zYBC+sPGRggLjz079k2ciOY3ti6iUh+xUdC0Qo+zXUJpWdVfmc2Nxg9ZeiCmyM7bNQxKeNEBkZIAxgcOJIHCvFBQp7gG5iyciUmCJBPH/Jeuv0CrD/Dg50tRGHuALAUps1adTVt81NUIg0St/rcKb1m6KAI97JbY+BUi/RpAyj90mRnoDLMv3MCmzTqiYxGm99eoTYct+ctUOCIFkhWzANHyxrBrxnLQkUio3/xkkSQSukJA+AMb7RLtEvx58CVun+GmaXCxXBFU20e99SfhEUYB5qp6YEiO2p/mkOs+LsqOv5x0k653YbNA1VD8Q0I9jo0XZMO5Lz7fxnq9ePHkyF4bTqJBJ1L0wy/csp67L95GYN+BsBcFOk3SX/uQV0CTxFiuRXGF11x15VUNJT6Vao52a4gJqjB8YkTLa3EstfCQhu2hKqgyn0E/2K4mJ7SgunoKImzyyGilM74d2dF0hxxUKliAJua8F9nEx7UapKYKzle2qqpFLy+mNlgBPqfhS+cAA7IeiJGvFafZ8M/kr7oJC/W1jq4+kVHuK37L5Q9WptdzX7meuZq2UVs5I5AuTBr19M5yrH4CUE0AyijD6XeTbEfvlSPy2dnfkVD0fOt0tp0EZYpxn2MFEOQFO3U3aSNBBelB758qNIFMnGZCbL7r6vNcD0/Ck1V2vRz127mAq0UdODxxebd8zI9oMoC79LdXsyuOs4Fv5Zx+9jih0ZNTgjCpYK1D48k0IsYJm1GfOdOipJaDMCLyML+In7pOXUFQv97uOCXXe4js07crjkcGbWbLgEl7JBXQnvlY/5TDDyFvNrRVGLc2Yr+QoTGfzqhncBPADhQlTO7Ry8E9yKontkbKeMKDKzKrjPI7sdwWyoJrvC9Cs2y/6qVZFuRyQFBi191Cz1FDRVu+plL4sUmhyFON5dula30WglYaWSlONRRKOLqmjlfXEp7f5aOqdj7uoED8rEIcIZtthux2Uyq9q3xGvjXKjzQt+LxNKjYds8nl0I/lZ1hXYhIPfFIUP3utKnoOZctVetg8KoCQ5kSt/Sy+gtmfFFak8PaOFgs/gTO/phRnwNa74ksgDa36OLgcw39giKoC1h13peTgdRs/oSOldgGMiZ/aVB1rvuwrKc5GzDuU71y8LVpzxY1PQ5S2McRf8eAnFPpEr2dqk3BC/4RDClaBdYMF5oqb7QpnagZalrh+oHlHEzIuMdcQXKXRsPTpfzUAJTLe5wOMegog254uvt/OzEABYueSFUl6zX1+P3oHyG7qgwVgX0D2iOuAePVxOU0xXK7h0Q5qP0G48j5MStRw3KRuu829jfN89na3eLGbMLnSKYpoCnFDX1VucyJkiCgXDBUMOMLe9w+dLJYmACtRTrHg6GgIAJNPxTbrHPTzecK/jDVsAFR8UNk64aJQEqIZ0MASY4iAHgynCfyzlvFPGLpBuQQ5H4YAB8ljYOWR9i3JuHx/M9nZLa3lVwJLVKPyKOSyjwzcYhH56q5QRMslpczFZct2vHVbJTvfHifC01u8xcdSnYuc8AN4xqrmy94vHNy8Sk7zUCqAGMYxrUUsPuxjNYBQDOPmf4J1qqcqeMSgv+aQ1qiVasU1npPlz/49bNEGR/DP/K9ngsDQrlI0tnw8M9DYAB5R8rxtVy2PkzeZU8shuryyQNM1yyVTn73d/JFxx9AGkvLAowtGBbiST0Cn240EU1l5J07sETw6aXEQt9EKl0SRVOo8rzpogXUqRb7oGo9D3J2Ok4ADC/6fG5Z8djyVbURn0A4ZkAeBmWWnZ1SyGRObr9b8+Mmjfc0fw5kMe+4T63lLtnzwlsdxNF5UnqqjcbA5gmWkMky/QvPfHGNtI4+b4aKuQkiXBAMtH8KncV6h9tco2yVKtbp7PeueaEnCro6H7M2DBRCIyxWwWvAEcJVt5GrWATy0C0/4Qz6U0NB3gCvDl+1UOTLDG23mEpdy8bdGqWLGN0rutRIpZNK0PBxp4eccWnnOFFi81E9FPGRb5TnFOHpPLPArRnurRIPeppWq3BDvNC9hh0NyP5pa4X9XDQsuKxzIDa6jbxbMPfgTOO3XGJrnvJvXHxZuQz9Fs9iGKNYQEmI7dMx8XGkXXse3wceg8+4PROBRM4zpfyIozpn4fwi8yE+yuT+xAIm8kcM6mN9Ern6O0MI7+2RLll/c5h+ZN2Giw/HnV4k7oVK6Ly1dz4M4EMK+sv7NC1S58Zzw7zY3iYhC6I82oTa7ONdVgWG3rjmFxUZQh6x1DFco0SHNWLn6srQNuWrP7kUuDMNDNDvH+t6rN5Vj1i0P8lvWzRqxn5OZerHGQI338vhM7+hRuFgPhB4hb1Yj5UpOvXVAC2pnc9O+1S+YdudilqPAISJAb6EJIEgojO7VHdBaZpF42vbVn3wHfLlw/4fn0J/5fcy0FUI0LfENMCSafFhTYeG/qZQqZWdd0C7FHuGMiv4RgFu7Y9Z9U4CIImNN6nQOIr+dKUmNLTpRHWHZX3cbD1lq0A1JfuecCTk1979Ohk3on43UUr8kH6JgrggWZlVw6SJlQo8gNGg8KIygERB0WuK862+l2wU4UMja9d0rq2+2cDwgLBKIihRB19bKKsPOGMWnSS/XujwxtT9V0g3JFxL93sG08pspafNlgyf5c1zCgXLP6aUAVLD3DVAyL2XVK0BxBBmAuzG4Q2uYYYPz8Oi1Nt9AWbJT2sx215MZnf9gqi3XgWekBS53MmVbzwTCtCvvm2BbID/Rcwq00y9iXUxtDv/wR4qna75yWWzecualQ9PSBAfNDSjyugk1m/pjWvZU2dBPSeaTGiJvmCz/hxxLtXJBtAbfR/4DR0N/NUMyE562sIrwDqRC9dz0v0Uq8P6mkgM+/rgHXyN0apeRN1z3ETNJPm6MQ1EXTp7wZGTMhGHhpstPC0wMhfrlOZYP9XCOeCFlP0/m5h2/qiComqVudf1ux1Tqz8hzpnEHQRhYbIYFKhBrQOcEF6eMQRooGoSFskd4VH+dqd/UrL0uXi3UQMhtf4ioISXxi8ACUdrRAwpQFcGv1Kcr8CJV4733OzROXuuAFXLrqoMjfoaApIR86nyOyFhlmFZBACJhMsAQ9EsWPDwvGymTvlN3aXaQXfTqEGHcl8erNNWeLEp4F1/2KzlNrvQWft3nFxDC9lPR/p5UKxL5Uqyw02TRu9V16O6QiM/PwcOHgT0gYQiE26Ao9nYf8PcupAJuf3p8t+nK23ejd8Y5vSrAj+NcCHsBKIiQjDPLlGPGI8LxoYUB6FK8/o4ho9UhGRcYGMHYTYiundd20Vr+muRucW+f/5n7I6Z5DqwoG9ILtV4bi9LRNBAtUe8GREao7RU6qGsUROlhe0jVE8LpInpDzRnI8rhjkCJSmH7LtqjfOX9LDG8bRMXvra3ihfRiu0KCshuBRpjRL45A6nDoGdtLd9VCq0JKb2ggmXE/GTbEVdxOhkmzMdYcJlzh62Mc/SmNPq5U0sN43CEFlKlRfqoKLJFYiAIkQYkfSZNTeK9dyjeMCugE8XSAWgI0dadlr/iTA1MevyVpNB4YMhPraQl0Y4QYI0CCG0tOuA3ZQaVBT4V3HzH9HKEUjMLUlg/5PgMXiS9/5aujb4SIA7anhLW4+NZW4NZtFnr2TDe3eyzBqRHGugB9u6pyPaTd/+EnAOSk57QC86ZlEzfCFdI3Cg9J3isYnGoflYtRZC7fM3VjUqmpgVASC06JSrqlwAVPfAUswHl0O/Dg5UKw15v4K7HM+QOSfZgySehxNxIu9znBXyi1xOtMSCryGXll9Mv9Lly+JVsXdJBBJy7zd+szydN8t/759dmYwbbiRqR+9eABu2QgZfrXj6NscjoVgU63xhfJ4E7Z2G4FASdTlH4RKTHuDc0mx6jDOJTIkbR+Op52Ao9dZXoe2sg/SEh9afBnGgI+khOsCChOHazo+ZhGRQ+QViTUJ5GxXIV3aIofXuOeaqGD3o1cwsrlTwHuN4mKnDAupOkw8fqJhAK3PTaYpAtYEwFjHxES8sBkMZqMcfPm70zkbmvuJpspmZ8lBPR6PYPbsbdY3vvyhHL9jiY/lKKvw2yHV9iPUTLodD31/C9ehYKEuUVMVGpTBmmES5SrDExfzbusBBnHIxk5XCp85t95qMvGBkPeO6UxwVw4VZpqpB7BcJYzStZpw+M/OTlS3Wf8yeZFondsChTi4Dfd5R1H2yPo/A1NMWotfOkEpBVBHwr2/OchuZyv6cg+zGmJpUeX2BbGB43jLLV1V2Dp5SIIyJoslsi0Yw7GUQWO63XSM+JMchFcqkapxu07EjiZIPMZHXukRbELEhxGgN4qk1P4yqmVDfLOgpkisut3/kFQ8bat+4KheXH1qCkPFqeMSb+SIauYJfKlFzIvhNoMVLulzSAwcnm8AwIiLyJVnkFROzFxAuxXHBT1Gki2rFc1eIPlmV4kUO19f1O76fCz++8ZEyu3nctp4sdia6zq0mJ35A92KdyPECCEvusZ2tyXcefFgiUirOzSSxS1VYBS8YadeEBTO9+IOEa3xdFuTxq+8Nwk4X6RX/zLmZ7+70eyQiSaaOzxOpYnwTTwpycXfuWcAbQa/JxW+j6/kWQYYaWIGvUrW/ybH1fE5bB46OYMePXUC5YYmr/mfiZHCOE43SPRBeMRcRB6kv+hnH6y17Y7DQVJ2zcCUnkC7523f/X/+UGwRNPApB91F69fxOqgmnxSRAg+R6Hy16WNNajZtB5cs+wAq2GGZjX5JmNUxP1DeZ+MiQZGFK1m3IIO2heSfeoCyZn7levRspO2uMINkimfdKeHhLuLEKf7w9pbbmk+eXZ9wgM7oVN7sgyBweJIsCiwwlxsI537lwKXDNqgN01JmVwIevrRNhyxi1OlwJXSoy9GxZnB/w9LjT2vHcoXR4RdHVCaAZadR9rCVUMc4HKKIUtMWmF+0qiMQAlnzndZbiLh+XJTPuo3Ox9G7Mk9GIvmrcHIimyRTiKUDQfFps78qVl9EdOjOBBqNuFBMBLyzi1DTODJH3zfPStv3CGlFTY8L00ioAMCAFd7m8hJx4ysDxo5yo9gk9DWnwmUEwy15UVPXqFfWYx/vgstONoUZKOOZQSP4y7fi5rRKMkDYtOleq9crL874OPV9Lvi/qBOcGMXyIBcNdJ69dN+C91m1Pkq8P1Syur7YeB0m7aFg1xvNu06//wAR/RzT0ntsO5q88RqKX7DXZ0PepftUBoTfWlG/IdetTHi6bSc0fUokN8O6IhYs30JSQOhi5WQzj+bNzPShZDU1NxPUYJSysQbBrPKKcp0RqHMzMqV4lW1D/fjzLj8kgRkV2EBFMjNkeL+l2CB8cn5Ex5oXOg248WoSmt5b5fVK5JYoIlKioH4vBVLu3ZUd8+kaebPD/6cnHetJWojbJ1LDKZ7rBdXFxmv/Zeclp76jfhsv1oNIX8bf64kfaoHMVqOJaO5KwNDiNrj7cjBcpW07G8KfMb0dYZSXl8H7e+iFZK0O5I7gvroBsIaxWXq6jblM6o415/L5ReglfV4hIx3OgKDFzHNOKWk+SKOpBIrISG7IIdMniJv0zUIR0By1Rl9tHb4/73YdRDuxacnw/NTd14OAwY5tI+tQqAQxjmQFFLUcZqqGLCPQrR45OKixf+sm5bhqSMWn+H8Kuf7UvtY2ebL/ac5fVPCHQutEwRc867nMBc0/TedqSZy63QUPHwq+v86+FaSdBPmjS946AfYt9Uv6YKsqua9QCxlOyLAyHgam01VX9k06LzlV22sMCp/N2SP0kh3JBhzdCfDrXl4wPNeQ975lXUWM7bEkEkMF1JdotUH4lN6+Hd2jOM7fzCIpFeggEfvDRzfi4IvcMgkkJSAhGydXwdAxRmt+V3eR1yJs0xWCpxTC2e9MWcR5baas1XkeVXOK4zGFMRNeNF+KjEpo/BoSVuP32KjKmED56aoOM00HRcd1GlCErfS/5GT09ovwbhS4iogYCFCp/hxWnpOThBRQ8/i016wB/f+oswmGr+ZcIrjO2fQzAtdcMETJ3ey6NbOZEAg7eHq/VrL5A5GxTstBLkLloXMxrkLrWVlBowjw4gASWzHLixnAdg+RSKgBfuCsdPp2ck4r51324LFlIYUFDerhinhrO4oHoexg0PpkVUMAMvhe+kpO4QW4jQuSXCtVYM6INrn9zBSDYRW2o4b099NnuVC4t+cRoBoT7jzwiu2QPv/Oh8HjpIYTsMxs/bBoHJhBwC+JnxiwWOcxWvjks9sA47TwLapxAZtHQw6AF5v+OJS5nnAE5X6fJSHeXxS254YLmEixGB91A3/1GNybkZp76Bg18vPYK4BnM9S4PmT9KuNUDDe3FN4nEObo27rinB6S+ZfeZuyDSE58TPi8sK4sQiGY/bop94YUKhij9x/+q0bJbhUAAUtW8P9Gdxs0Gyb/qSAgpgMrLuki9Web2dyvXG7fAuI+SXXAz20WwE/nz+7ztntuKvL22IT4jlpZQDVPAuj/VHDsvby7BW/FHO6hDTjMEhMKa8TNlXz/5XOp0etGrE41mkPBdE0EU0eTyyi9R4xMHfLQMjHA14MFQuVTwxmY24UfEASecFKNS+ZDvmMZFExF6Z7SzIpgMO1QpLFnYyWjNTnzmq/Cx9PcY/q3fAIJLhVL3s4fD8fbQg6KxMRybQEy9QR6RgtOJg91sA87zmR4i8+whxBdr6K70KnFM9WMVTbU+TbtY0/Wf8PncFnEE0UgmuNxQyvvcOApdLgWdDi3mbM8RdIzeJ1EzCJd/svT2ap/vYaK3KIXqc4Ga3dY15/V304PUVdCwC0q82zodR8iaomHhoqqHWre6Kq+AVNkE+BO/nFNj4t+k5EPwXQ42xZe5Jjq//zplzhiRQzmV+mom0j3dRaqRuOxT9SHhNejdPz6R3msBJ5jrnRwA3Bg8sO8dkavrJNTlYX28q+1aaP+VJXokXp7JPqxsr5xl1rbxUcttlXQkJbUDJ9Lc7wzZo1qlBQfZKXmsqac3rMVTMQsOcxoIbWXVjfJWHQ1DYK4N1P6IOlNvqI5qxu4Bn7f35tFes7hQd4FHBMqLaQ2ATELoWIncENUflyi0HT5BjJhCYcSsFLXOxohWXqTBFONF5lCVV7ESiSdV7I13BJSt3RBrVrnBg6GV57tYKdxqCEJ1CK9QHdF8yVAIkFZPmfPbN9maYk/JgBzyy9WCoCgoxcSq0VCTj9bWbFyt3/6rHjmJBGdNJ/W25eI30Qc9UfexwD/FB8+UGMDAfEAov2uRdJe6x9gGXg8v0E0CApZBY+MNj5ts+jZHEx1QM0/VmmZJt1jEYjqKBWW9420RfA60UFH2AKwfZjviD7sn7VlqwpGW+w4xjaKnt/aoCrzRAFL48QavNCuOTGNZ52UwjUUZkH/oLoQWtWDCM97maLD1DpJGy6sCVyu8qD4nlEUouYhYsBMDLDyiELAdZf0gRa2YQ6zsBhjT6237DoWjmBxbRBR0efspWW5C//to0Q9rbe25wEWbw9GsJzbHxL44hvGJYSOqT6UMyHKsp5+q7n2853R2rw+pSv7IHswbIIv+7jZCiI4ajDs2hrPJp8jniMdwYN8UYZq2NCSPg0PFh3nPh0FuC4l1LMCSCJU1MYkNruLcA+xRy89xZfYqRMyhwL83FBbnz8nUrvdwrkjNGl7EyK8Q2MihHqojWgQkCpjvN2maQbHA7N3eEYX4YLT++ZBG5POPhJ9iri5FfpIg2bU42UbuGfx27jtpZ5QsJqkHswJPpjNf2+WkDaFk+yR7AhS9E11wk3jUhyLXOIOLfz2Aj+XHC1M/8/AfzIjtoAeZQsP0B+CjG84gJIkf3bx10TYJfOiPS8nXtW/oe9HfLrmdelQBrMftUVWNASzfFBLpO1phvpDmrT/16Os634Db+tiK/a69vrgUgkcA/cz+wN2RcdsSuTkb168RLpDU4o4yu+rEjmXJ/eXVQBP6/BCDCeXc3Lyyp9Jozrr+jcqo17wKH/luUeyXm4p+rLkId9P4HEh2XSxKZzklEyrm5u1bQql43crPTz2/TV03KCQWQ6V4PUQSj/6vFt4KPTWGyVKSkUJGk5aOUkTc7LCAYzPF1cZJFvc1jrTlkgqOH5L/RbPMpN/sx0LfNCe+xmx81N9mirwwsoV/Kyo+UxH2XV9ACBKI+TVyQYQS+rZkrL+nV3A2eT7p8nq4IGk76o3f6Vow8a1kPrgp69gkJ6rwBSFpH3jg1vlOiwxz3b8eFVJmTARdHh6ebDRdrLfPayQXsvPo6Hk3eyObAdh0kOnJu6xLRYqoxtvDtqQyuq+NfI+e4mznT/UPncwhXXgOdGfiDCNHOexWClAw1//uICx1nPr25Yhd55050QSj1SrcW4GBhS5dMbLgfsfTiJCJMAhj5qejS5PofzTOdAOwYtX52ohbIRDK2ypC/wNNKkgS7FDWJ9ZFpCeBWX+EcdecXeC4bL3GDqPVsOulGtKlcst5NHH08QZ11MzcsYQp/O5JSXU0wGshmzw9vz7BGn+Pla8ijlc1B50IFc+xWrwElh+rKtR3UJtU3hb5XZ/Rk0u7mVlNEfyKTOa/7oNJjQDjA8ML9e1CN8TwP3b3jxKph3t7yS7rFbWjR3jTBmJWLIFRocrMXfx/CM1+4h9ipGlAiTpxPXaVGIaWlqlx3n3ymrAHNweilXYjxsf5/0pINoeeqvshy/UgYCCOjNPwVKBYlqM4tXQBCgG0y9aftTen3A7LHtJSg2PV2CiQYVXkYL5alDigLDmQnScEALEH4WKei/JN7DUiAFMQYxAoMuIBOc16uxG4lkWRFxbYNj7EcH4xPuwZ8bZM34e2P0VZtN4ARtnwY+nbVfFrbSt6iSkNlPw0c54/Cp86Lp+JPLZwnYbBEsEtuDdwaW/JrDJ/X9WZiiU6VgUz3GnQet0gC4kZrQ6r1U3reTQB4VQwYz3tme8QD4X48rQ36l2+1QNB3pBr84hOidcb3KuOVlls2bLs0XID1G+dZsZ2RPMsU7l3ed+cig36Xg3Dqjj0Wf0tdXm6bNG+OiLf4cs/t7GUuPRXdzgS3dWmRcPKrJBLbKzWFnS+yQL4mvtI7UGjEOba9FkY+bUoEqKjsyg0rudeT5HlEzcXYXB3YXpISTdsdycI626YlZP11GZvlNIdLxG5FrjFOIO0n6Lzuulrfk5BZLZRV43JdS9w03sh3kWTIiyNw0U6CUILjeZDy497L7avInKGfGSnw4zEoUZJsEUu6XQLi+6c0UPmDjffubDYaluLfT5H08Kl/tKH6llifBmKT16RPyFokMXOKBLEE1VFx+iTfTFVqbGXXZJ9OL7/qDpjOE/m2UH7lnVU9UcLtJs1xT4rKHbfBiJk6Ke/ZuKf2a/WrOG2huXWiCIflHgBoVMyIDUosPrgZQJhMZObpiUnAPqC+v8ObH/FHtRXZqfJYviLrrSRQcFjHgQgfAgJRCdKvTekIwsFDG5n1oLHcQ6OUWx+J6yJxoktgoXpUKlIiurzfk0A1OelRH0KY+GyfmuR/QGeYluwrYgyk2l6pxO3loFkBOXjdS6Ch2asA9puWs9i9fSnevDyRFkcBIZsovVfi6lX4ApOKg6xYM5XBcuK8Mv+a6ksL9YajL/XmFphJeKOE76Eh3V1fLkG2pD74sa17Tj7rp/tkEoONveMU2lvpRAj8nboaNG1OzQMbjCU7Pl82ri0BGhzoT1dNDVY0NBLO9GPxhpS6oqfCms3wDAq0hXDFS1SD2q5qh3TpS9buReHv0xZGB5AZnuXU+sMVkLl80S3yTTYgXj+iN9J9UwmgjCnHnA5Lk8nNOVpw9IheKjTrAVcm5wT81LPp4f1HxT0mPI6Spg+CI7+UbtTzlVdqjhdTnqLA41JIPyzPdOnGUBTvPVg9UZQIFVgpv9dwo8Z/swLcQPvUBJubTFI5eSpBv5FcnjgsqBXvLska3X5EybUs6bhEZNbftg91fXn15hMTsC3GnyrAeDORom9v4T2t9PI6ALyxRew56+Zz3TtRCyIgOFnJQYuL55bW/MgmePj47MvGja/SQuZF+nL+SgQ5LcTpIgaQfHwhTd57/Zmx9y5fxlDeXXp9W1mjEjU8UIcSLv8gI/Y1jyFYpfFkLi9adr5H3cBrdPzOiSf0NwzSoHUDGEgdlvJcs+9e5L4kFO0kqBLNf2X1qSBRw9X1XrPYq4M0C/umv1f0UNVKysfwG2q6v0ESHl8xX4wLCdMp7x0sm+yDW+5tS7KmSgkqilc8OzOOohWhTmSqmHMEXGN67uGkj3qRrpXnx4IDXCuiQIV/yMhLk828oTJ2szVorQzU6zg+RMcC4Yxaq2QAO/60RKT9I0J63XGDhuMo6fGOtLzWiRjnx8YOAkKqXR6h9dNphApqcxdrXVWz6daRALTdsyXbfQVLlBoDZOQUlrIJyL7NM5y1nXymwWHqedgu79iAjBOwWh8JruS0eMp7Scl/6SsOoRX56eqXsAfZu82DYGKJKSIJ8SQQyUeLicP+glUz6ij5zIxTEt8Jpu4JgHdbNhpmePccrId/02BHmj6iHztLb331v3/xXWGuhMiyPnwtMjDrhW3q2MCoEu0PoUzBiH/5Eyp3JW3UCjNoy503p36LXhi0fyK1bQYV4A8+WakfuCpTJZioic8cSydHFp1NCWBgscAHlR1PDir5SymjPPSOt4UBFTp+IiRTrDJqq0JStbkrurO9pkeJlli7rfjZKqfzDkzzVM9flXm6cxrJdAGNdNFS0bylDh85VE8e+pO1v3MdvHKnDWkcJ8gqHAYsSW6ZkP4qMQ7992hvJscz7ZALSy1l4H5oOqgyeOztfBxPwkRh1WZLIl9QStbuIdPDSQ43MbY8CVK6ZgMzdzOJ922sQQwJGi8RZqmDXCDe8ICxMHJpcYv5bw9axYc0M7E/enU4/i3P7ONOdfFJp7ajy6dRlaXOlwirnXFFBvcrCTVP8GymSJkRRAxEN+yBvJbNSvgUdMszyYccEO4qKkrykDl8lRMOfh6LcNaY2NKY6Gv3xq+k2bECA6I+yafkBZuUPcI4PeBWBfxxkjHaMGmBLtrOxbkR7Lg9fipxrGGVX0jFoK2ChD4AY5U/qc2lmef6Qbj9tws7krD/98IiqRp02Tq3wBepqI/OmW919V9H6zm5JzH8xb50HQSLFtfKKLAcnYuRMJKz2dwXgGLwkhxfRo7a4fbqd9kt+fgKsRJW7oJLGpiecIJBzOMvK0tyx6QBRPpNAWeAxLWYLyO3YFH65CcWu9ckKh8189JydGr0NGXluIJjR6X2mQ6EeLSPbaWW/7ZVqVxtAUgRBeMBgsmr0avko/1fSsj7XHMauQip6Bf9aWOM3UtIOqrUaezZIxLaNFEtS0VsHUS0HS1hiR233zkMI72JlQnZA+/QUiR2OlhLtJhZ+po4ItTlHqnrkjeHodMeZbcTDxpKzudJy6eZbXSTeoPh+lFz2ct16Aq6q7BIVRpmp8GUICsNW31Pt2Ki2NkXMYHlc8AHZhAsp6PFexU7tJirkz4D6soIiysWZkk7kzwS/JnslPT45Q/vrZyoFBmcvMZWKiAwFhj3OUp79ghL3o52t+VIb6atXwYgf1W7IdN0n8kwSdun/WqykVNP+FMogp6taggZO4yhb1Q19b8KOHCsHR/7YVz4ibmnhynNzji6TUHgUr6R0OK2x0RE2Gf4oOS7jLQO6StApVQhOKwP9xPh6KgXMG3+7c5z39aG9GbnSL3y89ztpyTlE5Bp37nQwbHyfi0bcmjfnfpvbpH4M9q6rclfriv/IeFDOUs6aPtt+pF1r3OEZflummDmfHgnnFNCiFDuZW1GcIfWUmmHeChz/xlKM3TVKmjKhcEZNMBDYFMz2iNFbGic8y2rMRzRZWmGeUc8Rsoj5Lp9iI+a38lT6XWbVMEjgN1q93Ftd/1oeAdG9qCprBcfHbVzF3RJGnJTzr/MnujsuN3+0lLoqka+ae0xn8pB45kKwSxCEzjOchacxjChYDTXxdJU+F/3AjC6t6QPH3xhdEmw+nmsy9KFixaxS9hBA2ea9LSnw2sZ419FLBb7QJ45b6R7lxBOL2Px3MIbxN10xxYAGgyIhN1z9Z1ec6ZyQBHtCRt8fKZiYfeQY+Ofx3ZbHUB/hlOPc7+MRBY1jxs36eD2tPrRIA0aMCHWgNc4cLRCqZ+gezpThUPGG/llRBMbCxNYlQl89JKozY4B6QoclrTCZfmbq+HLXa5yK2WGS+y3L5RiPRVsjsbU/WQwHHYY2u9KJ5v06nKR7KJgFFI3RnWmuKljf3OgDKmTfRmQtW77V1vkbgbWKEs4dDAxclcA+MSWURxNS/WDstdPkepaTnM3WTsjgdisPo4phZZQQFajkNTYVfVeRfzg3RYstXh7CVqMOXFW4oY0AIU0Or7TW2Phgt3iS/fqIwoDlGt2HJhiGHzBS1xrbQa50iyTYMAMsDwn65SdxQ3kqM+ih35GS0fl6gjdzyrwzo1/WSzM/dhQySEBK3287O0267g23f/cRFFSPt6OQpo0X84GFXLlxC9N80W7HO4HIJiUjXdpsXYwrxZ4MF4m/fPa84vwhiS5P57vJP8YDv7t0awpYj9DeZhRrnlPoF7qCRUue5iBwNLMa0cUIsDvz0kNjQgDNkfmw9oX41iq96ifh6/ZKpYniUl70R5Beq9mysVb7WVmbZ/RRuPLVL7AR5Ro/OTPoDP0qsGbIfzYC9wPU7EjcdR/g+5yaxUKj7Fgw36IJ9aO70j5FdalwsMOzmAS+Q1tkCPmlGJbwhwgD86Z0eYcDANm65PJLqBEqwvV7IQi2KfuHZQbRgYeuoaRL2je21xGTt2m+GAGsGCg3xyo4uly17YM0Nuk9qoz0RCbjFq/ywFAqRYxgY9DQ+al/GBBReWf+vgxzbmcBx0KQaYAX69FD4g/LGp6Be308FaKczO6JvM4U/BF3aUAUgUT6cxWnZOtl99+UVrsm6Zw748YBpAgIVD/QC1YIVA7vUYC1HSCd0SdqfKRLYlSsf5u5gIqwDXVXCMgBv5tMzbR5He7VnxeAwlxP9kLgh9Vhok2Q+Arrvd/nHlVtwhPWlKqhOgzVnOYe1AeUBoUqreXrO9o9M5Q0vOf17pyY2gbwQ+BYXGlFyMh7oR7S47zI4Du/++C3HvNILIeBy4D44ndhKCJ+ZHKegBBoMyK3jpRH3b7WWszW2n67riBT1Y18JbuLaUmnvZhVH3sTSfxbL0pW38p985s5+1uEoXAi2c+j1APjWi9mo9ghb6WHF2LbNJH145kGfgvudgMQWpg2REtSIGKSIcffmGQBqw9J7ccFIvXKqVZEDmPcA8EF/qSX0LAs4fAYpYi85R2GIoB7B9d65LfogjJMIWtYUysJfIEPXM+SOet/3LJSja5z+DEFdImlyPYwmFeMf/ID/eG0PwlGOJYbzNDa7wb0swjSp3WOQrwLTlqSH+/c774sr/d4MF3aPujInVXEjifFNNkD3IPzO0ufianTWfyZyhJ/M2sW0nvhOnspXpfFTv8tqFr0VQCTC/xHra9UW7sJAwcPUxPLXruw2MxGCTng9RXu8eGmUd9qlCUt0Vii97R6jDRX3SIGbMeD77WNj4wHkHLMIMQfxtjRwmFvQRrXhAU64b09KD2WC+R39lh264wFThRHWso9zOeltvj2UAoORHrbIy8oSHhDitTjH+BaWtfZzJxItWdF9ccfJTyasT/xtagZK5u1OaKcisj2oQerkHtZKAhDcyTziiRgFOjYLYyyYXXQ6gCeUbMlPxdyrUeWmgcJbXrGXfPFolJtaET62vd0D62LKr7lt7cDqwNPdg7O0zC5n4WUJj2h85kmEg54G67gskiLTTveJ35/hcegMnad48sai78JODc+rvSwRhEPU++1K38Ar1ZPd+LtSVnt34qBUkZ4AUilmESlFILdTIO9LgJoSZdhb4/WaZu5HhlNGd36HTIbAKBqqUyYzbKdnx5jfyXv6jeurHhdT/24dPfxSizulx/138hSNRXN0cKUX1gJ/6M7Mxn15a0HAm8QJLeECKRVfWnRdwOi84NmSa847ec+qnfMzXk3nu9QWRB6rRD+/q9o7z1YKX5b7X9in148OsslI9tGxRkTyVxjjPzaFg6LAWAHmjS5eBu+bpn5FzJMU7x2DNvpaxhHO/8Yr+BO4PefeEzt2z5pStpb5xUUU3ndYRICdrcVVmCajHnxpB7NsSN4r0EznMAYLmsiqb4XhwYLQPZEWVtSrTSz/uracbBsBYqvjyIrlcqjRTT0gpUv3UV02ljvf3SIh0U1VHiVGiqCPtWT3t4ub5Jyr7vzajRoJsfkj5s/BhnxtuBeM2Tsx8FHOPWWOE7di/mcWjWDib+UIU7QUKHuC1WH6TGiGbly+J41FTgTC6RcJqTU0bqE6UKG8rhLqjjkS358qqtU2MCLNDeWbnW/nPBQkx/ZQk4xllx2HmNLj+4NKYn2tU5HfS90ky46shorb4yaEBvSVUBGAu6PRpnE/FCkoJacIuqHLpK4K98Al81xROLWwL6RJxAFKjfBqa16RCENO5sWNQMxZFbyr0yX6bfBM9ZBw9Wy2TcMVUOKg7hQIbVkusd/U+L5wO+Owwi1JVszU7sGop0yPGQyV3MJsZe28tQvKQj3FqrpTsG7zOhaIfRAzzBYTxAVwxb4h1MGiVqomfLQO2x0yGj1qjtq4owonu9WnTcnzxIUg2WdAogb0YcMK7NCMx/WYiPBBUAUO1ueIajgNAAygtobp7hk5VrTtGmPRB06OJLCWOC1fNUoyCCBM3ExbcL+TPHdLN5YhaSB3/3mFdhRmXmJLwzoTdgwezF9xzTyI1dz0LrGHLSU8N/VDYyxQvB5O/hwv9Ud9ZE1rjWX5Ri+6R9EB8H4GahduHcPbKCJJYnC43wkMNdj3DGVbltkcPNeqh7kzdSvw5CfNE5w2KvmSa2qmXFLQhnWUkeFUlDaceYWjWbHZoO5r1f+JiNs0lFMI8L/eG2/3qEempTDSG6l0b4+FMOz5/g3Fx9L/lb8vK70bp+JSZBGPk0ruHTX1pY++/4Aaxe8bf8rgA7FPJTHwx+LgpHVRckd90q8ZWerabmEmH007zBMLvOrPzCpSYURALdIQa9KzClFdxy+TziOHWUEZiSpvZEJJX7/41Hqx2azrtF7huExurC031p9WuCYTe3seUcQp9HTjWoQ3QRD+yqCncrntRqB0VLiWwm0jMEYJnEuOaDeiyNEBvTQ3afHQJ4AiaKrlPIyh3jGrolNVbYLx/bP7MT/HTc/b3DaWtZ5Q2DadCuX7PSBQi/I0yb0VscQvUALf149FA0Vsc/+OmOl+bwk3giicfMHWyEhZ3oOkK0JI8p7Bk1qe/yl4/n2bS8IPFuPN3mavuhG19WvdymbTmiXzi9hYvc9qB7Iyq1Kr3mZQdfoB4nmX3MGeAE0Ts6NibguPhA2ni3xnPlOjp8Jois9NQc4Rcq+fGq9cI/ZK6nStKnliJhMddhiJm+kNwVHrpoqDDeSsK/1vqy77B0dhvUeW2DZKxpiikfaxB6YfPjtvWkTxmypKY0DFdBJO9u1bTR5vQqoeece5Z3OVSoeJxvSHugSK83WvKrYt+xnW7G1fvZN3wLdEKRkEZEwzy2r+/FJnXyLzYbYeOvB5lBCyiO6f4UsZIqOO3Atsqczx2X3l7G/dW6RrXH0opdIloVzeUIPL+VR6rhJ2zLHLr8ui4tyU+fyPyAqRpjOzdoRIuZDEWF01pl3VodyS6DIK5MoD6rTBHXZZWtbhVPvC5KjSEcCdOxpfYjJRtWklg4qHlH3KWeFfEWXqi8YWd8ow4lAYMZncK7524SfB2tjC/89jtk8EroMEA3lGwbIS2ueF4jqK3JJsBSTT4kA+k311wFkQgLe2u4lbzVWqA+OxAEQskjfgEO0Pq16im0bKw6ujOq5+NWVoCXADIWh3A5GjGjCAFdksfhAHbogwfq+NzOqh8mAqOfj86cWWtqu8m7vNW+wMHe1ANg0Lc/XCo0M17anI2UbVtqXQjwVH3+pHnMP8frXzKOgSx6XjYpOgE2NvIP9dskoHerZlZ2KXW/vPuhrpNAr0Zs/kX1scHwaJnA1TSLAMc+48UouZumCS7A4VNlmxZm4mQBEdjlFNeSN1CfbyWvv8zNmvsuuE1qa48LT3BB93moxHvPMBAzCUybA9Q27/XfHukwDoNy+idAvmWhXB+Bqf5q5G8YyVWP1QPab4rdXpdFs4wdh7RMknmKxNzv4VA7RsUbpQ42jLrdozLpyrleLIMBNRAGa+cvsGcLl0Y4lUCnlQ/isZ6eXTS+iHKkeVdyAHViB6L508sXkn7jQwz40EhNVd4oi3DHXNcWzfNH23PIS5r8n7xYmTgaIa0CkVaTGlcA+oj8fDgK1M86BsCcHStBy52Dn7/m69Yx7y6cRLpQqCtXZtoZwiugQ+I4yeTgPwDB3iZ3ceIdTgljGwqpEBWwTx5I1h3ZhLpLjj2FDqRGa0TKiCnm4+FFnL18Zcl6J3D1PS2KLNfg5O0uls9+KRK3o/d7EvazQxleSZqdmwALeajSsnUr/yVljiuKpEFgG3dndpxSytspi8mOgVLKjQVl6LGdgc0JphACWxBzZ1Lz2GsuszjgAQdB2lOotKhjFQAEMVwv5WZ15+WBI/jdXV2JFg7vEdDi/KoFvwFyxuqpU4dSpB0GOr8Nn5YtQrAhl06BaeYmCUVAHtsk8L0sB1iYVj4UQM1jm5LMqlKKdFL/Ws27QjHjjpxCNM0tStKk1A/RwyZXcbrndHijvTinMOH65XOMevGFgudC8g/a21/LrIXQ3TnkjPf2hZ/ZVYJpm/RUStI/FmqQGfFSF1LmxUP68cvCXz9KTVmLoR2X04BrpctaEi38gNg0Olc1lcKZXH/R2IcScEPE5zF4//7UWQDclIvROwxOqMOSXrYomDKIB4liuZong4Z6DbFdvJdjpej2LF2VgJPjz+5ZbCz+WvPZelVed+vxyr8uKpqLaprdBiOCwdZI4BdrsdNxKilfei95w9s/fvKn2Uw+/bgYUGdUW53q3+dMcVooGPBL8799hrvVATSZ4VynAigR0MkUfJNtnL1e28g8xvME8ddTZ9pcvw3KeiGlTy4zvC1h2LHdMTTAd5Y4EUis/e2Kh4Wn7Z5/pgAJq5mUvfzK4lWm/W6KvKsFnQAmPJSzdccQ+OiNINTSX1cYORmM8ZiwbEgYfwP+4ua9q2oDFoLNJtIdQIijzQHRGErGdMD3KEYA3tdyNFjwlMiiPQHEwvkg0BMtN3WSri5Xw5jdemcFW2nlTrldeJJprUzSfjTgFxCafKpx5yDFdzFo55gxRNcHc6dQioBnmui5qSDbSXiFm8WMiyH7e0dwEoXh49lX08C4hnuSO2YW2hmK6f9oQC8aHb/CioeGxPY1BODvuDhZtVtSk2g8Pcg5fa56j578YVLvgN+xC1+CymeqLN8orEjDgSBg+1xeiM8PRzd5jcoqBA1kPhe4p4Weip00/3EFbM2RbgRl9ROTJ0oWGvXxTmUJJ25hLz8NhJRp8nVKI3jot+8o8v4RCWSKdQ60AXeBgU+2w1GgV8Q1lTrx21bQOzokR/pCN0x/ZE7FzW0TKab1S7HHXM8cD87VhJ0WFmylSD4ZliXMLehxBx7smmjK32ZQOLH3coy1EhZgj78FQ8z0jx6ABPAq3BKN3qfKdFNdaziS/gHMLZWnXroghBqTKERqXt6FeZ3swGVPA5bnJX8EmTMyQWZ/20cQOxrNVwgzGLtG1wvS1w7/NNtNS1ZZvsoL6kXljABlajQsrch3IV8jSwNGJeWQSh2/IvSdYXgOGDi7BjWQHUFJz3ILXDjPJyj8lKdK3QUFojurXbWZ2G1H1tQzcWE+TQtvDe0yVZDnPrUVJkpCYnGPdSZxB6iZ/wO1SergpY0PQBdTeBoY6YzOjLRrHR8B/nedXKvWoljAs8z8uyQzZu0C3KlSl3DY7R7NNo0hN64EdVDtCepToeRPRpC1YbhMBJPmyJyNPhTndfOTCh4wAo+dMP/3i/jm/K4IKc704kVlBQYpWNCmbyEhAoFmDpRwddRcCPiqVO4rrjXlkb/VT6u9YXqxAtEwSL0J20uYRo3El72lJlfM3PDhdbXKNi+Nb+zHay+27VRIcDrmS0w45T8IK4JMFqozJnosTin/Bd9eMxWW0XpmpJ8eld1gtqaxLnFnHIIxwvJnuCNCAZzfd4iJEZQXzb6aQUeAwYBsC/WU/zsOY5uWSChNdgpD8Y4yjwD/6Kq8T53PJtOCr0HCya6pZAbbtWUI2xlDv0ZcqrJybc2z6JazvJBZeOGLZLeXJF9vToy6bQUrLt3yL4UFfRL0/kGJV8NfpynVoyq3bjTHoEJS9Ewmx1iSDPdlD3VBO5f1mycJ7LRGW1tC6jdurvzC70ZiChd8ELb4n0PbHiJ6wmklvoh2u5gkqJEBpc8aAnaEZgpD3hRbtzWdzcP+ArL9xsHI8PHiDdVLo2DsBblt50eqYru2KaO3FfgcRdnTdnr2IlXwv83ipGHr+AehBTvbF8LAEDeO0AfpkEU1IHOXA1mVWDNkqq0nbMxVJtmVTuJ8U7Xh4YNb24lCD/E02dPcanyhQBlVh4mV85EnCCc5dtYMValwBOJWCIDPczc61ra1d5paquYGR1neMyZDfGMsXcjrfOzCrIF9/wZVZS0d7QF03IIR3aeLZdV+sxSBYFRf2uTeb+HqL+rDpczxRq3nqkoA/adItDqHO36UeIWYi9vGu13eaMt+aS19mlT1gic6pz9izQSoMfHVTSMSVfQr2E39THndaeeqGKv6CXe4uk6BZu6UmNm413RFAzh60fCeOVa5QZa0dbHbC1MUU2r3zLsJ9v4eBSptUcPIMl56yUbHblsFL7Rmi7949Sb92vNACvDCpVdVQUjrezbq6qPUyW/GKfIvondsEJnXNtFieu/sW6f8Ofi7kEo0UlSKceojK5EOaLHJz1jOUqmeA8ooapUtgsi1sP5LxnwiElT55veQ2kOXkUINvSgn5PYdy+lOcXNhg4iG2dYmQ82JP97EGHB4P3X1nfge2fXezd2PTPtQa6VES2D73tSeIVJQaTjXJV2YlfrCvSV/NeTbUPTImXGuygQi5cTmCNUvXZb1YiPSInbhMf5yBQEWUnszyt59ekDBT6l/sVUZSK3mGV5rfe4B5onUkf5cP1PZnKEXFI3mFdmsaJ+qDntp4ds4O8hgG66EFsZ6vd8ObbJXqWaw3SMCJVrWphMhviN8a7L+8DeEsOxSNERMW18abfNHan3YEY5XqpKpo1Vrqdp+b40QNYVvREqZY+HRYGadASRdlovm4+5HIEtxh1jj2UJsWkjKdjieQYry3nDyKRId+O76R0jNwHjeyoOrSb4xK12fm8z88yVmz9lY9rRax2r7ndmdVsEntR4KlBfYWArEtZZQPwXpMuo9qbNVSkqovibClKMMz3Cewj162ai2WtzNhjdbJyywbLgqNpkUplSPJIaZbtndgeTFS+bOEKKcKkXhZZW0L66T5TPLTF0WFWcYW8ANGFcCjpS5/1065T9QrmPtGOxdk3dCD16rlF2+MveCkzWw2Odffg5tZlvLrdabM4js+hU/kh210FrAWVfSo/6mzAh7pjQ5tmXN/G2bQyddhyBU9DZv96kveS12LorcP2YXrbKdsEyIKbcZlf4ovUSDR8VS5FoWWv6rsWIsHXUUnIREE1Q27mWimxj+VaqMXfDWKsPB3ooixDoYZbtmiX/HhL6161Tw0imQelH4UV0x+lKFoWaq58L598TnWTIv3jAn93GK32QNo3mPpc2OJLFqS2E679p6c9aPiIStJ2tzdD/BtqsJGYkkXGvubng81cLu22gaC4rQwAHxCtU1Zr1O9fDngxZPp+kfQPTClL1slqeCtTgqefyD3Nk9ILCCP1BzI52awYqx6JibTszCq6Mq92rc8V2HeauV9i8hqcY/orPDE55MpdydO3nVQX4mZOqdcWTdj5mRXdV4YgPcQ/B1aD+IxP8H4xHP5tl+weSWjcMhgxDF52qKjolBA2fppHpGffPpMcsh1+FLjNFujV1YF5laW24WD4lE6ILa0snFCOzGsC9W78OJXm0d1p0DxRX0V5dPtyV4mbIaCW1dlVCp3QKESlmBdEgCHCPccNkVv48vGyeiXJAx8nI2Mw2EjBA/rYth2gn3ZyLJP9FnmwQ8IB64kNCSPoOUJlJgyMEBE4kti92Um7UAEgyabIAc4QxNox/wUFp3B2ju54ZlbEl92q4sG1mw0Lbx7smw1+P88BIJVPl2CvyjdjCHjSJmns4U8reJ84wdxWnWRcrQqBT4gv4trX88pQ6pT/I7HD9WTpoR8DYU441Vj/2hwkstcoO7KCSfUOiORwZy2KjCk+OvD0or0gnqry7Jfn1YohVCFa73lFgLtlgLh1hhMLrBgJE2zlDo8ePnK/EJPMg8WFmAzQKhAnthSjPcKsI/YHE6btruZUwErMfacJP7sy9CAjM6gz47H1yrOC96v6nUQNb27JXDvRXgYfwN+QYe/ew0wxmVKgCJb305LQaEpK9VhHzwJF5BG2aSBjV9zh1iWDo4GLWwes1+R2rPwXfoI2Gigz1qGKRcIhBnv1ZznrvZb3gq7hSBdYQUt/yI0B6txehFuE8VklM9pUG3ZVT3QGz05B0T5EvTP7aETwjOU+Mm0/IzLhwZ5+w8+8WZi4o4i6IUhGqq5A5iusJ/LmrcDC6SltpeVmt+7prdMmPiur+VP62dKkQnMGv6nL4PcCWAHwnEyM+ehoN1fEYUsqH7Q+5tYuTedLWVFsFzQjkw0/LeLDEpaamCkNON/nbDdY04dlPIhRccvYgThSpBlNq7feKT5DwmqmSxWJJO4h43lsjVMTEB9GrL9F1/b3DWvJ5peBHETfRYFoHHKjv74SY5uuKir8GW0XQeLdTe6yYpnf/hDm0c4SIVnRSQqXasadP0F2ZOElQ7tUvXYdeUwkBvypozhwGLyjw70fdhaKXPwdLjLQFaHJks5XeFE4Y6rAoaThrcT5U2o0x/KUoile5/HxF+E9al4dNl2Rvh5qwTijocrqCkTJFpAetrnQq4sUwaJHYlrEupkfzER94WCNzqUjaP9DKW0+h+iVOXdkYVGf6vEzdANAu8CEj8C/tnBjp1vvKhvCQAxvcBoQ+5bIEly1nujOS/h0LlcqTH/z5zwhu7KKfEhwfxH0q9EbH16QHhjs1tw1FGkxUJHMLZCqQ96D7YmaURPl4io8PvO/xnvjh8LLTFUsHauxgOttTq/df2gFvmuHHL2Y2GtSj/7nc5kQcLwUkXKA26ZQK/wBAfQTXihfB55NMH0NmwnlKlUNaDWcAo6l6fzP41/1VcXOf+/vCLb6yf/VfP0lUe0+9LN8wzhywsrZJX041wU5+h5KeGEkii7YCjDbzUDQFrLa8vIG9mrPh73gvfLJ1+HO9TWf583orz3TMOH7L2FM/oS7H3O9+CMmcRmvf09F/VOO0BQi62ifrtXLYf8Ucm/2KY/9h/S2ocQOakE1bXEmIURMkz8cO6axqeuUXm0KGaEDuCbBSUIZY8EQ/O8QPS/bjbA8J6t/sSZW9DOoKyRip9Ut55jPO10nfgc9yUmHMlxE63Owb7oqf4BNJd0LBUNRE7Wh9nDrxI9M0llTepplx0bcxqI3igJQxN2bfZiSutk0kDcTkdprs7QhMmqwbSq+aHdIr0Y3jqtY+yK7jCAgM8lEcq7Zo6W0zY8+vWB4hqZorBm251DWWbYLX5vn+QAZw+Jai8I/HIampgiR8rz3Muzw0tAlaPDPUbf3pfWZlGcO+HUUH6TMJya93wJXCdTb6LgivHAfhdnWlX6JiprDVfXuu+IjIe+kjeU+g+yTqBSjWPbnxox/FFkVP8i45aBqy1Z/mZ/bmSq0HQtCP3Q02o3BSzT3QJtqcRzGCN4erZsw9gU6AOGo+IGwyj32cnvAM9zSgdqpyA+Gpl0JLNCcRldx3G09VNPr7iGqFy+BzyKyXbtn4e1vJO7odbI5aw/DzJLJepn7cpOvjBQTvzfxV29IBPMX3zbPKtbUfunAr+Y9B9toOIaoUobPGj6ks6XufizAYP8D5/GJYfmbRW1Ka/+AFN0Tkj8mpBo428czT3l0McAPbCt45AfkBAPGrE9Z1+VFmeQ60CWCZ37EBJBr7g2+Hvbw1JRYrbzp156EHKXz8pZ6/Jj6Z53UzmYpp1KqfnM2rAofO4XluL2G+m2BMTmkCKoSffpYs+xaNImToM1FOFHWGYFtvDE79Pv3+anidWQ8wUvb41Ec/N1ywnmpdKAOM+qRmGc3RtzbM0FsQKhLvAhJlSGHkgBwrhrmyBHzjqFImpHufZjV/j2sWc1c3mwD8kRdD5pv53FKjoWDEh04hMop5oPXppOmj5ZPulMNxB6InulJ4MoK2HydlGuRlOL06qZlY2RHadlalGUqrNoSJ3myaL9U2zul28B9O2xo4etaDhWwoaPxdu1lNtNi3jQ2CZ/2nlXlPwsVSHDl+9UsidRuXBIJmtPlE5ca4ptPU58EZQQ/Gpqt+D0sXIuDqdNvHHJwSzHRxcB2a/YAxcLhiGhnV6ECbWNEUyqGRvdaUuHNeyZFKv3qzgKxRsS63rMTMIfAOG2GhoEbHJnaTqaU2+mIVVm2OET9r5RJnM39wrWljo9uan66Abs3m1kNVKlltXsYdSUGyhaZj6eQEs4tM38PmpPDROGU+laQmPutUp80DoAAmKBwWLWZlDPaVEzvyZPArBlog8XUDxbY0MacYhqKQc/udf2Foq2+ze8+QBtfPyX2oL0yT0HIbdJuVVG5UI6gLOLffO0JfO/4J1mumKtkzDrUZYIIf58Z6M0FZTnwhMvZ8VmLlwXZoV07LOUWjCMaASvI5LoWp6JiVtAr/uPkNaQoEzIicTIqno2ulWnOCBMO9U6ViZDRyvbkobwKjEdA2eTrxcu6ExE+a5A4HyDklluGbqpVQeYzYiJWrc3of9ye3L4nHt5JiinTyphe28OjbQQfSDCLAqtgRSoklz1GmP97ArMJb3lZ+/nStL/CHTVv7Q/sroKIj0NOsmXYzdbVrsKRH/+mJsaal37qgjzis8QVPumer2HOIsf6witB3Nw/AQEmrnC74Y1NfNg00N9LE801Izpvi5bZWqnZ+aYM6bRjDB/fazrrP7ZopASICDQ0K7KHcP+R4NHjcbnPgLLc/94JxqR5Qb8kNzWsXgckMR3o03KKHhzldE6sLheRWuPSDDmFW623rIG+wC3Xk0t3lc/JHuynxMYIP4JOWar4DmNUY+4C1A+GSfRkYP7vneAesPST2B0ncjhF+ZJK1/8oekD0CpC1wIxSQ0TDwmY1PLPuWS8dFL38aj9g0roWanLQPdmvTp8uh0N5x3ti5/3BjbN3KflD9cW6s0KQk/eRQAYL/theXWmMUtXfpDeCqUY9VJo2kxnyiZCnPq4u/tvOhE+LhEpMgi9rX+4ZNb7cj7n1agKIj+ruX/Ph8VOh2/ghfJ3FKr/Os47N+/N6/TXwadCRws3e0DRATgm7nQBdcXHi1iazmX0QzHU4yMLJfkdMIBxTCyRFfxZRePCJJW4SsCBCFyulYQIQmHT5vDHA/ku8b8Y78UMPMmv2mbEd6JJqCMINuxmgy/7LnPOnwpVN/9nqvlNi2mnwAmELmsq75p8/7ZqSpiOd2wDb63fFdbtN7j5xnUzuzb0qQfArCwFKyEmNPWx3jWw4u+BsNaOIcmh5UF43vIeuP2/t1XsgqcRcQ2gumvHtVllYxy3EXLGARK35WLMxlOrSLznw12XA4mejTwEni+tizYTSmfyityKsYe+cAXFnhLQ2+ZEmR35+vTUsDnXqxemq5KWX23McA6srL1davJzY6ToLlH7z94xGNYH8fxPmHEh4knKfQagSYeRfUioPPaaBZq+93IMsJpDpwXp64glDigxPXQe6KCEf66VELGq0ePfLERDvbN0MSTiIdnccxzNx92tLDcu1rrMEezg/T7TW9nv9gNIuUyxzWd2WDYhwJ3Dn8FdNW0caE9X8INDyhkQjdPtYNvRUeLkiE4Va1xweEnL3d1LmCdsf/FXXkKj0YkkVI6WAdrx6uGuv+rosfbY5U8Cp+Z6sZdlsim7OoL0bAHB4U7kuEF2QaFXqZ2r/TDSSzQBBlG3kG1z8U3MTlc5L1LwR879IboPiG36Aq2aejCP+JOoBe08GBomtesWdxRGzeMz3wAvF10V+AdcUDN98Q7t168CZK+JcS70awzNTDpsLn32bmGOIuIhS62iaewPUd7YIVhnod7bCIog9tfqO0b14Gou/Tza+kkjNbbEEXBpeN0DcyHVaIMKh1p3J46UbcazARtpVlvo+elM9L/q1ibt8wXD6tIa5TyKZhpop3tQKn+qsIawe8/OMWfEk21DYFp1PdUL3M8ju77kDfYV8QQRvGIJ8wjwRsLyu662emI5vQ0glM0Xnh2F2y7ppJrUfYqycifGWQcT3nE4enOozCGyTZvBZwMl0NOsgw3M0bSGyuR+h43TmACGi5H4esVG1nf04HeAdaKkscJCxFvLYvwPSjWMJ+qRmriR5X/+rEJNSnfB/5d++rlo2Ihp6M2EJFeIfWFFaev5t6OHjEgDRRLEg4+sple66zlo7NJiNLY5qGc3+HsIRLnVQ+dgS80mY0WFdMtpRJA7us6r60/6fhDYkV7HQSsRPlIROl+V0QiQb82BXmGOPiFj/OmEhrFjXCeE/2g8ZFxCOnW48qK0D6JrD+HI6r6S8+y1HPMN3XcWXBBk8oEYydHEzjp1Pw8znqlXi9H6iPbmEPL7iLw9fXNtQERLxvm9EU6j9jt05dN/asDB//YFtu/r4jSfEivZ2YOnm48HrXeK0sKemtoRtirrodSxF4S+acCgo5cezLLjDQIJo7GAHO1tqCidcN6sapA41P3tXKx6IFpXyBHJBhdhrXw0oh0f4CLBb0iChCqC/naej3FyUqjhdVgB+bBI+xdSFLxuDyk3lneSzQ66K5rPA6FgZB0CYLJJnrWcuPidps7gqQyJ7TD5IuyJySojl7oDBnKEIwOhOqQxu9maoUATl5QUvh920rhYnmT2tVR96F25LA3l6phhOBhNyvRMvDeUdRP8OHN/TsBa8Bz+WcBKsCip9Bx1qHKm3YIBhnLZNq82M/eq9WpASqdmttfAitloaOyyRzgCa2Kst1fQOjd/0+VavrVX69TFfdnAZlsc0CKGj7XRfKces/G/e9uHnb6qNzK1hGe5coeuCu10VT7KJHtF58IE730YGVMtPbcNLpdgMXUxqxXvWhTlMIub+WJoViGUI7WDXmrHg43UtzjnD0jhGu9cdlgpfRhSWlkcCPJTlSXxmbFOJV1sccv9WunaVAA69fLmbnvASchaKsH7pdgXFcbM8TJQ+ZmCuuXobed/fQ14NuxS/eq5Z+0saoJ3oCjcoVC37BH5AYekXLdGNubUZrIDU5DLiH+URF48eIQdXsE2AUAqWTm9YaJYqFQOFlA6QYSW9TbP+rs3qU1bSRNhjIagwi6m2+iriOebbXb7aJoTO8ccENnczZhubzfMgvthkO/QBJJsHeDNasj8H0PMOoOCYS8PwS89ZS+EPivyRS2m7d8jT2qpw0Ww5VSNuznZk0xpZko+59Z8fLMQI4sxmIj+Kggu5NTSlXYd3c9jpEHLkGxZOJsSYRUdMsNThIn6naI4CoAl7aYPUnj+dIdupKCGOEBJQn4VHAuz+jNT0W0F5V+RK/OUMcwHPFUbkzu1DTBbxHPshROl4WaTkj89PJ+FaH7thbaq1D5FVDHLg1jkbkoAGB/RugGglgywb0RYPIlV39t/9vpBlEzWY8TsytxaT9mOKmXs34ePCW1HKKq0EMVlLhEsWNG2uub85WOOEPZaSg1pR7l701Dc16+YgtidPOUhchKFQuFpGw3yjZ1a8lsbTzUNtQ62RL5S2q54w5Uszgg4HCBxYkmG+y30gLs536hLXkM6Ur5VJlcyYPIkT9BRs8XLFSSmAwqV0ZFbel/qq9mTFb8I1hSvzFzY7+yKlFUi/2s0/YTAMjupQEGdNudoPX5BRLJW2ggILZM5bnFm+QPrrd/V9fpySyF/S7CQnOKZGTpTqc6VEqUcuAXgUneNZnXc0oMBBDyIvxky1Ma/6+noJ+6JsTajpEG9xHcW+uygPL1RWsgFRkBL3k/ITdmBn82hGDfiV+QtaGjheW+zNIfklrMB/KUuZ0oTiL9gYccqmXEVhPMeuslJyWNUoMCp/56QkLXkALPm4OE2sxeRxx6AE++w/3oWUitObC7IJs1yv1Q2muCh+7OKBQP51OnCV2P2JjdkWxSfG8y4VJ1BuJkVCxT9c5Gj1wjIIz7ziiTRqFcx6V8H2Tv/VS0fIHZYyWUJvWIw+X/9HyoTs8tiSO8v8hF3NN9UaC8WHDHfOq2CKRmFRYQkMxClZV3lBUXUl7h+A1Q17CBzSgm1UT3Lk7cvK3+Wpt3uneMy/b/uitj/kIHIT/RsJrPgGnwOKNGBZQlLYcnpsxClQWM25Bclj6yN7wWyrnQJT4giXAu0Hs6n/8pDViR28rpyl1anCUila4oeKhsaONwSHHiZFOd2IpSbhIu6uv7onVULVbnb+8fzTnUBQqCwcRRIKDg9uuriUdpaHOKQ0li+CX15tecyQALG6g1ulZD70VsjNAIs5+0CfJy2rV0203Gl/CTtIXNR7djeLg2HrLg4NF1uQRf8hhoKxuy1GRSTWvHY/OGOuxXKSns15ZNe81D5/EKd+7hFCKRTtO6iilB6I0C+3A7eNWV0xfCVKyS7LEz1ABFLWSCxzI1fPSQpSvdy8pKMfuXhlZhgq3RGo/RgH5m67iheFX3HO1Cd9uPV/DCWmWOSvX+Y8O9hImKHlt1I9mO8LaoN1gsf2ITVPgSwcgXe5q07iI/Ai/1Bc8syRX5WK6ht8sNnujP2CIX452PzUqSTBEmRy+a61ZJQA0zSiWoInAQRoNvL+PDs59hm7VR+7NS72j6JJDGyxT9fQfDIGUc1NreI1h0uRWwQRC/+MJSgbD1OlbOQ9z9uY6UZjsxRxkYBeuemHUnfuUNLiBFzDj8i1riI+02yznZMBJZ074691aASpe4nY1WjsAeECt2eQcG3Ju/wf5XIxKi5bRZhMoPB1MWnviIz5SShokzPQwtLQM8mdhAMCdxj1qxjLIIB8dZZIYKHyeAYg9x0BIIHVrx6x5aW+6izFDamRZol2yDZPz+0iFuDm+ffUtYCl6wkfTb8KjEKZ+yFhpfgEj+FYrB6wCYdcxxQ5uE8yuzP5eYs+Fcx54CWsgFA+rPL9vPZkRqZsFZwyL0q3I6+m8dx3JcqgUafriOO54dgT1kv6yAI/NOPNFg3O2rpOAJLJcwP6WFMEigaepJIooZFvDKJVtU1q8TVllusKK/TLDcRMhw8BxYxzidaTaqoKfNSdd/RVNH0zjTMZ2faY7FsMr++A1Mp1cqzho2JG4hziSQdt6yct1s2br1Api77c7w9ssoVCYCTcZJK66kJ4SPpvZ1GPlT+sgB//kgxXdntU9aCzwaVJ1MgZXrFeaTNuMyu8SUuR/HBn8ebiq8g2PqgkqDnG2nJPidcTOhnSz4AbA1oQMUPI9EXrRGc78CRCU0tiDp81kkD8Z4f61p7HSXbY54N6z+WiTfbaH7HiUGPFPS9AzDRC+x0u1daV/broTqBzn7J9naKOqsBXnp758aA2aM82JKk0mecqmZlZr8fTiEaXa8AZ44SoD7xMuGa6ppDix8ae5Id4XWs94jjcvo7BcnuWWDWIS68ktBfQEsaauiAPbnAe472F1nF9Pa4R4XeGSWucVtRgROKQpJF716CYZy+JNIMHjcM2oEKXxIvMYrxNjH3Wp6MbuXXSpc1TlZUzHvTw5ZgyYvf6FvYvA4TJFMoK7PyuRLsep8bVfE9/BC1/HnEYiEsr5gejhOvkUoxakMWFf2Ud/W8KmEt1XX24ItaLVyBDVReSZcSnpRVw9V8EltDezoJrmW0oGAPZJgKRYGXkk94FEDcjV3YGaRVKKg3smkVsceEWQxvzWPqHuts5kUrpVYIa35EFGPSo6zQEL6Bf/Crq+Np9+NYUyLBRkJITBAhVi1ZmzXx977kkbtADollrEYXL6ekCkZSS9ucXEYALwV5vTgO1WDBsKbfdFZLnw8Od8QEcMMshyiPaBu4ftVyGW5Kcdwa/5emkYZHVuBntEIuMIDYoZId/NsvzY5VC1/UL2ctd9HwgZo0cJsi+0kVX+KC/2999MELJIOXjJTJ7xUMHknwlmuKrZ9/+NlPr+vKSDne04CktyIAxJVbmRbRpbCNVarQdCKs47fb1K3FMIJy2Pzr+LObSEOalm3rycey/W1H7YdguxkeHe8UL8hn59ZCDLDwmfEz6EVZcqNlZN0uN5mpOJGA2ASghOFtB1+TOY41kDfcSe+XkrG4ja8uO+Nnw2T44JuvAUrEVqIfvQBUbjoi9ebKkWYVMZrF0t7NBZO3dViCMFbJCEJzr/RVbzv6zdYiHuBrGeGItRR7kt0tJM9hMECtrrcjvZjm0VpNPxJwqAesblJRInBGlu+cdbGw97pIbyzZp42nd8VcI17bzU2sDzZspvk7aZmY2twyf4A46tjP/pUiQCg123gTM0QB61Alfz3hOMgMzz3F0ZtX7V/Q5wzrql+eyLDNhAYHtj7baLvcXHeH3gKTvmI+wKLV+h+ADLZYQXXZqzMtF9kS36lzIJqwdXHMdrq7uakxfxQXoJv9LfBSLwyNanSRY7bZZ9zQMTLkWYNqyEhPlF8JtNz2S6MXu+d8PTBqM3+4mTQQ9AdMu8WYn9C+2LUtbePjPlPhW2s4s2EoaONx1i63k4br1DV779PFJr6uqnyos9ncZPLypZSFXX0b1vTHKEjejNpymIuITMoRr+DlZarL7ji0hWj/lnKQDTegBDDycNLkhWyrZfQdrs0hjndZATcEj2j3Hn0bysRtVQ+W7sYFaIAU+tw4L8ArF2jOfiAbE+SNyicJNB3+NtZRYhV/OQjJGoF9gM1djogSnyoRBnAEFVEqAgEKODFd2tTqUWyafl2eUEKyTTZ5urZsIaFvEGaPV04aGXz6Dz3xksIokIij+Q8Wgj5nIM/6e65Pp/HGltqxMAgneaALssQhlMriI5uW377JE3akqqyl9VNNqeiGR0uUhkHYhrm66i39IuviMr8OyuwC+a9smbHuwLCPVW2wtlx+s859LU3FIkcgKh1StLg0MmWPWu9Qwtwujob5QxzY4z3ujGnvT2u9bGxOTXQcnhluqNtS9dXSs6MIyKFC3ifO5mzpy5QSnP3jAXeo58U+tC1bQbZU7ZIe3hzaht0WPVgsvIuNCQTZPj7niWyotvMdmSUGQUksncwrsJne4+uMtRd2fO9U3TUVDBqoQs3ov59Bim65L63jmdqspXaMM/ZwKif5+OKCWvQCwD91z6pHKnOFvkhYEvZ9hcrEmb4j4CGYhDsz1Uko9AyCHLzkPGkd9O+RmHJh+hCOzVlwttotukCAk6rNVbxj3fH2pCrayhLz6UFHDvcKhjSuOun/bVLKyWxA1zQK0UFaH4wh2/QX88skchLZO7iHzQmDo0wT8jnO39QdohptNiPQNEid1ZljORO+OWRJjfJAAUkC0xB0hm/n3C6CnhSG+zcJXHzGxBwsWHHjuZzPD6MkP3mvDaiVfWOsslFdAsBjefzjPKkRreKHP6Zhjk4+SZk/BLFJAm5QZA3tyqbFBScFrhvWJ3VXrHxU9qoCPW+9xtS9OJT/+wJaYVRJGvaclWdR/syyU0ff9N7p9d+i+K8er9LcjETWIWdRq89y3pNtB3EL6Y86nV5ifNdpNLoyAGXBiPOYcQtOtOZAvO4pXOmShvleX8ohW8oHBYHLgsyWmu/EEa4GxTw7eNcms4OFlgzxB5QLuCI7UfEaQrslAGbLByRodWb+5LqhJGaTJpDCKK21nsY4U1nyIQAtZ7nn34b3Ze7As3RtQndlQ1C8W1FdgHDs6wTuDqx01aw/mh9hkRDNSl1nCLbwIg4TghK4Z6e4Ghl567NQljwaosbCIl14al8qhHnqyChW3wuWf72AC/j4CuyL2kqmDtlow+dm2Uej4kuCUVBQDnnsSQjGcr0UNPFUSyMeenmSECuO0AdvM15bjjGDvEh2CLjCqSngBZ56udZJ6lfdgsas/gQGCVI8mKYI6jEK+so7iXTjnudxQuKpDtoR67bjeYbTa6n8J8/ae4spZmMKreKIMm5FQgfUjbgUUMO5ohIRGTA21F7+L+tvbilT53zd0DpLc/JvwaEXYp9uQhRB9j56GiPQ2J1ZI8KGVCIUjHTki6/Q3vtbkBJfqpB0eHroPGawCnyOR3wq5E2gUKEBoVTLIf2XYsyktRFx1wDiVAesHoHv8jb/cEsfV/mD7+NNul3XR6jzKjdoNEPO1ImGMylI3rP6Vyu4nRiz5xO07LYbamj0wKeCi4BP3HNVb1vCbtfNfB/OVezIAP7BhYWyl94+cTOd2Fv4msE0RdzaJDAUtgmgrSBIgYLYwpEIwSXyn2GXtUoCbOkZfVw7IryMdh7caRbYmwzdvfrpqkFcd0uA/dmP7V7IhfhGEFRRIJtHYM0lgxzKI8wilDUaNVV/3V99znocrkbltcofirc5gnGdZb6pc8TI0cWUfh4VDkg/MCYVfrtpOrNqx2BiGSU/asMSnXsYzHsTMH6SBpOgR/XA/wQ1vUu50b0fX3ybkqyYQOpVNDgK4LUq/bxBxI7OFFQmzhwD+AuFLIzux9wmfKmHkfaoBA/UYFlTKB6tEbNlbwJErbeUTCpSmUMTdHEsF8ddW02qc6SgT+M1doelxuD6LFfPeD7dEEqhomSw4rHUwykf2yFRKhGkHS3koowIFihhMzdkhRDt+5r2VHyWcwQbUN6+ocba+Bmpl89lnEUQxr0tSh8kpUekYwfvM5ADTmPvWDUrjXUgcK0dYupeHDoiys3/r+dAmZIi5QUazBMFi+S0NTeMqj5V8CmMvnFKhs6C11UiYfXLq75GQ4oRTHQfalenWO+9ulbq0CWu3H4+GSEoeNZB423PUR0w5ngQmRSGb+03BqVhGPyrxbNCwAydMP/chlbEpSnq83x5ex0Efm/i5BW56f5hhVrFlkw+lb7fKzu0inpugXco5koG8s9nz72XkFLBOrunEOrVbTlbDo7zKoYRdkBQV3IFewGYVnacs5Tx0/evtvHeK+47V1rcoK5kCsLDIk8ssSLbUnVQtOoSnQK90vIj5VTMeCMEZhWa9FPEH17YrZKcxKRYeq0Bq/gRIatjHkpRq9i7rlnnHQ7TU9GRa+s1VpHICKiOgPgGzU3ZmUeT8WnJ3jUsGKbD8Y21jCeHPLYmGKMWFG44D+t9C/39fzjEfhIaeOiEfGWko3lRz3Ju8MCi1n9sJoZkcWrTxhg8ZfrthZ9Tau+B6TAmvaaGhN2DooJo4tcsj9t/fy/4dtU+cjTsSotNxr8KYvV3mNpiFdA9b61M8UYDhrcLq6disXNidfu8BK+CiktB7TUuHRYbipRGupXiqE9YIyXZ7uFQdHp9W5S32165KIuZ1tzNWcytGjljZDiFHKCaJWxEBlKmk1/pG32+ZZ5RMShCvhZSUvjn/yGqbDxt6+H/D4RLz9AN3YZ8osgvm9pOvOWoRKW8RX/c13OQzh4LBh2CCJDttCoNFWvCwYTog6EjWP61j7WkcjBN+mRH0YIET58fVfm1E4XnGtyISkEY+smqjMZ396va/lDRooWa9LQ97GHhEE88YqVegdFyF1FKDdbtkURM68QMHujR3NgBgbYBs11Y0gVBKrzbrcHdSnD+F8+nCBqv7/6k3PpMUB+qPBJZ8HcQGT4ZHt0UnA1gYOYwEMXuilv6ci0cY4WeQ2E6ydrXyuqC1QHI+I5mHocsXJkgO5cWg1kcr+tf5rlcG+yPA18SwIt87gHjwprT5uLcjTO24KrlirXrS3P9khu+5h0XLO31VEzj2qlcpzTiqzoPDROY2bdaYLcJTp/8q2YxnnWhDjikwKdJ4SpQ6XRQvThdvaSr8FEApUZcrM2TFCegKvjNeGGgHhi4MnKRRoXlt8GE0MlwlD3ZSzDDot7v7FPJvvSEkPqkG6s15bjNw3e3TqemZV7QJyTuVghw6Vy0GBHS07pzKxW3ZHxV0vMsl9B/SYwvW9qdYuZq45Ru2BMyeNYvT2SMq2+Ca3fEVV4HAibmSfuDqe3GBVjc2vzDclFyXwxYUayWnomY8ZP8rHAQa2HP42+YApCSCoNIH1h9zGaRnn3LI6MEdsUcKjARORvLN2m/eDRXXFaMczkBHrZOgXpsFoiysvlOWietr4j/Z/+U6MaGzr0UUSGKRWqLs2hXywBt+sMa7W6bAIOfanqEGbkeracfIfdqU9sHz+SbrJ+CCEMbFOR6HOul91+CXio2LcslfsRkYtKvRoDvWIbUFKXGOAENx7gQLTD8dmZPHx366fvzj5teyEIlp2Ks3JvWipASp5NdC7xjUFaYXi3SjPYN/tHCNq5C2Gwi+mToif1f9QI1DU7n12OtP8NBy3P52Na6ErPbpfJqw9o+SMkKXvjmKTAPEZXfpIoJ6E/BkTJ9UN9f0O/pO7Ht9m04zgMSLy+WkupxfqwulEXcD59j7xKwzZf/OWb/Ax23O4aF1LO9XD84jE73VB5tDLC7yq+wxmAaZ2HAhvJcZ+gDT42oXVxiVUZrYcmetEa0WuXxIukkwOq7kA9Ilv7KvFMg5XeVm6gZFdR2JQOWMITwt6q2tbNJkiD+Seh8WgfCQFDzqDRrU3aicawt4Dw08mDquEx+g98iYLsPQGCQoRIUBZzLzM46FDiEV+vbQuzDQIV4DgGT9r4GzV2ikt8OhN6pJgGgPzE5dK5+MsSAHBKZVw1V19A9iQt45d3oMmpMwE9dIEwuXz/UkFaB2kn6HlmkDOtU+GMCkG5CJktyzDLwkC2FyZ0i3yRd5z1WVx+QRRQ1EP6sbJp21fwJ9NKdBkFFgp67VsMVHxzfmi76CIcRLxUCZL/K2nVLmepdrJ1DTMW6jwLhjUswOWwYrgGcBlhcV9hZuxpJa358LrihN3Raj63AxzYPCsYwskVgoqcWVXLIx71C6PKwcbWN05ExbIn/b5RXoW67V43cmInroSjbIYpLyhjhe+gpVQrOkV1vX8sOsh4rORjHL/n+fOgo6rODnuao2r3ZfKPHlyaMfOVeHbK0c2ZFR6tYGRuOmYeusJMscj2SckTa4u/WP1aMoIIEF2LV82tmJm2qFefTF+3TXxyxLbF1oYC6cwT2SEe2fJyAIj2idEszlFNFQpeQ3xwlUlkkTpCxNZ2C2wgVnjGDqnqmj7xTIG9v3wZChj2WsOpD7NtkgRJ/wfJ2j9V/l5rWuqeXN5QLTdxqFl6TLydwc0BNcmehcfsyy6EqTZkHHvOyj8xtFwsFlzawCootDgw7IVOtpZFrbH/v1dUcGsfwFP2q39cEsza8zn303LeU6/j4FhrV2yVCu/8udPCi4ExnoIsxC4PjWjjAVyz1CO6F8v7Sm6stkPI1QJMmPuLCEv6ERoMhsTTWVh1yIGSdSdGeUCEeYvu9/0+2CkHEo/JDlB6Q4/8GzilCXPdXtYSSY3dQeTOf/twXN3gkdKZMhKIvHuosv2vaecnXaldn6EJTI77H/uHHlnGCpu7orVKxx/tmQnbNmUlz52XixY5wvvOeBEiVR7wOl9WpICnYdeidD7TffujqusykgVfgwSNpUJuVsE/3PWrznMKrFiw1qCvhbZv9ku6P/G3OLFFC1x6vFJkkXISkQzfv1w6dpq+/9UW4en4cMm5+F3CjVzJVDUFcHiVRGSsztkJJOfe/QTrnCiLF4UycefHXZds4EUvbD3azO5ypxdoaR6uLtb/q7et48fyh3Y7E06/nLSnHRms3NoYVgmWQMLQ+VC5UORLogIY1KOZ2GHUC8y2En0NzObrccFgdBmoLTw+w0LB87GePxfHt4RjauVTDUYXYRB2CvKvosceqiV6DwsyuLYvpcvn/i2pqlDMrbFWnjCoyxHFKLPBRqopDjL58i9bgXLHk7ZmSeCMv0g6V8zMAVYljw0xn5R5MVQDLYYcR9lxYN8l2d82a3E7pQVubZIGLROuqwz8FRLYZBqg6pMRjHMuGm3vwgDieRjs+tpqqZcyu1BSLHd4JyY3clSLq13QyITyRXU5fjXIA3hSyUdN+BanqReAg4p1kE0McApOKzgdZd8/ue8G3vgEIDHGuJhbKgBhpajDOmLcCVb31L+cwp1Z76YWYb1J7kCj9T+yLYYJCafrlw592zuCJZwYR0kBUFskjRN93wfwJZfQTLA8dQMl4nMwxcc7KmalndwSv8OipvzUWorYviGAmIC1YGl8WMePBkt2QLJAMWR4SF2XRDvBCZeEkmUGFkGAsqy1FVSw2zZDtshQL+1n+4BzZR8v2F49nAAVYDUyoOgIDRr3hmThrwjLHU5b3xiDSQKjrpVViSmrOXzO6KeXjf4yasdppbDJPeDeNBR4UjOXdTr61dut5lBGsabJgJ1G6r++qb4zAYqAcyofXQeya/FOHEY5U6hMwEOpr4JPKTkELFwiBmKCe1jI3Fxr8jKBXaP9t0xLMIhPQCDKObB6LutcUrWprMyigMlyvQUMDzE8cGVYW2M6/+pHVcU+0yUJ3nrsKA9jbKzDsS+ONkr7GfdKSViyS1AnNnIwXRbgHyQkavAVCOzhS3ANT08jnCYumDZobNKpm+k0xyq8JRIA6KU+ll+AnKZuKiplr2rzZe0ujibf+awZDpSemKyTyn+00S/Mlw7wJeqsAmctYTJwdiT18GHdUBVzvkYrIzhd9af3tbsZTAnqPJfZmJnyUdaiqdYcHXD+jfZheZCwtvZlKgb3nhmnypSDsSybSdbO/CniEqu+E7UIpgNwJ1FO2afahcOS2hQvOz3/hTZirP9trSpJgy2JI4oTCnj25+boJLq6N0jFouDjhDjb8RSrrOoNk4xOgnJuiOG3aNmuMLxHH6ZG/QfzJiJjaPvnBYq7LfBGM/Mz4/fletrXdOmvQHsktSPzm/Ag/1vXRAMkfYLqFWc0KhrjQu8E6P+EBaBUBpkHdOKCSmXEH7sMAgfkEPMoI/skfbWZhS3UPlpmqL1oi2Z++wmFrUHMmbqqBZNC1sB3gI/htZClOi31J9g0GDlFqqiZdAQBQP4PtbHgL8gcDaU+qGgx/Yvfy7FcjBu0+vVgnhQnzuKd82OYfBvTKWGaC4W9zHtstIWvMlGDKpyCGMJsjEMkGDngbOcifc5BxiGAaD7ZduJLMmPaxF0i28UHZYe9yKEMt/K2bUzSlQA0TpBEJBjgDQq49xoaSP4LG/EIU4ochWUcyFwWmezSwESq9DOW+/WgI6jnpFuWroUhh6OTQ2ESld4TpKS9k9PcxQXbO2oB67mvz8j4BOcOdVHRaIT9mlkJO6mZ/l1XmnqRc9eAeiTlzJHQsMiNLSL6VqIJNP7opL0rHJ8uqwamkR9ffB/1vM5mSwUdo+EvOGbL/LVDzfJDbC2+3trir8eJoum+48vTSInwmzgPoShpU+hcpj/1xc4SX8cenA965u5cspCB5pYtP4wHUxvBZZBLIonAAi7czP7d6kNAxnK3vxDbvq/fffkIzLsZ0MwAFK/QGA95iSCxyt5FTLG5ul6+wIQkapuIszOay58huGHPsDDJ474d+ecePZWIAj4Ri4OIH2AnTv40LDQY/Wt23ePtxQWN1tBx+6m9GipxtVR1hqyGxmD9Kpz2He4HNjQ6dXB/HDj8iA+6VjMzw67v1MR1DXpUz86Fv35fLEu2PHnWUtxtW8iZZWYTmNAqHVRgHGg5pFD7BCc91nqV9C8rJoYHLHUsqlI3PXzIxaSuch8bXBJHA7n3OuT4iJaQruQm55x27JbaC8exjR5Q2w1cvXlOqJQocrCY7YcvZRK1+Yo3LauzIGRBIfKvDu6lS4pQ1rYzpsmlcyzg3nHcBwtuzKV7rc3tdC2zefEoYIqnR8HqVAcOtTtm1ZW8Ye6hySNPO+rBn6Pj3bsAQCEXG68Rnuk6vIOl43P1EY1zVYX5cIm66K8tqtaZLvImGSoU9SNRpRNsdIdDeoyAP0VhEB9opJQ6nOJPNyR5Wd6WHjir438XVb4MB9uUexr2Q47TXsEaN7vk2xlz8+VYUbQCtu+8gQPf6RGVltuDtVo8sNFZS3leSaHbyqehfnaEpINn05zzYQlLZEzFKnx8SbOC6lJo/sl1clNt0fAMXR81vNvBLRHBM9qRS8eDO55slLfB0wkhkyi7pbn0o2HVzx2Q5m0SDDTegh3ngP9mOs9hs2JhGKzYPGLo1dA59EKExFm0nGnAJnj/ZP5fXz14Yhd7xuSp4lYk4Zz8u5z5WU5E2/HkfbIt2sfVeIDM4c70m4MytkFbX3kg7UDKbBMMXGt5yaYc26Tn5LoY4GgqDJTP3cPf1dULlaHqwYyD51b+UJ4sGettjSTgk3NyPMhFzEjj4/dLNE1q4q/fwycobEJoajZ6SkQ+6ZngGSW4ZDuwGkwqsjtK5rM4QhBpjjEDYGUTNk1l3Zx3EKUxvPM0ChOazMmHFqtyJCBIaLTA6QkYMRobQp/1BXV1BzpOPwxRpDs+9FlS7SwcqfO6PBxXx8JDwDYWcAw2403yxc2hYucP1ISwy4Djlb92wZbaxKIndXbqfMuPuLEpAL4Ap+QNRCVXbW6s8f9FkQz0zPUvWFe19EG7Fls63mdcKl5THKfmSY7bMVDVoOlAYxZM4seQ4olwQgYmHUyLTanuMQ4GVzZEkU2oxYseV9rKSdgZ3Qy0gJyGskEWbvoivzyITHwUcyGqfsjhi9ui5PM4xVB6liD9WrsPpHoQmq6UM5JpReWtWc3tC3Pauqs4isNT/rnkJcoV0XnpU8yMg2vro3UFJYQx2y0hIdnB99g41FxvF+vrQOy4XcNfMCRrybgu1kxbl+FqHQc59jtee+BRi92bUuX4Df0AgxTNrap82TC86xhafd+ULVn5bXr1AS2BOrsSlRcxQ26WOzNJ243t0d960JEN4KuhMc3g5Lr9jq+iuQEhaoJrh3h899BWaXdnAV1PwmaehDAf7ufEGJZyJWR3l7gzFlmFUcjeu1+1Hm7GdQPhTZl1bC07jk910sNpoTeRnUkeqS9IrclDCOHTa2S31MNeEKD6q3Ns/AVvZTHlZjRUCiBfNOiJezgB1qUvqAbJbg+VnAyzIjRrtZO72+ap1oTJICjgVVi3wZNJvesB3quvRlAVNTwIi8rXdBHvou4iMqGgc++8rE58niC3uzQ4UbAuMgHPPeHo2n1zlydFwZp4YR9hIoyBzbrBW9XP0OxYHfQ2ZrjAwKBWnjOgqPa53ul9c25hCdquvecalOCAURxJS6VGsMXrY4AerlSsR36EQH4xoRcUaYA31D6Guz/xNQZNNN0v6W5sZ+nvmyvih/p1wZJd+Md8I2rGyhFuq2DwObHKcHNU6eomaQ1WjAkTu48cINXH4+ra1mvD/zOiYsd7Qv4wl++pe5pseP9JT7NvsFx49TbdlZgBg5pgQJiOqsx1H3HBtH1mA7/KpM6eUMZviAG6I2XdH/02yLyi7xnylYrHNq1qv6IWEFP8j5qKFGwPmb0k4PGqFVWhaJbV7s6yotnpBK3xiW9jMNIH1+EPLndxcnL/7PBPWpV6ON6ZoVOI4ZuTFtsUQ19nkss+xhJXNxGioium5xdGODMXZ8XVd7iuPlpM38FjYtrni/GfJjURfSOIbOqDk3D9hL/ednbYM8UE//AgmFVYurBn0cVpttiF2ZJX8bsP1S++0Vf3lJ7Y0jrSbk2XuXJX1keWstF7gEIDMLXuD7s963efvxctDjdsWZ7Bx1tKhorgVdJyLLZ+1qeTIIREibapwWpp3b/uSx2dX2Q0apmOAsz/lK72DhJ9S5gS3HpVFHqfn2cNWE6DuS74/ktOw5CiBhTQjHq/PVr7VNhKbJAteAHGAgidmXwks3f6YRZ6FJP3ty9ZLUkCbL7tCVBCkThDi82eWtd9ob7TsqXB4nS4ZYwOFKKyKkPnguQWCTM+bOxYSF7ShZHaq6YXF8xRptpipQ1R9BRswVz8dUVLMEeUJUBlR1X4MIvk8v47SZ6/wy+EzV2Wtg2SsI3XjQ7jlmtsuC5Kbh1uNjj3Doh8KX28umWYIFLTVb2MDk2BH0DTBxSoYHKnJXipm1MNPqPI/U8FqAiHLhyVbsCYWmeBrTrecoCrQPnEabYCHFOSQ2wz53PzNTcZ6HMp/Mo8ZkTdqmSRQsnIRqVbGpjsAoc6jTpYfODEaitsyxi2wP62XXZEa50RwHhl7ceEJbuGiyxSTtXMNVHRVe3gEnBjmRmF4hZY7EDw9KZKMDLO3m8Pxlx2O/hNwF5gMyaprhIyme1qxDpqI+QJncdM0RoWyCeeQa+K4dayW7p1vmclaeiOI1FyUieoHpKq42ixpctJiiwPM6CgLfwz51XYkRjccEXSEzLL3UtMJXBZ40mwZbLebOZodJ6DCrIx8cq3tOkZSFmj/PAJmXcpCsSb5S1FcOopasfvMmioY4l/j8Z3P12ktipf962sJOuwkcLHlqrUciEDGbFsgUtO25inYAHa47kvaB9drmayDSHRD6d+SC3y4wkas3PcgIs5CCbwK9X2OBitKSPWEv99qmSWQOundo+mrplYrpOy/6M3tHlqn9KrAQUBE+yBLOdpS0JOFHyCOH9WrcXlyb/6VlcsUTgQ56k2cAKOHQM/r/+8+cvqqBEPnfRiNO7texYQKz+OCRToooWLT1piwiOWphM992RK0hh3q9wxlNXjOSaMrqDEX8106EUQpt0XzXg2YAeHYkawhpnn+UE0JuDk2Mc61f2KlBWGaKxIJUHzVAuQNjcdf9ECE/BAZH+oP95UjkuiHK2DlCMTBqoOHy+pIz/800Dj53AOKLL4cUg7HIVY44M0XAm6+0dAEMm/cNBaezX1UHJMF/s3/8h4LS5/NoszOLdwDUhgQcMCfwQA0Oe/Qlo70iJOp9USaIo/SniDZLegY8WMuNq6t1t9w9hakVC/Thygc9Iq6F65u97ssNQ6O1+vYtea9NuMYNv7kSRJyb1FPgnRWBt1LbwvocXhRsY0H1DI6HWPFL8yp4EUFbAs0B+B6vJvP2zhWZDvrs/cNZbXEQrWZ4NHU0GLON6Hee7Cb6InIgiHAi4VNjMtdlYKY9PAyiu5WJ+5FTq/eGRtG2GABNp75nFeyrt7mF045k4SUDoyAPU3FU8rgPw8w6jeVFwiYD1faC57v6Q/MSlKNJ8zTIzck8DY4suKAd7YA3PhDAyKtcptUTYB9WJby1Gu/kRLz7Zui7pw7kt45Xe9q8GiCEOrL2b+Gq6ZooGPrUiOKoZZINlqGPUChkm5aoLXpTBoCg2CU9IP9eQ0j7D/gUGGlrwHBWk0aaGKiA8vnTwHD1D1AQYaMygt0se4HjdDltUuCELhwk4GGpTyLsXSLBwfmqqOua2ai3/fQ01swgyjSB80h3PRsua/5TokAfkBmhDyBQWlU2N//yYCxuF3NGeR4o1FDQFMxKv5lDUOtMq4bsd5AmgRLsnAqjYDadcSQf6K8Yr85ExkwGChmH12yiOlFP7qx6aAzXJdQrDgZGD6ZSfvpm22OvHorMkXDpqJO/2bnG2DDKpseC+DlN5S5UhlAra9G37kdLJ8VnaTRSOqIITR8JN/enFNbRc7eetx/mqAMavutLkE4tbGxDtLI23L2pla2uswBgwSmgJBbNf8iyC/VgiXih0cnu4aXccX9dGSA0GdziA6YHk4/gkyRQfmoIC9z2ZmpTXlIhfsLJN/4jFhD5QuCnD7YTr33AF8lYrBhz+0WA/zOXQ/3qA9iJ/UzJbxtaOjBWssUG2J/70bgRL1r3lTJggF7RuvIYJMw5LYElLkCdyf7iQ7GLxF85T0ncu1MTbY8f27u8SkLU7oYHV5QZL+/q6aiLEnakNLIN4j4TRQUZXfG9+3HKQwdBdXE59Mu86+iLPWjDGxK++SSEGop/IVPh1gtAi7dPe3FMwCyML8wQVNENenKmrJoDf6c/udyXOcK/Hcy+VxgR+DfkDVtYQLc427nyk3HxVQMcyw2E9MAlMx27BuDMWjtmCIo3iU24VByy/rVnGwRodLQ6vbEShT9u868pJuFV10vlXTIby7vwX+NbT2vz97uMIj0dt+86tUpmY46j5NBr+j5Kgae8ecuvfxX6L6fZ1HIq1Br0q4ODQVgg2XMdki2RaABhv6nf5oE89Os5hi5BVCBmq62tEkzKtjzfdVFqzwJzNXP7zeirK6EkHYf/YDfEch/1JKcuXJmcGVY/9gmNqMvxudo3JXogepzoiRLvVle+3Hj7OaLEQ2/u4BugT8ytcZm0UBaP4Z4kPM+QlAO5mYYQBOvo9BIL+hSBmrmnfpb/YWeK1CnO8TAoZYJmaMn+GqQCsSXgeCMrs5/WnCkEBRhAG3QixkogzPkwaW9p8UFx+u64dO/i3/P4pHcAY1zKgNuhilzShDN4uH4w4VYZOkz1QSzf3JOvTUTdQa91PBO5Ec6yNeywpxvqdehvN58VdhNBQAWyWTKJ8JmADYtITkqKpsIe4L1lzvB4m+CD1YpIHVXiqgEajmQg2xNlACsBtFTvGqv/+YyCtRoCwrJ8ZFWkCkayUF7kQke1N+fs5xtDbhwOcUPBT/WQPDWQ/SRHaavPcqfgfBaLwcywe6cEV05QYXB9ntmLQ6mU+E74V9XOcVK3NpcQZvsV9w05fnpBj9ZI1iIEZ1igVaDhy3VM3QFTtjPt0XUYR/bT1SBGnzCKNngPlrrZVP/Fs3QZn8ZNk2cGUZ0loEMKBRzscA5/EWod3xPyRuDJjzgQsW6IGNoncLSNMxR0AUya2c7beAh6XdVhJI01G8pqj/xcZ7Dwo5+qBAhJB+kHIXQjOr9H/ilz9w9a0jYHpNyI6IazKvncAGckbHqJPHwiDpKtLcFbKmtDWVwGXq2TjNQqCc+xB/8V0dcEA0n0rAzNrz/VBbV/W6ax/HXJYaF5L3xarhk1LWo+IkZUY8AQCmtvYfmWlZfKTul/YGhDo4Aa+ngL06aHw2Frt+wuNNLQFrp7gNAHEaIqpJGJFzWaddHT+IUaXGZDEHJqWqw0fCjw/hqH59aOUeU79jvXDX32e7CuLekdh5WiWmf8s068oD+9M9x+nKGes5O4QjkZs5vCzx7RGQxNSVofEXxmPyGgC10zW88xOnzmY94Dv57IAgxDcFCJs9VzJiUGFfF+CkFQPIxRy9A17/28HsZMWLWZ6tUBFeHpbaYYUjHA/Z+/KXj/sLBrh6/RdwI2OPfrcEn4YYg9MeK9qrP8BDhI/+MamdnuYgtZI6JLbZ85NIunWV7Xsm/VdmgmD5xgq3f+xXQBxIryE0LHQKyPLmsXGROyNvwDGybKuIGfZ0+KcE0US96Wbq38X/qZ+nhbwX6zHUVrWXUaSPZKMb0wcNXHSPAZG/lUpP3/9H1dNVdGjVw0le2iJRhqeJzHUpa8LuWw4kdCSJZv5QCd/Lrzf+zWy3QDhZEcXH+wo1iJhQaLcZv1IwEEKH0Ii88QIuYdi5b6ihS5uD5gSuY3p/ixY1fm2RyUmfyqFQ7sZPg9AILOi49A6TwE4An8Q2ucPiw03v2XyS039pR5iCGDAjbuqWRUDa3oBYDI5iRL/2nzTnBdxMNFM6bRdaPi7m9R2amH4KtpET2orOpzynWJXKh6gMebglxaTl+lJXiS5k7wRwI5oZpwunYley3SfBfJ577ffkTiaknNsO/ivPAsCuzTXtUU+L0jiyQU1ARqJ583AOiExs2IIpPG4efWBwNLd2FymvUuXsk4kIMKCwxiC3wz9lTvpaF6KZnKnSERKd/XdItQNKn6gEjAL5mIxmKi/SbLOdop3QBAQZ8MIeCXsQEGRyxk++CqH7Oxmj2kONYni93NrgELlg4A5qKPCFV/vAsPGSdMU8SSkEDsINAIFqThO0JP21xi8z/bfa0IcCTi9ADJMhlC0bNVtjVGad68kZl2YWyWASlb6Cw9OWOPHd5ERlnQ2KvWaBxOK52Ahbj4skYOml6ts2qgKSRo5/twiy5IPFCbz3jsp7aMsNkAyIk/ENKjvkHz+3aV5rqtV9fZw07Rq3YpQKa6VRWwhm3YyKI6YBVT63DKFxxF6kSovo7hClCFhFh+E7Zo8CQ6z930jj7Vbb3pDCIRrKiNhkkvH/k0SVQAIkLde7eTywMeXaxXmBo1PpPlmO4IrJOGf0g2K0B80OGavwV+Kr9+2nk3iu8STz5DJKJQh4/oEEk/jp/iivIjF8Ja5BHu5UwX/QmEU9Evb0CBwkN5+icZA0xxaJMmfydaTv//m6l7MBqtXuhUyPDCkGccxPWsK9yfEydF+00dwTVVn7uvoYruRyR6SH6upMnbLHZYldITFztCpqPfkjZo61AlCS2UrfCthnd3vqQnrS9uzBcw6VrcjjSdIP6NB+EqpO6wmZR8m7gL7lQ72w4WM+BR4qBDoLYZOjw5o4/MV1Mx0G0oKk1RV1PFr/MZ6GUiMHw84ISIC5+q/67pd+d+cc6GpnLd3ZwpARTq6uGogO9htAdPHDgG1c1MUEOoPvE7zPgVHm3WRElzycYcJkdap+AACsHP+emmonAWdkC7NyEIMMuE4TDyZDOyM4vB/T9JDnUoIgCjyf+5KMSaH9Haztuo4NLFDFsv2jXYpxbHfq9Kht77WXfEQO3ZJ5AEe1VsPBC/IuJplsw9VJCPYeyew5/BGOTel8PHOVO/otNewsRVD5ipNu6tTJte3y9vU9NCC4Gw00QCClWItPj5/zNhxmIzZm5TNlueY2ZrVnT79t7ON44vYRCGwhWJ5isTmOhtPB3ZPm7gRX93n8hQ9L2mHcgBYuQPkFGOvz4BFlBCNyMF0bfPDg2xtUpIzN/rjcI7n7aVIUuOQIsFC+SREGQZXXhFvcm0WiGlywDIbjlzS4NgC3fdtdDnYPz4P0gbpOee+2JHWQPh6uIkAdesXyQgOswjWNZPPE5QRYVwu5OCONTOlaW+5eoIoZw4eRh2GFsD201Q+ePy0LvvpuhTPfjsSLlDJ3Vps8kNNv/umfwxce15bGfrFbkPAfRoWVDCKOnRppeZsp+VGMXaKByR+yc/hQrkL8EfB4LTFPdo9sieMRsPw8ZOKP6j2FDfZbC8Ob0V1VTiTrcuCx5aXPtGhPjj+0Nv0q850V7HtfQgaq2jaFzD2mM8URr4hjWDcLBtcPJpxXOk7DU23S7poEJBeZCeiyDJjVvp4dJXwEUuvsyRNcnsObcYM3wrUq2i0kbfLKEJpJANYFxF42GMRj5Qe4hoR3t8XAToplEdcnU2GhaYGAoLGwWBQV8P+K53NRI53xJiFGssuHe48DWFJ5mDTGs0hi7aQw3hHpl1NO/wHxf9+y3iITBlrHeOgOJnVDyuwY5lnS94ay5vJ3fSli353tQa6yAE5nHRra71UY3F5yQyibZzx5nLk9LfMBbc8YzskzGbWKBfV/6QWyXypbAvMobEA8Bbuk8QqbgK0aTSF2h85zKRkEbC0+6sDzQuxuwu6T+GbF1dnFd1QI7yJOxpLwWz1XcneWjcvBwOnixvGw7NiHWLT7TUQWufO/WSyyvkC9Js4CNxxdcDwjkx5nV2MqfE2tG8OR1sJODAUy91cN+v4dwfNYJYCjYH0EVtw1wp5Gvp4fOgwBf5ld/hdI/92gbmIE2oG1RShYX+cH4uln8Jol6RngKv0XMQARYIndZ6owPeBK5R8yw6Sogn3193wov9O2685kR92EKUyyPQyUipfxMghgxCBfiOSFolKQl2yw4ZiVN1YLG63/iW1Cjxd9XnvsOakWXGpKNX6a2LwVfoxDBoZWAVTEtGm4lJ+nsuIplrRxt3+cFvhKlO/h9qwopqrSy6z1hGpc7i4fL3Y73vHCqB1pJBmj8SpRgj/UAa6fArYXa2TDNgvBTsf95CstdBZvZNqgYTMw16muvJ221l/dVFE6b2X/lpekDKmdtVv9H+1ex2dvlOwMDlkyQZWWKjZDDcBkFEJ1i0xJMiBUYJWFqO3kig2pSgmD1yr7oLsa/Xp9+IxWNGCaERsQ8TI/W1BPlEmgGLSjwMMo0o0mO1lc/fgNaZyJ348lrZ+CwN03glL02i9qFDzkbFjgdpypMYqHwlhMHqYesSd6LvZZt7AFTqPHJ2+xIunqRZH0awNUDI/aBWdiEqY9KocTT2Lyx0h77pKlxzPgQiEZ1K3tuSuU19cZEzVFY+CnBH9LCwU3dkngWn6eDcLvl+nj48j0/R/VFGtbt3EPRnrWi1ns6OCAsq4DD/nch0+svBVXLaQ+BlGXRSd3tUxbHnmb6gYNJZ3RXDYCaokolNGocIb849lCpHN0igSYF6ahS6vqGj0gbOidwuyo2oOfROJcVt04zd86LXdgHrWSvlt4DD1zXWb/wFHF+ZiyPDQOMvAdwa6I5KFWuq0nRi8ejNryB9HgER0Yr7SudyKAH9ljN2ztn8SCi+0zHjQbAXvxDDnKccEo8SYr+pGvRwerhZnxnT6hpa8+9mQ3t/bYK/tsRqJJ8Ktb0VZ91hC9B0qxxqMCLnzsJG5tj6Iv+3mM+jjiY5NNsQANYv1N6UsqfbU4Bq3iP+dEPnZWUF1saoZ8HKRFCh4PQaeE9pV7JbBXFo3fYQ5qwiYQMM+b0x5tDo++wrbIaVaekKupFgf/dBJwQran8mFBhoOFOOKL6j0pwAvmTEvxPPdCws5lfwzIXXG84ZU483UJoi9p4YV32GQ8RzcVhSH59z+0uAJnI8vd2zLLJwYNHVDb7HGOSz8ItMbilsAyPe/aq6e+Dp5s2Cla4f4jhfLEkYjfQNl0yMkxF80N8CuLBJm+a6PGKKnzAudvYmkDh1eaRwR15YkQTrBTC754o4XdIjbpkabc2HbMAZSITWoy8G+fREBVzV+ZMSYlAbhDOs6sf7rIBeMMsRE/nlGH71zExkew8I6bpWUhU+aWhSrT55xemIwdHOYbQRhf2iEfigX58yJpslXIFEGE/CI/9tIEnR3zK8gc+k5dvmNahGT0QP0M/13UQGsBWiLgtxvGLwWV9Wfb4Tyn3TP44dZV/XSeXESJDcdwZoAia+fbbKB5Ph/4r3Jm078t5c4cUt5vlSy+NK8HK4y81ClqF8904GqDnPonov4Du3UGMARN2W0QH2MxI8XHfBXWgn+EsJNXmVYc7lU8aQLxxyHHuL7c9XksV2k3ZhNMmRcGC8onMChqd1UCw6JsgICyWxKf5aCHYaDqDvp8P3xDqCuNHtQ+4s+dmEmH0nr82PkzfNlT38rMJ5eVjfg3xgpnArMvyJPYkkwqLuiSw3OwnkPsy8Z9LhpY/fCqQGPhFalWcToR518VIl2GiQBEpXrwfoeFGfOfGUFhvrbLDHMs3vx2iI23l8unec+miNzj1wQCMeelHYYzigeXgA/or5xZlicEYxXl0lgTgj3pd8t19CytyjYW/WlAkv4UWQQdhUMRfPT+1wMaZYbNUhTJQr4mKhCYHvCLWeh0A9MqA2ERqfllvCnk1ubnJKtUTP0yPtglIEKDh6oSkX2z7K1BOJwwnNLMyx47SBLZqVYTHL71X/ndaEg52vOSOcx20ZOX8pkWXKyLHMsomWEK9WopT0waB2FMFu36TKYq7zU2XTZY+Dr+nnlDbYqa81kzB6QWwH2co0MvO6wE77/ipHV3H8wE9gLUYl60F5B0yqnqiN9KMkgNwhfqbaBIPJfsm4sHKil3h+s5uF1X/3hVIOn9kHyE25M4ji5CkIj0TykdjTKCZrJPDBE54QBnvz7F0LNNq6pRYKQ9sT3CdUbTmrouXOzT/FhscdJL/+DqVyydijFoSvfIgqt0Aci3vtpL2oPwSnT+Nc4lTxfxB5fmvq7q2k/TnwU8yfEQEYGpnpsBJV1VN1qskznTNc1rzGcl1FKSXb4GZI9t9oG/lTMGtsggW6p0MKXYT47lSHNWSKfN1L9svxSi6BYWcSLXVdhhqarzw/ZzY8LhVGs6MbhQJgYNT3qma5bgU3yX9xYXsspg/Anwtn4VA2f8XhicdWiIOqShFpLmgdMid4CRsIMiQCXYnM4BlxxkflqhJZtUQQX1bZg9GON9cUcFcJyJJK7qvP4vaAF6bC3maZ1AM+Sc4SPTWa0Sn9H/S174aBRC9kCMYe8GBCG8HJPTDqw/mwRtCQvpmd5kJ+WAhsmPD7CvsPGrlLJ77GUW6eNFjG6U6t89ZSwFfFgzcX9TZEe74BlBSV4u2/0tMBZcVb3BemcZqfL0XfDDQJOY2hdtU2gKYkbXwiyP/fyKMJ3ufTSNw4n3UpFZ3TRKqmfmBR8R3DJ7xw0LgnUmA/B48a04KZ5emy4VPSTzCpiqphYfK8lB5GqfespbemptLwWfJr0wDkJOgE81JuEnBhW5wTgzXfw38rl4D3SY3X72Ce2941s8YvnL42aXhTvU+OvurHniv4c0n0vwM+U9SRXHGyUNwoLmgrli4OMLn95LD7RqZzWsS4Z0DoW05plwjRLdjmUss5NJ8gbyVwJ/US98dc73vPo428cxAwYRkiQAraKcZETK9LvlXb7/ncgUPgzLGIkh1IDzHWdjuBUE2jxzpyeqiNTfEjUR7U/bgsySw4xiRaELJnkKzIMEvN4xEf7pHxiqo0PrcDfUVqsfeomPyg5C7ws8kT7Qa8tD7E/aNGVEnb84bbQdHUuCq9eXbLhCClRa1Wf+IdOEqZFNYocetNo5l6sv7YS7sjCImk7cmq0YMD80mqfymY0qcS0x3MxcjUwVba/1r0Vc23n2qbXVakXNrkMrOkHbPfi83+Dl3ars+fbCwKbM8EHLcu+OEp2uqRQ0J8h2K/8/XzsVu5u7UH5q93JDR60ABSFdPM3SFl/fx3XdxkDs8+RNUIwstvvmwG96j6483WhiTnghZaWYWVYsQPVuaN5gFkMqpBtTYSgYjBIGdPG/WrO4WUDxSc+isu6vOfOl8+464K6EE+DPJcxlhaWvSlwvoagM+Fb0OXZfqs0UC//2/U8K8hS4Fgj6l1VLo+hI0bheDhXUTD0rAHneyeqqjEgljIYcotpiA6YvFXr245OC7gE2yRaXVkvv3Fy2ymjB7ggUG9wlRmtBuIg61f63J0NcOol+ToQ32xYr8AE4y7N9+NZ87DB2+U+Y3uuX8irILP4ZHCMfPqq0picivewui5Gp9uUG7DAG7FR+zGylbU9zXiHhh2n8FFAiMH4Lzlm695zMNY0UIq1vVeohp8sxD9QGDauFJRtDloANKFi9euUnWC7UrUuAT5ushfY0WwOPDa6QK7R6BmHx+mc/w7VLHLO10CI3uvbAr1Ouk99fvdsyjsIgOde3j1AzYgHOjObfkqjBkZNjoGyyr00aHpLhdfZUqzfnvVmY4Bs3Dxbt6DfBKnqQlyYLgAKhWAHOTcn3lyXC8VSU6/qOnBThPgYZmVkvh+7cewAo3xILJKM3zz1niV4+ufVeReTcku8J8Swblkc+1gmP/8eqoZeeO6a35V1eVVK2vp/Bwrzom1m4U8BmP/zg6lm/+QNkMJVZ43rzfmZzJ0wNiJReKaLrM/fFzjD3dLG117LkTI32OciC7mxpKZUPBp98urAEzfwUzzx/+sIbLcaGpvYiLp/HflkjQSLr02dhzrV49lhIzJ4ETZZF762b8OSqENNbufKVfntIvvb3eRmrKtPrxmtM+dqZNerpNbB/cgUBJQXKlTwlO+zume9/0pqQkcnppcOxBMn8wp7QqaRPbehSBsFtqqqpkdkcqR/qzItTryjVhKxmUaobcvg0sPyh0wF6jhHjwOMFfFAfZ9E/yha/9fK05ncde6QJiKghIJsqAfyOXFsBdaOLQOx6FABhDCDl1mcTQRTxd6RU2Nr6MQS2k0O/hAN8NOM9p1XMYS31MBpzgxOy7OK+0S1VDxN11g6TFeh60KBJv/BC2IAH/JRpSQRhNbQ45UjOsdqIfvvFB+KA5QPKs386WbOFEWkAX4shlm2vbnpI6y45Qfq9kZM2OWjSXMl/RQcyoxDyyiE9c3ICp8yCZmIJHUZ1yw7oKQZ6xB2gHDGRyflMA0cQLcgb+jSjQ/sG8VUvoSMRbXI92zCMFNnXhZMMPhLJTHmXMwTLDagsn4Kvky9eG8Bqtax1m4oogevYWxhYCbFDMyLuF5rcqGoYADk4ueS9PyUjEY8gqyPQvsnCzrgBxRDA9ZEgBAyEohLMZB6iUAGRDKh7SPt7BLPZT4CzCUaryMmWU3XQ9oZF6KeApqw+1wDg4fYgzaeotzxYqvpRHuqNFXlE/HmGGIskVR3BjeCE7Enj15XaYY+5R8KBpIs/P6DCI2pPrfsP7p6GE2Xi5qzePI9ejWbSUBTmizsUe6bdK2TpE2dqHDj4qW7StAA5ChqTSp8JQcA10fLAJ4Wf77+i5JUv0DtxkWsKbaCI48pwNcbH0MpAs0Iagv7gEFPdbV37Q54V6l9SoqI2XIhaBih1cBK1/MybdpZPYStvgoaGYeJLL3hY7hpyVNMTmHuAw/oo8IRvB84QCyxhk/XfmWz+KpkwJKBnd6dqPbXYJwQNaHy/+IdTblmctdiyzqfOrNcEBWYmmWeKWAGR9y6MUOUSvfnD4H/SR+7sxnQDvJVxRnXvkSxltGXPHO+s13ZTdtpR8/vkWRQ0QMScMbg4xqDT+cnCB5waa36OIEqUaKtSpM0F+VXu+7Y+WBrw5WKR3mnnXO6ReuV6veM/PdYULO+7Ht5+gicJ4l7GXh1Dg7AVXy63CUkK86ikalkkvbV+7oxO5eLvvcnlmijpPQfMZlWIZlEBE4zLbR9CYNwbCZJCHQ3LNF7foNZIMikc5vE/UHHwWjn4m6rd+AEDSviGlX0r5r8QEX6CbkGn2HvO5QCNvnwciUaVowL8MCsLc+qcB27oWrmGmExPdCO90+NflIjj5z6jnPMbP/DfhS1xelJLY3/hw6JEeTjNMPrxfrchwKZwXp+/7MTDoCLzwoPGZNLAV08d0+fM+taBFAzwWw3YoTAhYrxSMlTTvutRmL79agpd0H9X2fZ5bfoT82j4L7nppG7zn6JMh8ZT+I/056ofcodOQ5msdAH/uBcTzmRzfw8RfQAeXRw4JQxibXQ58iDq7e2nJo8choq4sxmTu/FAIYYLYXK1d271SeWH91OAv26H7zQHcnDHrgD+H85EWtg/xVYSHHPHnnAKwWGgtsNmLHPl5qfv1QnQbPvxTFo30uYOxyOvbXdA2odSUprj5Es96i+wng2HgEP7PLn46EY/MboQpPLjRMGNrau39ou+/NzxNelB/P1TgQOIw9Rvok7vEb+hEWbd9l8NhAPYmWn9jt3/pGPN9aQJIqKmEXJCgJUoQNh8STkgbGBUCardQgSC4t2Dof5ENCZz2bQXljB07EVpQRQKvHqeXiETIo3NN0GrUodkaou8QtvDUggdSW/yM5bLekTbTTYGWFeyjJk/b8dvOca3EU8cd0wgsvb0EAdG1g5SrBwoNPTwT1swZDL/yJ/yS54uoUDvyDuHkXJYLDQQmj8Z795VX+hbEIIpk6tYu++tzBahHN4KSiUJEr2fyCCrbibOZ3FxejstECTaUK501UJ/o+hLR5f2l3y8lfu+Qvfi9wSdODjpkQxuxkwwRyd5IjPQHFcgnxgOMio+VmzXPpOyB1+1rOA0mN6efuFgjEuSL+CSPzLw03HYkfDBQudHwswE2jpWmqLNDwS539not625aukSTPDuSc3M39gbW01KSly2AB6O7oLXaNaPR7OlFH56VoN4UNkua3cULQAuFZsL+Av6W6oyy5gZERktUxWOf6O/TGLyAhSKFZVHrjHPnYCgOtekdb1zG5orwKzCfm9vm1a09hS7C+k4911Ibcob2CJ5tXlPrrTtBFpFDTMoiUxDkpCUh1MG5FreuSmzuOVl3k8wgJj0mHzdHcUU4dRyEs6vuTiIe5n96bHybgumDEJg7phm1YWb3nzqcGYkwXHusF5TBVyjG59YP5iEsMXeXjT3SyZF7RtQUyTHy6AHJeDE20T9liVlVoYJnN2uIZvOtqijn8cEewpZyJnrewrmDAu59CZf91jI02sOJMtYJ5F00BYhmCYqtrcSGaUGD6k9IalrX6dUBUTgmP9sv49iD9p0QZRG527+/6qNYy1YcT2lhfI07Kc7qhpDyIMikqNCkTD773QDfor6ZGxuNVGrLR/xeABW+De2MKYnfnHwx2WhjTPIV8hsBxzgIxhVbr3sebLZ+ZpVBIWH56m9EaMEl5RMPR+sETF1grWBAhSnschLGuRG+7u2O6+d3PPf4p6tXG6HoVN5mnvYdaCd0DIZQbGpT2uSQI4uJlCB18c/inbuHg5fmxupkeva8vR+QlYdSMf+0YDPqgYPwLg1XeIiAcHfo6GuCylFmcbgxznvv2o96NZ6sMNaIqnEi0zv4A+bIn9VXzWxUBkW4I6i0fO1dalr/mtvQDCoi7pa4BHetmq9UZ+YgvXSddOB58X4GYeEkmrSRv1CGZ8qUvOxgS70s+X3fE3uWUwrZxx0qW6KA4hTGsJiOEzJMRlr4tzN8PfYxlYA2p60q/1p+o9Y5GJp8HU4Sh8eSEtx1eH5qNNxLNk1hDgGRabXRJ7/id1Sscmswme7NiIDa1NDTuY9Irk47a+vBC9GrHE+cvMAEK482FhP7kfiL/8pJguI1PfMMn3Oe5fAs/dp11FInAvjNh4nhfKxqXKFxN+hcvpkO2Jrkq6g4bj0nnhKOcpJ/bq2Qj5pWI2xaHL9Vc0OVV3qIOnJ189AsrcLhBKt3CwLcRiqLEDz9IVqTjldWgcB3eJS6n+e+qlMqPlt3Di1JeP+N+/PEQJTa7WR/VYrmZN3Zu6jY6xn5fmsOoYEqpl99GCYRFcJjVwlXCxAAn76S/raregkH01SK/o5ieIX0AmH1GapsRORyZLNHQScTKUjsrl50thgaLhh1CwL04zFo8SdLnFKqDy8x9FcJWVDdL3UBJZZ8r7+FxRwC/qlYOQ2M1LLwypVQSU3aAOoB6hPa4uLeRGU4oL4gW9/tW1zN5IkfPnggyyModYG2vFXIQ/+gKj0mYlt8GQ4ZP0XGDPyw6Qf454KhTUhDgzoimhZcDeLYqFcK3623h3svGbPiXgMVJHuySbASrKqdbUqiqIUDS8V4f70i2tYX/NA+Y/zzpQkv2CxE2Y7pHMhdGUbFe8736Qs3QIVP5ugiSXrv6FPInjj+zOT+3DHV/t1rBwJp6MeUCEyRAC/DVHW2+OXS7fnX+VYz6Ncy3njIMQ5v3eXoMFmeYuKPrXB6D0IrL9xje24hLW6HfGjwoUoM+FzOS7c7VUQv1PzmfCJtSajR+AgdS8JTBOuMQj0yQ2YOXGD/qw8lOxUIZiY/YoIv5jcjrPyAQ0TyPYJMFPobehbm7lcidWSwb4vb39gJrECCQsmq7/Z44kIgp1gDQHocCTLNCa/kGC1gioQQQORsyyIzV85o6lGFcSLgo8Ms3NRlHfMJWjzPi6c6NvdOH5dTl6WPHeligCRz1Hbt/BrMvSIPlT6SeXX5B7rUhCZgkkLBefdzqfQxovB7syAOqfez/zGUfk8DO0OD+o0srl0zjhR9H8ot+VItNdfeNI5rUXyE1Y3MN/pf9i91ABsGgbXJbC7LVS8+hrnoSv18Aqw2S+54lsntBOC56fZGy5efJ4wtmHOaYfo51iePRH4ddW5un1prol7OVYJkNoK9m+kss2OoedNRuo9oH0tl1DBp8YdImGQAu+pbvlVHadmw+ouXDKDlP368BZiQ55k4g+OljcwNizavL87L07kTFfKeRgZzQsvdmBCc4eNE79cgm5YGbX0liW10Oy6+HwGiKvE31L8lVsKiDfUoIQCOJUWPt1/BBbOL3kEVENE9gpZFqRtCHNL87c0jV+Z0rS5XZEpkbneI38nZ8AsuRFetqLC/C7VjLJekY+lg2L/ozbB4cfJwLQ36F4N7PUoM5224ogOY2UEFcVuA5ZBgjabRz3ypIUZ9Ty6yU5sW77DPjOtWJ7VlIzjU0hWGW9GDLUkhkPVsalrxlIbQDDmlrrJeS8T7jlLxrhkgi5qsDCFDEL1dzZ3ZU8kHb7uGpWc4fLUOWwvKksGOaugdQfn8Gfjhv6KjWcvYE8p8f5NoEiTO+jPBpsSRw56F2wgbsLDP0pnPpDQuNzgi9keRH3RBokNsp0iV9lP8VZV9y/FO8qA5gDPbxPsCuXj9K+szChLWIXYRqM/S1YfDW6yHIlGGjn43FxTxqJwmQ4R3Y6RBjEl13XLssZpLIK0acdE5kY22s5GPk4doEVg1twXxqJOOG7sVmP2VTj9vYCPzNOPrkXAQ8LnNHD8vIduyq0SP2WOx0K2hzjiMiUQcKuHfZrm0I5KIvCeTQMSYYTD9iMsfQT4i+OJ4wrKc919IgsD9VM3SAdV2AQh4i4oU/+FZORnYG6ID2clKfKpfju3tEHKOiHdQDBTpxIV60ut/TXPJC84dj4m9wTqO/uXtDL+zd/WxrYkhCr0bIKb9W8EwtajaJLP0C7mnMjYu1uiiawX5al2CqKS4TAKjoA+hbrKSi605RBjA95LJPpLByS1X648dXmriJV5jmChH0nVBymnd/hcHFtHb6pc587VXmkWZwxjESSlf57yvdtswfuP/bumugNIBnxLRbAtfzbKPvK5BCx3ROklDwgTU6GhxqVQUviUkwgaaNZ1MMPNrxEtaP0n9m/KQC2ceM8VVqNpgM9SBG4veJQgIWHu35owfvEuwUUmKbZSU/afkw76kJQFXKRXUUzbs9+Lf5F8NO9uowXLZLYphatiswvbTBlD7guDAgLaJdjxrGWQLkNtsDzDFL2lcYNqgp0skE5UT0TLx/Z0RrSBByP/Mr3Rd6A3KxpUtViVY/RUDxwpvMZQ8Mf0oTgFE9lqKWvShh6wdTuJwYYoC/A1mXVbosOalhUdAA8uZNHVdp5wWJEwwvCBWFMmcE6cz5hm6wkKucyvFBKruI4avNhYeXLqe6gWfCCoCBcrujua/32YWaxj47ZCWHP4CbfQa0JkHUf7sOgVNuW5wraKqWIm6XmepVL+zYamE76eUSHIeN930fdVYU3Tz0wRdfCGGEH6Tw33pxcLLLpBtnL7LHhePcjsoFuLYedowp2YJkOHREqyKjN0Z/XQMLlXZBkmyTs16F0743xQtXNTbtwFacQ8I7Fqej2mVohrWw+tTxvmGaPPLmVi/XnejSRTNwnIxEgfhzlpp93V4/4XhZkq3qmftQWaFCi6AldQOGSD3ISwYvFSFV2fgRl0t9/ZFTAPxpAEKbmhFGJgBtHBzMvqjceDorSaJRqc348s2ypi6aXo1V7bbR+R4WCVJRmrd4W1sPabbjOmeSPkJ/7B7ZmSx2ddQdFCWePgyjrjX7IYhj0tchaLGOM1V5UpUFt3BEn/JDLAYpbHe9ozDmL5NOYg4MEQKRrbG253Dqj5vKPm+pDoEGF5kQy/3Q3k2TrQFa11ZheRu8RrBYFkfJh3QtM1qFDyFqbHCIZsLsPyGUer30Iw2Cp6PeVQaibCC9aM7NByQ4A27PRN39zblBJt3ZJazKyjpuZ3xZLeW2xC0kyGUTSgqFNzT6cLN5yHKAkuip8SAwgIFKDbMG+fgABEVGlIwChNh8i7OKjgy27wIgYZ+DKPCI0/RdCLCcq34Ke7YKpnanc9TppOn/uMhbIXExrpld3bRF90+VZZHwAPahpsMqFLZniURvG62SVBg6cOdGp0CAivkOty+k8rElKwu5uT997sqQmEapRz2n7npjQfMTFiUBZrDBS6zG6bJI7gOsn7v7vNs2FL1r+0X+4bA9U8xYuuCldnQ7Q6rNwMq+y/h3PEYvjzw8MTm2RNjWsI8+1WAcOzijvxfzxBmmb7WHNX/MkZl4pqdHo3CfWuT5l6bFZxEkE8QUni3KSVlEOsi7l9TQW7+8ZZWVriBVirVnatCLt5pCX0U6HrsjUTIcSCN2OErzhACoXt0ELdfYEZ/bPpLEKVFAsF6N5yJxV6AoqRIo2o6Sfgl7urRKZ/ddUuQ63NLCdZavdh+m58LhrHsRnsHgOrwhFW5pRQFaPbdygPlR9sEMFkLG7dPYdzul6Xijc3wWraoQ0tUa2pb6CAQmPDNN+blLRVv5mgFA9Qar8f0Po72BZNvtBU6P4Vt2otf6NIRli+ujCPPL6VfFl8oCpHPlq1xP/JlZPuPYf2oCS6onVFvCbn1pOHPPzH5hZp7H658rNW6Hq3At8rvw4plBOKXOsNZ35OVfnis1dMvC8NFOFnBuhWYbungl6t0ca+LPbfsWK4lDuLZ9mjPoMsdoXrIxGH/m7fjwWl0OsdGg0RNelzkQ50rakaPuCoMBn/vrbddaCJKcioQ6HAz2uRLSSlPQ6MJP1tTyJL8khreqbvDX4dRxgJfQE8WU6BsTCZCqLMarlp2U1xI2+JHkopRTxxaV4AZjFdwTYnzMRremd7RBmCRRgR/FL4NyZcJhGVw2c83UAeWq5VVuyjSh9WfRUUoy/cR87/XiIxX9DSLIAbJVKRaxBf+KD9uhrEic3QuP14PKoMMWA51OHAGl5LXjOWFKcAHMMkyvADZKx6pRdN06026V1whuFUC2LIvIVwj4r6NToz2/gXzqoG+bvuEyvrYOqP/OyiS2paMPD4D6v2BUjl0sXITs0lZMSKXuED5E98BN8YJ9B/h/r2r1hvVvbr2p9IecsUGrqjFnCf78H7zrSyrfca31y3NRBX4/ruVF0DpjqEwgmc0RzZLH0ytfElR6+64iNxPQK3Jdi9LaY9oI0kHmMkrLjt/jaTYNhv2I2Tr2twqMfEeeZIE/la8Qe8aPwHdsZDBs1p+E0EJlXLzCMOp79pbGsTmhNnG3viCrkWkjMLpzxAIQCP3l5gY4mCgz22RmN/0MQAUYI+an0wFXhK3Zmtz00afo+qUwb1J+pzFyexLQGNqt3NLyzf8VCg891XnG3LyV3VdzMdfrpYEMsl0mIWH24yVBMsc7WEN1Ll7rb3fJyIyfl7tRNWMFYRD92mHNa/VUuBWZzB3OztE7W4hTyQwrDJzkwkFpMTwhWgavzxHOinH9MkgxxDcFjwHVtOctkf16Bs/IaG0pO03Gs6xJ7urK2r+KEQzxaiUQmdnEcLeEEjtLBJOuAj9ztlgRVMx44fY0b2zjrykZiMhBtJPhzj5uHjw6Z3Rz+Vhgt8DN3RH9KBg61UeIPrfhxLdr7EPqWxPOY7YAWC0excGRxA721QiAmwcLSjPzy7tGzodIPsW9IztdGNGJeoqvtfekw/Bx36kIvjqbcR8oZMCndN1aLsStqeB0Mp26mvqzmnrg6vG9xk4bevKNtAwTRcT5BSWz5ADH3KWlvQKLsaEbULAmhD0EEStm+jh+X8NPXEh30VjB/qOOTWTYYBHvgJi9UFCiK/HYAxdCJzMpOsy35IGxkkOeIY4T+9ZBNZsWHjCOaJrZLqJHQ05W5ZcFSRZ15YJi/zrsnzAeY2whJ/r3JDaPUlESMTLce1Utw9nngTRMQvGCvB/Xi97kk+FSVmYl1wepeRKykWRjhDj3SC5A0cnR7JpoqpX+yoKOQXHTJ3DkJs8Gp/Kaml9wbXBeDcrF1DW4ooISq9aphZFk0LionZNFGVVjFiOSTy07vbwmG5YijPZXL5l+TjtEtqPc/hnnq2AkAhAmManIXYGJntJdptgDVzXWc9kFtvKpLb2wr3tFOUCe6aMjIxhvXw4NK95SxsO/e536dLDMJNZFBbSk3iM1EzduzrPAsYXHzx/KOaYL3XPipqU4je++ilJlJgwZ2Xft8+AuReypJbAQWUwlMeYIwv/CpdgK0ejrr1J8/obZuT/ZyMJKCFMNp9are9EqCyHeWlGtFlkCH3eDrG+6hP6oE9UeldLcTc2pQInUsL1zw22aVGmNF/61Tg/uHcd0zE/dWx07WqJNINfDUF16mYL5PBmKf9cQ229TuKshWx4oLDQ+myu5ZVGONwJUflv112e4A4R93dfiU90KbiviEUVs+hxOC+823V6MWX7JaJQHDYcrqfzLnK1se4mM4H8nNgExZXmp12SdBc0FNi2MzmqBoK6GjE6COw2pBildeb9tHstcG8QlZiVtzpoUtBLWvfeINoOZq1+LTRbaT3PtNWhVrm69goChlUBeAMv+vVqB4wnbFotgdm4WSpDihtQXs0nnyn1UWUYy9Bg+7PgB7nVZIExfkBR1OtvpDdBU88rtU4ZvxxqaFyvoXcEBy99BGgLOsfjISm0SAXFz2H5whTwKAKyVFIIp9L5SYM3FTN8MZEyNF0qbY0yUN3bh1RQeJVe/GdRvbShQEfjoB8EXwNzOZeGQ4o7+t/cnYWgW+AfNoGadFNLvevTWtyLC/F7UI9pA5FZB1lqxtjRM25J8QWb7f/qfM+Xd4hdbyIPsErQc4LYpGmFdAUTdQoxfHJz9G6+wm3xqQLY7QaXCWHX2Xvwz0ivl8Cr+eLJvtN0OYceR+E0hR6NUC61ElPB+gwSiC3bSN2Qpdu370Qbs19z1jhgMpZV3AE1I9ZWD/+kQiaA+OB4O0FCO8kyaWUNxYjoVeyTdLMBHpkcqGZaO8tB7efqvmCdUBHtVKwFZEP/Bmv/797O1knfvMLdfYSMRpwQfOmCGh7XiaIlmsVG/NmyWlfJg3mZib4moKRCJj5ZtJsWrk2P6KnO9xjypASKXr1Ud7WIjB76/K1qPl6wVlCtAPaUhWKv4D+UwPeQISi0yhGNAaCewuhiCyfMobKqY+6OtLU5bgv+SliuYLAZtwi2VD4IdFMrFHSPNF+xvcNxpI3lbgheywUiyxQNhtGQNWDG60AjvIx4mvyIfV0L/yLfBygSVqbyrCCpupzDt1UgYwEaX5yn1X4zVAHTbZJbjtwKNfbcHSLunOok7jCcwotwIThK0kBmDG2wIXoZ0fl+SdGVayDP55vPJYLykXz4ulWJ8ubbEJ7TlaQcT1MmVdE/cG8DQL0bH5F404iM8+3LzfQn4lF/9gISVG0kFJXCo0pvNBXmQXg24IAsJ4WzVJI210SVmZ5cf8FvEOkWDwsNaU9mFmRbfgS35C+wSBF4kNSfrNYc8m9FN399wO0HU3KGqv/spGRo5MnwFDZmJpSbqqypmmS9XGdf3wvPuo6K+C0QxDST/7K7BYead44FQ/WchmNzd7tgeAJ+/xfOq7wjo4bxya8ZuuliZrqEA2fkFqcJIdWlERJyqRkfqK3b9+NFlw7mtV8+GZiDRNMJH9C1Q+x5+NiACLLa3MvA5q5jdVrIKI+lK5YS7mzKybMp/GHVgTCA0GpZGDyAPEIkFHTNZXPg92gcN3bsYG/SVxaCZvMdf/o4/wMtDgxtiRbttSaQN2pxf8AkkjaUeik1A6WJ46Xbw4ZlKZvKwA7SqVkwhISxFF2tp7uQlgnzlWDvnB8cb3v+nzG77SprKzIMXPQgktzobEVE0Sd9qcIJWlkQAgEXc297IhywQ0EXtxdnbrzdhzSrQOiEZQHctLvyfhttyxiRKr1v0ZqEItZk3UG8SS/a2IuITeVMgJImAwrWkLvQF1jyujYU6PuYqk6eR5uxKzjKlLCohvp3HRL9pkGtZRp+ZSSNDfUT6S2QeZjNj1dCRByygsbUN1Vz8VVVeJJnl7LZ1Na3AVxxaSOEOgmecdnKSW2CyTS+umz8+gK8xAtRLtSHVLcHF5IER7G49/J8PzmQoWwsnZEnQyvIv0eACIcW74xvRuL/DFaR2fqAzhYMi7v8cDaI8Q5FkL174lBimUqJ5QtjgSD2+xficr3WEF50pPeb5mVwO28yIRTDM7Y2aw94v723WWgXIKe9Y6m3vMc53yoAUzhHKW25Y4pQxMtv5q4E448FXNZNxHZQ9Qg3jPaKtQJ/yAM3OFhlLrIjuHPHOtelxhBkEFQGqRP3e6JhFWJGirTypV9vV7BVuRgPe01YGS/QBd4xnDsmkrrExI6+dYsn0M/A516PCXFI6r7qXhwpxNPyWv4sQpQgUnmAJBiJWUFusXtSgFileMB6swoBhcaL4NU8y84nr6mjZQ2ixQ0vR/w1PA7GiTXjKUN6QKZWUK7155WyFnJGOgoq5+phz6oLhMraXwDE4Dx6ijDvUuMp4/pM7c03U76qk3Gb4zgMCCXQBc4QOff2yMYJj0ohvXZqbbsUKVCJ7M6rCHFGTcfIkziGTHgyl/ezs4fNpTJY/BIOpIFLrQkWz4HULBkfJOREDwrxlbSLzooAvNeLgCNRXHJOFeuWscXWwTWtaURioCu9Ez/tJI/QZs5PLbcUheadRtP1dqZgAB0RMJ/xehek0IXlIl2QF4tQNXHXP6Qw8PKkjFqlxT+hlQTQfLaF7Uwqcv5DqHZWcWgavSJnlj9UFYchL77cGmN8fjuJsril1z8XSQK4VrNxEbosrNwGfIOSzNk2sDuu/U/Oi6HdoWN2aV7WXm6Nm9V29+fdQCpZzzGIK/pGjQctt5VYr6w0jMlWrP6RMP2JLY6Mgn1M59gNVTPbuoDS5Ce7x0EqfMYaH+pWfhi210thO/W7R4X0k0PR2q+FWRl/vdm5DdQXEubBr1gh88yJnxguv5sNMErNu87SYRJcJtrKr5G8EC211EeEMn/8D4c5TkBli7b0WJhATPU4zptKwqnsdLZN9Ejr5ayWbDDtvHIKAJaLOilj2KHEWd7aBJ5NE8gqIFJuvpMdUa5At2BsgGLrf2hmRvjEyytVug1HbuTnvbMeWduqLfmCo96FJu3I6iEmMr9+n8DGP50PLb4/QA3rZGRVmAtlarWMZQ6IUgsPSbc57VSHGH64A6Qam6jxOoe1NQimcyPq1vLhX9z3iTK3gpzvfiz5uQPkNHTzExFxLHM5GP8fvDC5u1IjqJCLEclb/eG03TLql0qVzFlMGBPlANzC4gPySFPIhj9kAKMAqJ71TRHlMj2ggf7UDE5hYIyF4UyLVoX+Zsv91uQZ3kxEV5dS376GNhSYeFaGNnh9DC9nw/oGjHaQedE5hmNQQh99uVvn5Ebr1ihj34BZba0TXE0WJtYVdmcKTmSXKNfwgwAZP6MxVVf2RhLORKfMgjlWBUXeS706/oK9Pj2mvEcwH4EKN/SuinePNgCieYUbob9MDyYR+cP4jg09Z24xUwH123NCrW9na0ne1f8/3WB015RA1DSj/ibdGyUcDzev1SCa6ElWh5EUSbsTd02IHapVXLThjO3ILslPleEqPUy6smyXAMNOJHYio1Wmb9wMX9v+idT1aOi05i+naufK71poGSO5Unwap6D9Z8Q+GCgVGYzboXGjUl6XtnXSrVUjs6uGRaglOJmNarPiaxVSDuMn8UeF6p0FLHZ3NKNUXeAb9DKwi4miH3TQTpFUhIG6RxgP4NB0nRw9VX9u+nlEwwZMq7lKYF7s86fDIwzi7csdHjsfgTKp63edQxSpjxDs+wpS/0kSGjKAo5qSNrgNGVYMH5V3Pau0Ci8E5b6bR3BxELcw/B4Pe5SK+SYNQvhYGMxSVUmq34nJg1OGK6cnAqG73gg3RY4eYuyaXTEcPrXHuWaF4GnHUYJyoV04dlRkLuJeJ5q7Jsm2UJZMplDFPgq2sJ5U9H4xUCeEled7AAZwxSyOyeJKsLn63GxwqnQkE5VKRsru6m+eOHcVrL+/yMeVGJVkbDdveRELaSgmROw4rk7P+U+AMDfrisoegpdBzQoMbeL4Dc3pkhB0hBQCTNQ0Ft74ASnxc0nDlE2kbhAXKStotFN/GTvDMa5Irih0Cyw2gCVD5gwDGHUkQV2rtFkXRuMhdNsQ7U/+loKs0GOA2stcHThDsTn/LHYrbOqkG+JGVOjtZPUqAdE2tL6qAyJ5CjyOipNynxZ2nQUZ4DgKlByDGwSOszF7g7d9/CzHkg3AwgdIHCM6nnBiQBkpW+3lDBDQN/Sby92G+BNmWe8ZI1hmqC8Ajps+GyAt/+X3/LDVlHNVzr3vbHNhJLbJxw0RxziX6E0wZWQa1GiHCLVrCo2SB/hFjsLyycTcvaU/ZXi8/48ZyCO11L+n+mRLoh3/PnoNIa67lSqO6dYdLO0MKZD83PrSzCEh2TssIhSz+LH7sWIjJ4LB2uNToE+PP7qq52q+dhgLppZI0mH5VQQVhRqVQwNdxNp8UEKzcGMcsFpqTNY2zSbhwsFf0qJoo46FM3g2wYWJtQdLfOagsNmAt7SrmoFkVEoLGe32innkry1QNB7OKPF8ryRqFWJ0VRD1muWaX3sprl8b9iTiEUSW1XwDVrWdFzHpCR1ckNMaqq1RCQ1cWKvKeTHLM5MynqRO3lGD2wny21xxnJJegjVuL4W2ac0JTWxfuVr06R920Q+Zrmzqn5rII+fwAe/XLc8aeuj9EYbo13vSyoWBpg6RttvZTWXp9TNpqPTYKGue0u8G00obg21iko10kDAi9H8a99bNAstJZW/LOF4AR2JgjcZwQBqoYFtuNUURoyPN9N1BYot3uDDmHVi8WmtHPQuiNr/qWu/aAZFu2sH4Nosx+7mVfbQp+U6E2PX8vK+rrS34zuc6gA4GCFMrwu8nUHXROn0DZjPoSpKhHJ2oB85rnQ4C6Sxjp1yaoUM1a9MYWldvPy7WdFXM06sjiTe/nOB7ry90UfqRrZEy21UjDhRH8CGdcihZeucRx11suPm/qjj0Ze7/azphNCqLiMD6j+X6DZqLQQ/uRTdv923du+llmvT3mU4jQobGCIkyFwkHNtpenXMDvW7RcexrfiM9NbS7zYq3gbwS5rkaNRUrQeCKSRMYfodeVaBuyvDVb9H6T8wauBpD8EoJB5MSnz1H1MwD0FNoI9HBZUq4r3TRr1hzC6q0QI+lIZy8Qkozw5znXTlsjkDStjEPGzPtLSXOkPI3essGoPjTf1Fu9P65Rn2qpQ8ZEWQLmz/x1zQqv3F+LZTUc0Z56cdt76jgE+8UWz3nVslDce43LDHGVjT8/NPFTsNsbOBuf6KGk0AyigrK/lgLy5NUmTPTT1s+oydq7qSLpqawcR6igcSiHjrj3PkcEWJDay4RXKIlF1vEO6xv9TySUzAcqRxcwTX0DPGKYJhlTrs2m12JypIH8XtqM5nOa9I81elLyBE0we+Hbb7zIKCDUV6f+WdcalhMxyC07Pt32Q52xvHTGo4sQxNouTuQnk4rrecfeRRgAjt1NPITWUwfsH3FWn/4Ha7DaD30idOYskh3uBdtS+r7FraW1IrNRyJ44eisbMpcX0HSFRAfJ/Ekymxufj72dSO1ffF7Krqz7555OAcMJAKg8fyZRQqZjntnm/lbJgUbee4NKqM0uOwAEidH5W3C1BfTAKIg6rte0f43pzTsMR6UOhe7ph6c/nFyejnRjmnmwcpEB4SjvhRDqirvbAFAAhggyDpvVNW2TNw4zkgxe7hUidxdKhNVy0ZvD6ULlFG+TEJB3Cg2dkvU3DdknXsqxWAAlRBUbA/tU4q1VwzkF9UDlKVbZsGjkCbeCOzckCTbrdOBB9Ab3qQFCDqR/7vQcSsPuTcs92bfFsxvUeKVy+oC2RwB4HmzEB9ZUpZwehiAt2JSQkFos69Rjqh1V3TjgJ/WJ0xOWzinhCxBxzbMjFqDaWZNHIJb8KDuJgCXXCBXzn5ImIRQ2vQ3NhxWvvaGpUjlyvZChdXwI2AcLX1d3I5x5OuN0l4pc2P+tG0+jdY3UIjOBupvT7LLBqVfY4o7hlG43dQAFGvCxHh9ZQ+AZIZOQGEJzMBzQ77I5+zapriF3fFVMEeao1RsCKLLyI+jYUj/+VS4c8kQKm3RdszyXWf/UNm0BjGLMofxd9KvtihXB8moN4GTeeQA9sLGQNwnFLhXk7U5Ck+0QIs79mxL1MQW6BxeGdtkh7M3HaUZd5F68OOX+1Mn1hGtsMGLBDXmGFhxSkPo+9TvP8pBV9rn8WULvysKifkHz7m2W1tiIKcXfYFL7ZvHXvPL48xmTdkC8sCFfcBp6uVkXwpQfIQUoLVQY1tergvxAXWCQS50+IFkxtr3UhaqFCTNkaiYSAk1GvzxLMXpfMACJyntBwVntwDToaXMscPDHdi3wR/8vz5+CCDzuiEAZavfKC+NkSqLQ2oiWkR2X013TV0OtGikCfMkJdq0szmjWwhyyKF7+0ucBlp41d38CR0WiVF3fDkYF2XKwoCjln+xzpByU4gty71uql5aVIqwHWRClcRR2o3S+B1flBB9H9SrbOSQR9Jl6oe5lbT79d/Ou0CvAadm3Z2XuVyFcMbap9TLWZrtTPH3r40odbv1sU/1K9KXdPMsew0YEv0/yMJ9xE5xveE4bwthcMIAusqH2e8/oVa9EHyyyCid22ByErsjtzaNU5128bCxFCbFaKDw2PYLDicTQ/DNF/3OyWielMz26JsVgUl0XxB9lQGE+7x0lc1PbGOqAcjO5arVNFlD8/xbyBS8HaiI5bKHA4ZJiVRfFGUDbTwqIj+suxTisDvm2bsXJNoHX9PoX0SFnw6QO3INZIU9nC3zrrU4918PBnShVzhgiFwoONqaEMbIuWB5a3XLguupTU2nFgAf0UJaGtPrlJW7cktE7CrNCcvhaxQW8LZEHQ0c1wh3KbPZwr1YKpPAW+e5hcNKRyqiNag6oqIrdp1N6kF1CaVxyMbbuBJZ+xj6hKOuf7WEnFAxfGAg+2KmR5rWhloNdVQnVWVHzdgqCtYk7zT6cI1NcSOS1VqHZ+1WHmNkC/B4b7HqLbS6XFvxhsgvsR/WcOLy/FVk6yj5D2g8Nc8FwdxqlKSnDNpHFJMmSQDx6JG0829S/KMrNFypVEjeU+EzMuuRr1Kt8PXci9A3MAq5STYqMtU8ZOsuL9buecB4iiP9xdA9b3zyhaHFW5hrPGNd942Cr40jmLO0E7WZII0PRdbNw/dUPhLKsV43hkp2KvcZ3ivNq2xlq+FyqaGMMLuqZs3pT1qut0chaWXHtdJFNAFt3a7zICNEFvcBG1cS+/h6sx1UVY/PIoHJe7lfAFFf7JfTJCMicHFXW2ZUNbFNt9g95QcWSLJW2Ub7EHChUdiAFzYDjrht3xxnk2INUB4poTmBjKOdOxHjaWB7OKCQFraj7YsEIU0H9vpSExou+4KD24KPkPdHETgU0+jpgvpCGcRoaijlL71U3sJEJsNLR060lYGmzLjLurqO1mebEX3WZtDFRmH8jK7r8HLEPhEyYN0g3Nn7sdX3vmZVefyb1GfwgIbPXzML6QC9i3jhjvnLKrsIu2FDMa+NBKAbY5qctsluULs3bUtikthyZLX4WvAY2dh7LRCqNgZGORfd9oxB6hWrMc9wF16mgvLrzf9QrbA5WyDL+5Xj6y2OsSvHvZqf/ZR/AWDyUnPYvg1xWR+YFmQ9ghLJM0Jymt+CjAWx8+yfMFlhSEV1msbGGcobM+qejnw0iOmDEcAJShMn6EnasEOkO2uoBUWs5sv3UdLkuR+wxownT98lGPolK3wrhpjwAVPa6EGpE4ZDZfJiSdyZoEhRbso5KRR4KdD4c/BS1PO89Tsv/BbR5YERXYcjoxqZMNOCCVZId6kuUp5UUhYcEwkBxFt3r6iKdbgko7RNl6IYT3lURSfoOWg6jrVmyzzUWWqHSb+vR7QE5M2HXgQjFlg87Ap3IxfliQJIQxDGFGXciNGvxAf0jTyDa0uXrtN+x0IqneToKUcPwXgwvlKxdw5us1tctAGhjyOYGX3uJJWt9YEyk34Xl1/LH3mkcYra2SQxsyHF5sh0hdGHWdgeUjvfwOErSZtyvN6KXIeYve4SHbzDj/BPBjDr8aV+INcuH/TeMlP2wDZm/r11DCVAwvTkL4qPL2BRCpunL5BxDAZtp0oKu84XPHvIem4O+mS9A76iFpT52LHdBXGcjicRwTbLKSNCwSGic8hsPvvxOXaeGM/UPs3cJAVPoiiyUTZrdbwPQPUBd/AVWebS5vmvjgrFrEyykPMgZeHaF+SSfuTsXDqRjs20crLPK7woopVAnMVLKJKPA4zgMetKHCDw3Fd5JDC1LaXClcyxTxxa+DbloiHtFssQRmDyISW6Y+jPNxP11jeVrxFvWSMmdVDEuMB586Y9el23j7UJgvRxiZzUZTtWMlMyDScLVCbcYhn9YjTdNgcuk5Yg9EKEz6HHRO8VyCCas+TOcXPM6ha3BDGjSTy0XAiRxIbME12SeyJD/z7db/nRIZtO+Wg8mJna8rYD61AWYCUnOHOwZOY0WEbyLSZ7Hv2NhbKBiByc/DF7FVFB9uXfQTdO4rFaw8H4zUdD+rRTCplf6RJUDr2S9GgikpMVckFlhP/OATZu07+dnCMRuDSH07MYm8TrF3IIHlrvc5xoaqi2jgKVCFeySSxHtbTkr+H9x26GZnauleRjBmm7QUOdIVQymcR0lZ+wgTFibjPZoTDHFbnjTfLX3SaJpKv1WkLZV0/9q4vaEYgOGVg1+MuSLEZmg7C6WgLtsN10ONft5wHMJukECxIJ1FvZZFO/n6f3smOkN1rHBLuQKSDJuMpDH+jSH5BVv5Vf6iMRXNNyaTJb9k4yVD52ymDVRMUX+CLTJP7Wmm34ZmcNWz2vb2GnZsJK04ePGS8YeQB26XloCter6EkaEYyr27RppG9KCg5yK/9N8kiyDGAMR2oIKE+6GVIadYJSUAbj8TwgNuoch7le26qA/VH3dI6saBa/vnbMwmf960MFk23GppQ5G//i4kYyC/qUzelTlBn+x/0OilQKgdgiCXEC+21P1aJ068OVveNNWQ2Ut8p1QJlQOQVjPHLRAMf1QQetBU+6Gehhxm2cUwueszzCqcSyN67U+4NajN6kifcSr32z6UgXPP6RBo7lWYW6nEyH9Rb3GRZrAkopxcxJh0UwS65dJ/sntcjQYWLKs6BQj4+Ri99VXRWWW1wApBhXXuo5tsRIU8T7moMe56kbLotj3O4zteNqor+zIbLTCaSUgzX2Jk+pvvK9YuUd45mkrjNrsgDDic2XnUxyS6T+r1NOvP0MkUvjq8wlr66n3nKpK6hEQfxh03G1M9579aHUo228qIm1KUxwlWku3409e4Dc3xxkY3t7+xSstjwVDTsmGoMEfOpJtMSE70YH0hfXzes0Ak4f0qaKYoDjWb4R/ZGKqbOO/xAvyjzbwyM/xD3b0B8qsW1qmjkib5/JtQ8HXy6y9ImRoZauO79xSLH30Zc7AS6sG10jWHzBPMgKGdkh8BImIDWE0HWX7usc53dDIJ1V34D8MdqiJ/sUGSaRTWFrlR7Sd0q9Q9R4nrhMvmeACGj4f7aQbqrzu/rxSYLDAylsDaOl7fDqtUeIgMhjGtF7n2G7IxlzaLJM7flyHTyNQEN0wIHbdPOXllfj8pNKE2uTQrY5xVhzQOkv5sKDnO7drvHSlKSXmdAYnZq4FsQp92CjmpNh54lvDi2/+1FErqb0ggt4KSSyMIzC8UL4CMIYQu6mjji56hT/e3J/LIP7jSzrrpNksho5kh1NL/s9YocKL9lRoK9M2dBP5+cPcbr0QPfkBwHIg9YUT55jaWKCi4VUyC5ibQzPVJautmf9oMvU+D9lzHY2qcyC/zcLhwNXNfuJq42PQAtDzxeSrziERysZk5PRduronrwveIEFIc9UBzZyIqhiTp81KRmIE9vqLmhRPMGydF87z2+YWlkWMElaMcCtED4xHQj7mKwZUVQDNWcrb8p8WHJn35dFJ3adjO47/vnEEUkRAtIOSah13PKK9jAd9qumWIchEIIfwEdqgiXnXVMdVemfUvHkoH3duPfUock+dZJImrIVG3/2+dDS9WpZt0aELFz63Srtsx/vbh+6Z5TRZPKfU5KO9I3qcnOggECp7KIuiP9iAT5MGV0baLXOPxQaP/v8ovc+vs0tgvNurTrfWUvxD/RMFNBW9cxBc199jbKsI9G8h9tzU2TdCC2I4lYvUTB8GVkQRqbgw+uMfyneQSNz2MnRDM6iAc7zQLqV2mQtP+EhVesCEOzyCFoIoqO6RmdVAsBWYl6MZIU0MQc5vEprzS1cfm7B8Hxokj+j/MjU4vDNKZbfKViD4UODRg4QBD5EHthRA9drWozVJ+egUTMdbcQSweYiEXYC1tV4DqsuDwzEe8MOoZ0C58R+jVFZSIofMR4s3qIb7zOkRdVCSxuwqjyY080r6tRPy97zpiFiIX3dNdMwp0kAeDrxoNe7glgJnxVLI/Qxn3vnDXivYBW4+3RBOoDeBUoKnRXcnbt/GGYwPBHBzMs9esLbd9JGRr72gPx4G0lW++RjCxhzOAQe3qASKMiO6F9KH31VTrGZ4dcWf9ZPS+7OIO5jBJe/PknUIRhT1F13bap+VnFyTzMOqPfLtu4jW4kTI5KZeM3D3P5/R4iccKfKXkn4BsvA8WkVTyv5VWi9n8J2aDb/CWdRJRMPkX9xs3/04c24c/UqumjKZF1bTh6odRUz5yLFLeWTzGXvXRB29ovpPvQoWQSX2qMX+X8wF4TXVFPgAtbGlJTC8JiRfqz4CcirVPj44mNs6BaqyzgKnmliOkcIU71H6wYaJqVJ4qzf3yyO7oIhOqGNBAIt0479/7V94DieM4C28JMHHw26s5TGNCMCmN9oawQW1vFjL3NEaF29VoHGwA7i9SIjezXoCwDiFZ3xoY8TyqnPLRhWs6jdNDvQbDV6Nn38cCHyre+0NJ0fT2W0YXUQijLcnlT7KC3ga87sqb9nWdp65mhqOshAhvDwPI4WOr+bnDK+BlKzzVlfL2e0rFXUvIdKBT5p0Sa0H1FVlw3ttxnHMabLVyPj3uEoeT7sOhgLbUFRtVqtVItHAjbNXG2wEDwaoNx1ssEQsrPy5PEoZPdJ2poWhV/aHmwZ66ka2H/yGoG8ErcRb5JLznlglLA4RukBE1khTvcD5cPlHQZEpCOxNyFOe/LSYYBGeBOYU/rCYC9UAPDYZfQQNrhodLhWe3waC2AHHEEfjdOK2Dik0N5udUMn4f35YYd119qgOceQ3Z88lR0xDqTqYKniF9woEnIQwcPb2WWHI1qHlVz8jMfXNXhq3sINNtmq9snm7zgmdZ/a3r3tySNN17ef29cqN1ns8ncUNfwuZG9LGrsH7Yb5WXINC2Mxj5xY2Y95DOozOsTcs+AKwZ9SwSRd+7KCPsOafK31MMHnc5rD9Q0TvyeZSBna+aldL3wVKH2/pv+ikCfDotILh8+H+M6E96IQR8vOxivb1jjfhkz0QjmccczmS4NHMqCVArnlfV8PDdXI6EMLkCrwEE6YExwe25lUpXKRWl9LMXTa2rRWA134B6YuUhyPG9Q+AIvpn8IMa2Rk5afU6xw7WZyUDhCOgPZPYhvHbeUl+ikpDSI4XvjYNZJ6uB3hN1ynW8Luy4UW+mM3NAA2rjY/83viq9nRCgpHJyQMtuNJ93L6xlyc0qomNi5oT3OMcCZewdV38VOSx9QDpoxl7/dhdqhkxD+SBRoH4bFParzJJZW4nqVasQP8rr78xd1uDEt5N1Ho0LE/dZFiJ0RPgVDMJOody+a3Ud4tizPBKh0SF+4L/CWA7LWqAilWcWaQ2Op8wclZpZJMz2fPXCDzm3O+O0C0urRMdhtJj2lNRbaRrLWZw9+856LPkBfpxbkc0V7Qf69UBMOzT2PbtVKm9gghLxbLVpN9pr1sj7V3hrO6MpPkBF1kdJVjgqIwhSD1h8rPtjaM8VKaePBerVO8xXi5YoCUlVtp9xidKhbtx8+zW2tjRCqnMhLymalU9rx1qbwYnAzc+vEN4KEipfcLNDIans4+3INRL2OrRoZSJl+PjXVLbFL1FFlrZfKFGeuKW89Z++eltbPgJV2vWbpQX5LSlkffUmpFQW/YF3PiFAo4PzT/7n7348BcyChGaOFT7wb7MJeP11h9PeGI0tp7lGNWS1mUrMzPHOcCdydCz23EqLYwkdRPnNIMYpA9t3xlvRg0St0HGTaUilI0p1V0jwHXlcD66Bow+c709dmizemdgqMUotOP/8a4LclATh/vO8nH/HqF1lwpZCeWv5hkYIFYb8AoOQKsvLw6fMkHFxLBZ9VXTj1y7h6E+4EbbFXtokPKHyScriW0uIs1m81OD5NDslJfZ+aCB0bNLxshHc7sW7GVtsE+mWDGUONPziSl6uBLSDNL4FE1I3Jv+NGJJAwwBzyDZqV1124hM5/tGhGc1a8z/E3csxnnrIicMB/ItYIpLvdGZtVDE/9bzDVyui+j4KLrC+prx2g3YVZ3Dt7wa8orHnWdib+MidFVGFG8dCTyYDLvT9S6XI61sHnWrBdLbtvZ/trlwTBE3VJArfFs0CQ2sx8dozYuMglnHDLb14+gXRCcHzuM2ZFZsNqI9Zrzf9cXBxULDsTQOMDfkYRQCgQTzmq82s/EL6rlZGD/64AsdO71W7Eay2EsmyzaTH+KYEPuKzNcUfn68SGY0W9/BFjogtTjSwJ1DTOjAYtEOF3GjLawnKY0P7QbyENtJpX2XGVnMDUUxCDj2Js6ujZr0ywgVHedI3YA8nrXc87Bz7aciZo6+yQFdCcckmHl7IrGtZMz07XOLbp59okuXKWgw8HOCZi8xGYdLz5+nBE/N/jNJuHDlATULztET4nTvdasL5ZM/YTHgeYMnkbRSfb9lLELSDu8I1wohlYMxwNR6Yt0tynQE1ANYIyYwvel4fNCi90AAJ8icyugGeUcOMmHj9PRV0jfTrF9ImEyWy1QB/osNkWDDeNBdywzOs8cusb3DIrXc+Q4UXDCepwNVZMGcpCTC6FTnNLOgVxB3fPVwR4YDWVIWTCRDP0a9pFTT+zrUZ30wtcs7T8xud6ygdwrRn6Huvy+WIDejSgIJrnujZXN6o7XD7w8SlBxGFXFiGR2fgEAQ9KgERW+Y/4VHUfEtAFFVRW/fKv5O0W1KbAy8OCh6jm+SaNlyzt9PaoR/n4m5faeb4kYnHfma3l0zIXVVkA5on9WPSBzMxQQEktQjewyJqfInrvo3+sPceQiyFubW+sn2EvqtsGF4a4Z2CGwW32yRi7S4g3HwNha0n76LKJ7+VhoxQ3PxtUzYAC20NjfrwwngGkPnfeb5F2/KlpwHDHja4wUdOfDha8VvMZEOlrYpmdw/TjqnWcVsIFPw39V0T0CMcEfzYc3Z/U5uhLk3jf0si9MNvSCsRHQIUHa49g2lsrNQx6b+9nvU+t0KRqm0pL3Ac+7l/8YNWFD72d4lWvApi92Z+Fa0+cwHBvysJ6/4Cv4y4TWnm2hKFwDA4xOBMjmPinA4JyWVByUZ/IZlIdVV8tGD/NQ8zxs9XE55VSP9+bME4OWLWGxLxUl6kcZa1AtnTjGtSAk6fr8W/TUE62V7NTZMsfxU7NlAAYU8H5iM7rD/tw9zbNqGK3E6axVMc+IzAYW7zyS495Xx2dA6m+hPLQi7e6bJXJH9mkfSfEE441PPuKLjXIr5JofS0lO39CTZ8eSCm/0X0Rd/7qdnkOHW37Ov2lA7lmsUVZKBp25vQVz7LLY7hOXOw9EWeGwswW1/EWwB0bkFS0C5WIFwGmbo39ZKO45ZpqACgU/0LqW456ApCj/Pj61decAfcu0yDMxFQJgyZH1afELAH7HMBXGwOuh45YleKGzqRl8xZrvU/j7vcLKhqM8BTemvHXhnFMH+fT3bRWnsjP3giSGpyQ5B9J+UPsKkLyy681a1p5HI/DCThqMJq90VpH7suiERemaTDZB2a7BoMxZ3A82VmlxKYvxdgXhd4Z/i1wAfX+4EY92lDDTDYbaKRCNgiu0yv+16R1IvKN5TuCMF16NqR8TMyGF5qJ4grdwSRjS5r2GDNh0T+A5M6nGbcPzUE6MMQBSyK0OYIynfvzxKs3F6nfRSMCeFyfexcHUSz2jsMT6VS2dgz0RRvdiduYpHIZlI07rCxNEup7nUolj1l2sTj3XUk9xdmv86pzc7Q2R54eCS5CvSqR8Ftye97G2ycTFIJP+mh74bcMqQS4lPLwYPSaeNeGH8XPL03B8L+FIyKNlNzCJibG50dCqne9u6vzho6HqbfrvhTH4gZ84U/4brno1jbFgLrStKxFTGYJJHG6ytB8Zfen2799D/wDgl8TgmR6NuAIFIpEFZVDZBwuI/erT41RGLt0MU0p93KS+CEU4ocuGP45xhVIXtbaRtTRa+eFlphoMnfXGXAvfWeuzN4kl5Gl+hHCZyKt7Kcf7hXm6tudhbZPaGQDhRwZ+gDJKj99IuOyXWvhC7ZJiLgL3OWxtaX9eZCcgyFVDT33tRnMhMR74ikNMOkeec7W2HQ1kqy+ANW/y4ifCsRf5dGtxoCuDMWnbr0UG62tG9I2TNEARV0rpfpUyc+A/tVqr9IUPgsl4RMt1db4I1beLIDzNSvxXX9MKDGPH5oYXPqOVjvLzpZKBLTKUIaKAcnK14/jPakoxlZUuq9l3JxtpUJtKXE1c5csIH+EzKChVFopk1xpHnJFKHkdflSJR4lxRBtBJA614XeatFKSznniQNAyAFcxaVnyBT0mG6P2kksJuFgziSDdn84YP8UNs5ilDvTVurQAtB+leW8OIH1i+Zlgt0QXXM3zZ3IGgmmeOWI2DI3wuQBySM1YbtJ4m/RUFNCzazo+MgquIyoUh2sS4o4QI8MzjYLYJ0ChZZutjn61pYRgjgmGnKmUQCzg8BIi48IGgl4hfQ4JdP47ypK8XbfGDmvBVUji0X6AtYbO+R9k/9w8l0Yobf4HIh4fFQO5fTWgWQOOPSqsJoYqdqxwRibHDY1Tk6DO8EWwuPN3MP0LWUbU9Zmum++A0DxT07uRqj8H9JRVFcINJqAmdhdwzXCUyg2Z45ThXKbl204IgX4SsjGm8qRiGqdPiUmFIXL09cXnxqlqFhdMrVsQzmJreRTF0f3QdL5A+RWVEzMEHsbX5hnntZfTSxwIrFBuZEIGN5Eeee+Wxhh9+HrLbX+NZXCEFa7z8OAEX0gHCRlSGiciCSmFpJ74nY4DnSLO+WWKsT5vwLjro2AiBjapVUTBy92LKhlWbksiLhfSaXmkHixQfzlx1oS9+/p5AehzFiXsvFIkAp9FvZbGXMlFh02zYG2wqC88zOa7Je+D/C6cN9JID9R9+31rz8D3u0zlBrwFsKgKdMOzMUnHLoTdQv6rnHv6im7qlUsysYUPUGvMnH+TjFOhqhm0cxCwwFia4p7Zc00DLFDwmNu81X/YNQLTW84IqDl1QcQm8Kmg8qFe8kMSElQbOzr0746A8IKl+2Se92rHNLm90zxsG7N8G/KRrgkGBRsfWOv7nKL+mf8L+aI32qFM8qzhnhPtQhVFTcAkZ56h2ct8LNJx8usV3zk0x9WV6Tub25/GlAjgES4fDgWsw0bQXEdqWZHVq0La/zhNUHENjUdVPptdQ+4kbV/r1oeYx+jOPfoJ2tcmEYEqy6j/1wWBsdssKTTOcGXtja86BBgNv7ZPMfTHkab6VhTA+Qm5VKB7m6nnV/TtG935GgMWZ9nznuOjd1zAQM1fdN7JAksV9BCnTVgJ1fTIygTpD56zs+QI2cUI1AE0Hm5GTr3hoqJUo0SE5ZbPfg0iF9Hfv3eolAdMsxiLWYWOrWFXZylzTjmdutrhn0F/WDoxsHOYPWVtwbGG4np4FCNLuXMEAp4jGrsuHEnSwZnFmb8m+buHtbaR230pLHQagtiB1rzTfl+eh6h2NcANrbEhgDo0DyoYLTPnzGNDiMohS/+5r0tE0YCID+lP1nuvDb8J8Q8q/vxvm1oY4gBifeTVcZ5BEwj+5sB8H5dyJAofAzHiYJLztZopyR5rxyFkp0tHs/N/JK2miC8ZpNgP2R7eIGnphPaDUuXxXvJqD/2VnwvPdvODR0tv55oPzCETeJ7Db4SW0K/nxjrhAXmb2Ju+gauipvIZpHIT66GG15eDUPOWFwWd6HF7MIqw1FmjvqHJj9I6KwzEuh9IHDBNd9mIXnO2Q1gThlHJZOoYkUwf83ZXawfRVwQB5eB5grzYsSHDHv5d5PfLNkUTyItpuGZ1Zq8xw/yc3vdkK0C901hrwxvOhWRKWnuW84NceClzPu5pUPibB+wNczlEuwbfInIu7aGCsX4YoCaaTPyXL9X1u6KbGZb9muazF0B9S2pVDx8yqcmVCGuRtPJ5Gogsa7WzcQgLT1pxVtJCHIxWFAHKSjluyYor/Klt+IPsBwZulmV57rxwN4lP5av3st5w58untAk5tBsZXde0HUynwd6HkHTgoHPSLvlvY54Ng8tAfX4fxJSzxGKw+JgouvtJ6HHRR2yBbJKZUsrU+m4uSQodUp6a74yTFtMW7lOsxcwrV3dH/ZW25sWMD4B3bUdDDLIcE7zP4/s5vaQw6KJS/VGYbCaDrcjs62Yj5VJnamtq7x/gYLLhjW9xUx/jwCa00G+eqZMBpJy7YcYtfJAuh03FsfmS9zbTRhXm6esy7fsnuI/IJ/oeKwsIBlivi3YFj9F7FgmPOP/1JGc1QD8733YTEeTLmh65NzzCHILrgRpYTRzZczRAXrQimOFYNcwEboKqu9AljX38lpfcRitlSZ4opcU1kFV/7fRas/xxi34rChzxvMQFX2C0zN+nf8JPHoDEJyYCFZ/Ue7InpeU/3BYKj1N+68o/+X7KD3WPVjWSq4UcRHoEhXDObpB0LVIY+tbGaTYzlCStJE9aPp8yQCIVzvWlWmNhl3P+LOsQOvpZZrn2jietKdEd6g13EcWwIilOLvepPYuhKj/zHXtUvwIw5874xzbb1yWYJO+/JI84NagMAcLOsE24uq46cNT50uGvFLEObHhO6GPgzGF05HyE2ESL2HrfKk/D3ln2VVqVW5+R1q6OfMzOEvXT57gHsix5B2LGyAnSBLMvZRuxv7Vgg7KpJRQOSnzRMFFUuz16MjYauZnLNdvcYlu7SuZMrg9IcHnnoefFmBEeO0JcxuRpM0HcfnDQPBIBZowsKmYBRemY3gvoVQ65pm/m9Q71G5KfKviM2Rs2jbCzPLfpHI0+iXoWODWvbZVB2G+nGyaM7/yPhsCT9QQo2pDHLgCDrODGSdZWZMoLCjdVVriBAReMwNQw64YgIZZ37fFwZr9MikgOnPzgnIT8M9JwRoxs1yOxPojFXho25WKEgKLGogfgCeNZCtgTZdm9kZ6zvKmPYjqffUUg2+wkSXZrrYDfrU8sczxe0bUherzB4+I7lxGXS6vW12AAzZcegpBRrzMx9V/usZ3YFx8eOQPac4MwPNbDldEvtC7NWPbkqHL/gUXxLxoHrotbswSQOM4oHLRb+w8VunnsQsMYHyCo9AVIjWzFjd7wS13bWt5WyDoyClakfJM8lly3u5wf6tN8O/+dVUDWtP/bIDDCFtWYa4QacXcAVCbgYYT9uhVkUnTMD9aQAQ5k0m4PwgefpGTjGNCleipspD7AtIJBVcF1O7k4JAFLiFYWP/GbWkDeJ4b9CM9kqV1Z+7eLQIReSMhWBdHso3+8jAm2fWWKsKltx9PihReRYElKtehwEFAA7kG2Qtio27otlta9sahsZFAs3yQO3feGkEXGIb3vrC1YXIn5UCr0esCePTkiPsqn3OjmMTEk0CN0bduYeK36ePpmT0tp9U9x5tCXNOdMyIX/Wnq4jzd9bL9J5d89FsLwe2Q0njNgXtAlaVckYhaZev7KPeRaeshAw6d44w9QiUQFk0fL62IZWdBT///A+xL19nONELK5hJPTNtUW3PkvLaLn9hJiVL7VXBaw/pXfyo0/Yh3yVuoldgTv1oDPBA6SYb9zK4temZvNfgNwWKWFLmxsvVW/OF2HevsqmrlANF7sylELa9kdOpowWJfllNTPND5UxdPLb6RUbhi66zcuaidV8FAvdC4UkR+IA6Ut814OLAVWEJ3g3jGBGzIgC84YOOVriRONO2AmwIB0h/mK7sjVKH94aIblp/LVyW2pEp08imyHPiiUuD7AyeJX04Zmc4CHpbNOQdmaGy2eswVquaqxH3IbAzKrX6A9FoNGu6QbsBXfrQWrkPaJEN4i3tmf1nl+Q3IUoKl9napTwnxGup6xWt/29u3jtg7P/8lhAwJwx7ZlGKKimBs1oNTspsM8eHiZjz3TtCGNShttL0OpXMiu0tiP71TqfCHAT4rteW+r/CizwDS9+awdYNKfx2Vb6kTiumKVxAfDPBtqFlhaZDmoLldSdZ2W9jTdaWcO+KmFmrG3IgZrPArpk6J/2U9wuweXJNY56/ggs0LldCeHM7omweYiE4SL8O4J6p2Y3A5w5MTumzymyiqQ3c4v3gIWSbdB6G9kyJzKTMXIu8psVGlh/m3aCPHxyjfyVJjnFL4czmq+FqMKebhvGmrjyLCUPwyLkgX7pIbZFlT280ZsT2U3HCqi8W1bWDKcjR3NyfBwzf2E7mEzPU+5hLuRSvfr1Nf/y6Eso/afeVT0h6+wI6A8w0c/K0OCg5Eb2HuSpLkoPVNJcYKP3b7sE4MO3In6REOGJ8KiHoJZt1uH7k0wQuWZgU2hPXrFckksAltrrJ9rhHGFPHO7ckqYZ0NgK7PQEzUg468UHnr1j7pOGRbnry6tABt+qICZFZOBnFVVYWLgEaReGIRIXb5XVVwp7lia+hmeF15OhMf/mfpW8gobs2mW3t4s207ELQgdyIq8JZFvuOE3W1IzpkTOnTkOrm5WX/fTrLLVj9KKTRJnZVlcl+N/zROx/vlzGHaTeJj9sBqs9By7Z/BnILWzTAIpHVlAOOUKZJ2CcLusWA+VHmle3eG0qlmkhKD0v3tabaiAL/Jlyd2+FrhK6YdW78Yp+PMzh1cs6BueJtdRVeagIILaWqGud2fsIs71EsKzlOSF4fh3LCCFEUpnbUgbHrvNdwu//i6FLfJ/qjRAxQvZPfMhFeQMrMvDO7yR4YglLccxyZizgTU4wqZtgNXccDk5P8QyIAH6Wof2ATp1+W7tZIHIWGhUhVseTka9cdQUeR2pOeelOeyENCa24+Abdxx8rXFdGxMzx5iTFwiAfTazb9BCm5hWhPv8WxQEl8hW5JJjX8paVB905w7AX+CLhePGEyja1hFZQoq//+HgJPRjPhoyPew34HGhmZBnsHjBCtPF1l0UjYfy+fQpOtBVw758jpQTONfL/9Wx5JBtgE66E9TZZYRDgTjrrEHLUL0YgRr4RABxX4frqrGdLFZDXuNR1Djxtcvh4PFIl1nZGu18Zd4A+6Q58YBfp6b2Rg/rxQdx1bzb6OL/fCuVGPpFLF/yxyU9aceoeeWtGRxdYcDmS5Sn80rTPVxnrM0bPqjgNxo+GHyeZWxNWYxDF1XIgqMBM2BvIAfS2v/hxo82XAugVz7L4TkOa7+wAyS0aqlPA90Fy5Q27PsvnVk0nygF+WePNiRKKdvOyJKbhJWuPt/fwpv3f2+7T/el8PsjwkyWEm6/TPgEcrAmJETMHr+h8a39/I6bG0hFdn9NzbikgbOb5VW5EqpKzs/rxQAij99g78QN9PbuuY2MArh6QvPwNq18Dk//bHH95nJ4fOIeImWTXdgMwKaLpwIMc+VXzSsNqk9RQ7/VbMUqiRVC6jReIWMXM37lJFTa7OXoMGo12CxqWU0NVr8f3FH76NJG3sQ0cDFQPqUEotPOzLQ+vktLr/6iIW87Y9ZKSSghLEpGTsIbvhmyZA7KfqbxGq2Gf5m1LhY2ow+EBGTYBpq3wGjCowL5dlwW14a86XpUp8my9ojkKUBcHfK+cXcFta3Nn1LdsyGOUYo3xildS5TP7iU/V0DZbp9Bl7Jn2PDAMbGkAWKaHNGlt3nOXe4ELKwF5QqRrY3kdXiQF7ZqwTY4IBlA7VpkbSM611sIMio0KFX+Oxb7VOQZmn6/ZH+E3cqNJ0Kkf+ivoeNyjbR2PRx7sjZFxTR8pnxnOKLFmdrLY8u0hHPMBPirSoeC54DyAr4lQlsGg6VY3KNqggIOdOFOfwtUge9hJaTy4X978ql1C1r2RMj/CBM2u2soX3Q6nQq90scC/Jo0e6jCdHTjJUjSiAsBieDq7cEhz3mUuCsbaXMd4n7Jt485V39Ih7kGwJZ6tdgsS+ahTQ/2RUzIpH4ygzxFpwVhTCvSYD7oFKwGE0fAAzp9fxlD2nc2Sx8Esq8ZKEVpS8IhtL4fIRmZyZgYNu0lpGJ8CWr3bw3C6ZQxnPDlSOu0+c/9tMuIanwfqc8wHUk49TXopp5nLA6lmSxMQqQQjkVWL8ekBQ9FR15KTJEecMEw4bxQ5lP3gCGzWWl47yj3k96m9x3eir2QHQTm5pC9CSiedwx6Bte5MIlQ9Fu6hQi0791NrmiUo1itLCEZI9TqECKL5ho+PT/lCIlMZWPJThjlYJyMSHAncriIFh7O56ueqi+vLlXWccZ1ds/qwlZTl0TnFEYnIz/sA58lg8OHZb3vPLjSZcyMuRg9ib/oua/OB9LVFajKL0f/m0Lp3eHHJM63TsIVeoz57SEJQqbBFhC3eF5MVpfCqwXS0+7Qolusq5H+iy5GjW6ROhzW5U+14="/>
  <p:tag name="MEKKOXMLTAGS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ANCHORELEFT" val="True"/>
  <p:tag name="BTFPLAYOUTANCHORERIGHT" val="False"/>
  <p:tag name="BTFPLAYOUTANCHORETOP" val="True"/>
  <p:tag name="BTFPLAYOUTANCHOREBOTTOM" val="Fals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z2dD7pS103gZfJ6l4USC3jqtWOPR/ue0umjYEY9KlLthURXCUyUuZbmGDPUXB2idlVQc+R1c0j6vNnMaKvr/Av4s+tx7814fW+hg3F090zVe+FM0DaB9EkeJUF7r/8F/9Acluv2lmvqZTUruwguLEYfOOIhhfMd7N57tzla9XblKGP7tf1cqcpL1c8SASMboSDn0FTtdUPxiHTzd2hPoC/qpdlIKeuDNi7SmN1wnGI5316EQEehdEXrkOyMikbseirXNKPmmad1TMEr9azTencpenmt+9Nk/0v6mFHFYTr7q7MiUip+2DlpTyrnj49qFeM+GsXmeulv2gWhOa1+VhRyRP9NgYTffs6H8SB0nyaAb11O3NEP8y4cd/oxgj0WxBFpR3tvELMXfaoptRS44BE8E9qc5UiC5es5lUDL9dAE9W3OlnV9ZtBYJpzaIzd/MPtsc2d2OCjKeIK2q9xU6Z6AedETNgKDqXthhH2lY9Ob53hvlBzo/s1LucTotpJXs6BJ9OkdxxCTzqlUvC1ekGL1AldHvVZgLsfgNRqQKBhOpbG7Hu0sRZRFybQaMoa8FLmH3nyQ4TJbpmDbCc/0lOof3eYRaGg09elaHgFXUZbCCf4QqAzYlyznqhoOO5OA3VVLcuqq+Pw1q3uwxaia+IaCmTvzzEG+Gml6U9TLZCJNQQYsGqiXtBbrGdK5MIKKvvsQ0uE7QQpiDi4CA7Ta0J9F6C4gT5WcmYBvBjj+M/n+Hb0gv+y3NUUDQaM3qGb5M0Paqbnn9m49gCzRXbAs5mwo6ZlPm1gDwCs9JAUvGdcaO+CGXNaYiDoZi+K2RwKakzlFaQdm4pArz7x4//FNEYyi8AmO79D+SoQ8J3Q1e/LtzN6DIYPQ0IA5Iv6MUf66njTHqpHcDks3p7TSyWOQp4y4XIgF/uVIoiEwY4ceI5GmOcSiwHhPlp1HzRrdZ0chmIE4OBybyuxG2LKWQ0BhtPPZeUciXkdR6Kpsbb3kHMfmVNBf9KDqjcfvIbvyzqtMBV6YJwGAAKuxg1+s4dzVcgLg0mEeKbwVCqHxVaSByy38KVn2jyIpA72p6aOBuIlOQEKcyTdVFpJWea11hFRLpRIZREIDWXH58rYx+pyuZAHPtGRg2RRtkpRXFc46SQbElbdzAO0+L28K7jzehtlnQlekNyO6zvUFliUeMq0CgHuRcN3E1X6PxIJr/y/Ym01ib3gYGavOKDQYQAzwMu1h4rhRbqyb2QQqyK71CuQfIUojlKl+icunKDX58idRg4nAefoDmhXWWm3gE0y5iV3kwbmIAv+M3bd8zlg9urZ2rGnFBSv9gLM6lmz3LK+9toTcqIosq2l/t6qVB9WjcgrGw/d96uVckFA5/9ndFiO+Cbmp/gTK0aZr5ZU1YoHrPvMDBhydYn654qP/NsArBLJLM5fISkE5UMMDodojhDD7hXTIiTQ8CcG4Lve3ihmFmo62VrdSZjabIUq7FS7AhaIcfupXOo9wKU39DdPMxCpPLYInSaAD1cmHl6w2RXh7yhvvhmjsl1zMoroJUAQ1ecAoWBRGFC9xP0zhORUqINC6RKiBZiI690G0Taq6shgMlOPKabljQvhSGfbvAlQj0ZxR+0mFWEMYiCQscPfPeIKJrZNcaI6YYN/G5j+qZECjhpy5CegT2G4U80UFSF1kjSDowZOzTiTQNT4cgz3F5fCAFbAExPgshlaOoithKS+ps4AWSAX7VgvmEsj/B/iNCqgrmtfcYsHTBttAz6GeblLWjIKcp+SskZoUp+sLJnjr2ddlSOjL6nILJ/7idk+Re6xOItxuDO8r8a856RjqwLT/FP8fPMYlMsN+HFZ0mfG97LZ/ve74432RmrfgN5bj2u2z4EGzeqffUO9YtrdTCsVgBbA4dy3hV1WuEwRenRIv+nNjgxgr5FN20JEgZcdO3k3fwZv0PJWlzdBv/SCTzZT8LJKmsQjtLKUs2bcE6DWzH9cpD92/mIjOXb7NviFKjLt1ZyLhTk4BTMeLAberYOfHaRVnkYbu+bTCwK5b8Sl1sletW/ZzpUbamPsOc/87BMKsCQt4iTC1MC7e2rQM8r6WGii8Ed3104LPsBYV+pUqrZ2n8egHaiN9B5RyuUtL0x8ri3h/ZqRLgBNtESTqhtiuDqECqYy6jucDWRStepSjnIzUabeCgzR0dxrCySPpN2g3eusHBWCNhhb6D5jiSYtq5bnFlmH+Rhpr/MLcKTXGstWndAK1FUKKtWCc0Ai/c/9KdGxlnn4W/t4bHKg9+Y1I+nkhmZxNRWWZIMxh6NsZut2C4FxuaqB6sWe2L4H5jVWqPIv8rWxC/C0ywGnsJ1OXNdEMHCET3llPoGGEEp+c2u1jhDtq389IFq/xn4SFQ0Gyt7ZEpPyhYswvDmjB0aBqdmOlek/sgppTimFQitZkQ7jbjIANT0WfrJS4RlCrgF1vX2ludLgL9b/3coxM/rz03Gxlxbjd2bY2vmsUi1W94LxfG9XZnmliK2pcPt3C8AL5acWozZhe+e4VP2oBJCqdvGBn+0gb2UZa3y+CRBBZNsamEvD5sy6qI1J2Wj27LIbJ3n/NOcAHMSctUAs2V39Jp/ZA0QWE1S+5sj50mA26IJsfIRnQlZPR9fmIzvPWGfjdiR7b0yoKZqJcosHw2v3DBh4Nyt4AF5XZOiHh5tk9ZrcZeJTfgh1zCIxiAcCBYY7vZ357vjqEOmGhP2DJc6T8AtXSUSjuRVCWqpoTIZrtpo6KqzkF/+ylLzaZnlpbRBm57ap8poxhBbu1p0vW++IwgZ1/zW5n0w3XH3MU+wuRFyZAroYuJxDDsiWsQgzjBUeNpeDmrtCf6MgRWlzY8kZUQK1MC3yfXv+sYDM1e/rswyR+aeol5HyasST80egBOanp/whJe2EPROlD30RpkncJRIVPpxysJn49AWGepoGNYsgp31m1/KRydrHYidaeZaeAopFGAtgpDcJpfrEepF7mMwQNq1JmYQpQhxz91KSFjVyfnzY8wE+aoDMOEt211QnMaBEe7YKdvfMT+0TZEQC3q7DPVNR78ZVVpnsZqUq9FCkEhe5F6gGJ3/tKNwIh6aG1kaNOMq4fymGDGK80wQMZujRdiilgDxqATvVURIN7B0hRJ/tpRt0kjjJVruaymaAvB+AKxoX1mhPwKmi1uEUWM9X1sGNwOLKJ+87lkM2w79LuuuqY9nH64dRNpKNd5xAmipwex9umIc7NFsvEU8bBSuv9Fgmt8vf6+MMTqAil3KnwGPfA5VxIM6INYSGLbT3i1N9DNFN2cUk6VoemT+N1QGcxnZXyaAn8BGmEBf6fe5TIQskHZfqtdjz2WR2G46EdeymxKIgopN7LYgaklAsQyK4Ku7q7+67NdHcnVjUvi+ZQRwuRbljP6HJHiV0/sAk2TERKR+xspdsTHV8LoP5SrTDwdP9yGcXIWHsvAhzfWuEVaBMDMLhMSI1xt1uNUVYBTPq+U9yFFf1340E28BlH1apfUXYp2rIhpzs3YsVkLrPdimT9O1BM4sP5KwGcdTkCJZhaLp4XkRZfCHoDSDwYLogwkIgdm8Rf2VCG5B5VTwrCPPp4GUEpuy9C+h6kLW8Zvf/855izUZ+Y5OVZo3rL4ayO4q2on6qihY2S4bJo/sUhUYSX/kx5RtvhS3qF926Svi/RKOdX6uj1+3HOCseW2KfC4Sg0lHWfevlSg5K+HzkBnsjuzxG/mPdC3Oh19OeCeFgpFL/Qjxcuq72PyEwkqXGCrP5POHd9oVFsVBOj+bMWoPwf/8rZtNduRLCz173IB/gL8OfSTOYMFkHcWU9qR/QI3f+hxgbWPVUg3u5u9RiePq98vBhoeiBAtYpHS1ycXM95iYtuIIaY8kc8RDG4AjXI+iX+TM2I+gaGUmdnujvMFOjfhL3xsVe7Xe8f3EIHwrDx+m4//3NTg2TRSnz0/YNDYMnNldum3JwwZ6Lsbq9FWjF1XC/KAn7wYrnstqEVtwVhCNYFO9IbVWbtJsaBMb6OnYbELJohEybqLmlJZW0RwXR6zmR7E9dQymx+ow54m1DjVlAnfPE8ZX63iBh6qJ1PeXfy0g2hYLB6Q7qP5zres7dgU3dNl9uggwi9YFglOLBtVwhPRO6ohKQ3jWMJqqsttl/0GD83Lig8Z3qSjAbqn9QYrUuV+a/NJ2ayX9nCeXmN0AiuSJn7TbChEHks4/3S9ZRKg1dHo4T/XR5o+fd6UAdGIjYZwqwHkP9lB+hi9Kq26+5rj+bYW/jeNDhOHvFYICbVdDaHM+g2H+D2HgKwYA69Z9j+q4g/jrkWH6+xfoYCrHPWyKhWs3kGT44vFIxjSq2rAgoIETfYS1s8rSxkeJporkjfG9+itNbnkQKH/t3ZaMPC1shntHaTHdFkKZTjehzL7B3W6SobvgtZdQ4iLTnYx/yW97kwU7uiBM8PV8TWfDkki0e3qgJ/AQWt+S+YIeA3krro8nq8gI7/f3743Tb0JACSVCkKs1kbMXmS0C53V+Q2p2km6lqamjIa1wWJ4GlkKVMZnNNWJL/5xsp3Jo1oF8Hlaizgddia/u6N85L0mT2Yqp03QKrbW3wqWEE8E6Saj28baSie0pYqHGkutl6WovWapuRNqBTn/fHsUIsJ+K/67eklvSESAHWEw3lTt/RVl/sxrCmU7W9L2aaHF5cSADayJWIvQ/ugMkgpC65Xa99KIE+2LYV10rUO7JlnmROeoYe4nrSm9EdAzgiTmbxW54ibs/FdoarG5TQfYdUADbQqR7Mp+kAF9oEhLgsu7Jx/KilEX2AwUMZu6Z7gYY+5JGrH1afV5dB//UlGrapGipOnq4fgfETWyQw3pAz461Lz766l5x18lp/G71kGX9fZUGqRKe2vWyp05OD6Wc7SYLPe+weP4TRgLaHYktvv85LCdrY1tS3Bk+TEw3JmictgMXy0t4v5M1ziUJpHKU1mV6QhM17Qj4hmo9ugvyNJT+t7ObI72hl33fLBG83pwlmD1ZuYRII53xLDyIkmB26Obh9TxvKQYKiPsLTfPK8zRzpAz96eKu40BDmxlvq6SmpviKHX0scYSqcsGCPwULvWCtyPtRpFpRMrKjkKpjEP+jpCiKKZFXEf2oUBIJifLGfpCiFXTpch9Ky8+cP0b5Nif3DbNHiDD6yYV1EQZp2x8MbnSRXEq+4wpI/cgotG0Q6sOx5ZykLDLY1tFBBd4HYCSyGw5LubAxLifS10oBMaNt9tZiofecMJdzjZv+vnqp3sKymHrhpldoR2QbVeHdzWl0YRLH6L+YmOA1v7vOl8lE9ZlVoi5vIZWbHhumJN82Y77Ib+TL80cN2saBXZjc+zEiWuQnmRGY2eijqQJycVhzmyESUXZGf5Z0OGNXE6S0e2GY/anWCkD/SPiBtC0r71xgxaQhIkiW0/d2sS2MbwKF67Hi21tZReAPkyD4tdec8+tfE+dhL+GToQTSN1Ar+ulWgg/BatMPiDr62O0RMa6mXjkKwHU5TzOO+r8TGJs3m1GEUII2fKOOguzaJmrr2qEQ0t2CAeByWQgSEKyEDxKuuzMyQivxBSbEupf/wbTY74BdbTq1TP3ZlR49feEluI8YRjIvBW1LOo6dv/UdbcylPP8/uopDAnPWCv6C2TyYBH362rPwZhbEVAxcN7Mzx1R9G7gxgpXgHW/rkWEY99EEF8sn9qnNiZ5NFopO96kfHqNyjTLVJkox6WOpczX07EV9M1U/9qPbAFFoD13bOBi7scF8SMqbkBZBennX11kAR6EYq/v9eQtyjls/iqG+eEoz1FGZ2XEn45/NvHWOD1bXfQX+YXcLRYyH3K+K1eRHLfH95EMDBpQTQkWHYf/DkfiLV5eOFyn8FCHYtvxZDHnSyF1r/1sc5BLEf9N8XU3HUcv87soVBkhtA3yOI6CiSGWZHnvWipFhj4XkNklhncrI7JOJPOPpkRR2BE/FL8J4veZ/CYi1Jx+g3ZYGlEiBQ4P7ad3jzxBUDndecbDGUfYOWs88P6EwavWqCYiMbVSBspJTWFPb9dJ1oQU5O+KKlefJ7qiAAGcKPulLLeqEw/WDI/Pd/bWlN7Z+RZuoz5jEiJ12CI81iMR2N+uLGAHc8LH16cN1Di+IG09l6o8xlyICqujo6CYIQlNxfc/fvp86WIQtaiw4rAePN4ItfcFVMhGw+s6CAm58K++ukZmqsBDiBxIAAUzHHnFHeNsVqdZYEtpBRfczu7QqbfUDMq27vsDQkLxc2GOjpgeqDgBivXUz73vfZU5OLHlBUxrSUB+gLV1C/dOKohOLR3kp8kP8El3KdH3NovnAuTdut6meyb3tK/KMGwA485try/Zg4Pzr7fsEumAs19gNYJG0UkCbDDuBNJc+bQt3etghsP38Wqydnxvn0099BeaD7NgY6fiSqYY9xO7hYk3LRnC0N1F0j31LwkZ4+CYYw0c06xpk9qLm01TK2+M3aAsobj57ZmH4T9e5HZ7V5/vQfrw27+t6y1VlihBuho+HRqcaobwXcumbUOtBhtkBSoi+CEkY2gI3CoRzoSTr/aiRJZ9SQuvBx0JZxmor0HKf9P5/TomU8aUvHZyax9nYLDfe7yXlAqlWaNyc9nZEIPVqK59Bw5+OD38ueh//1L2q5G77sjHiJSSFPZ8GhO6yJE+OdCOiu7oLHodB73cCAVINhaHjF7TAwtM2p9t9Sp+o0A4fxTkQNOdqTpPSdmPo3/Y919YS6s7z9Sgn3okevhaEOnkJaWRY+olV4+X2tF+4chMTnqvSzIVitAWvK5sh+2dYo67hLiaW/7GnzWRnK9r7smCU0X2Z+Bcpeg8wSWew99B58hym3Uv4Z1P5wzVZ/iB6m2c1DW8753xnelIclwgoAWhJJWmEIN3b3vUFMTQB/iOefkE1qEWTkA/4XUns+J+YNKyaTmgmxNcBxzpsagKi7Ba6UY43PQmlECoc3JuhBZoeBSWQdns/cDipPFQEPhugNiiPdwM8gvV3BQYyVMc7wyjPuV39Bx29Eg7lbaJfQdJKSGmdY3R1STygMcoEukM9NuOvF+kwuzTm7qlntmjymJsE6qJn7YcTz9WiEcZy0SnPfLglDjg/7Xtip0m8RTYuGY0BOEbeKcE+d9vjewuN1sJ46c7+0iNkXXVTRb+Ts1scPQjRrLFufkQ0G2C/BUX/i208RseProlpJcjurat6Vc9fntrDrue9mEH6ZMDsunf+mngi9sVgXUQTW9xiyI450sNAeGalPcdUzupr2zMlGRM0V1pL9W9QdvvZTcBx7axS1LK6uFdUMLiepsvhMQgyIYHKnk7P2WYLvmsw0k1HuAcVaQWphETwKsb3hyky6sv76G5Tdi3ZLzSANpUDd/ymDeVLf7vexFaB5wVlWxFvw/XppxlHQ/cKSfaD+hVb6uBFVSyfF3iRTnClDMWeS7U8mZwHEwDfoXYgXSIetHnojyQUmDg4Gtpggb06tIyARxk8XWbsZtDxvockqk/KrfIDGL1AcWAtHWjyxeSOjyr9y9IIlzdysSVAWQDPmsxdfhIAKreQqnfze3CPYyp8fNPi/jR8OFzPblAiP9Q2D6fgXIFxHG32zR9tCBdoP30tshYZDAAhkapMAs/2REaKT3LsWR2kVwaPxZ84qjuV690Rj+NKaYsLRi4fmZMkUJAr9wPt+O+B+EIQCRabUH9WACnEqmC4uKqd8KrjxeB4yYIi0oya2MtcSAqjjlbIgGfjQlGcPfEC56umzpPRHYeAilpruPHTrIFC89pbPQt808sZ5G3mhR8dLQc1gJLiPtoEdtN6JAYAAYssVUhUIgrKyyLhTGHCWivUH+wnXDU/Nqyv0MSKauPF1O3kpjJPIanXFrR2IFVy539MAWEGMSEEBKMavAJbduW1dZjQgtXjLey9GFxfVzx8UJ6A26ukNsMk5Zn38xbouIxurQmCLQs1XmSygDeerdmv8JEHl95lRHUcyUhTWnrdW8j84b0PhcaS9LwCrnCty346ehJ3gnyh7cKBLSfmFre2qpUVlsOJnfVGo0ALmNEsv0Cz3vDgt2xjqAGVwhirENVXPIM/jlsXpSZT6QZ1An27K/G+XmbGmyF4ofA2lBqryoSxA0KbeDw7HSDXI6EAYtDi6gQRbXw/kov6aU6vQAt3ozMmmwH0Z1tppQVDzUFJDgnWkjuliYc/eqzdHZMpomrHDtHnJfiRgvvA8ENt6J8m8yxXJGrpRzSm1c8IkZnnp7k3rYk72mGHfSxevRX/uxuqlK8TwPpH+5F4HBH8GGmhirOnUyvly84o1/zibFd/FHP3XeOSjNvsI1pY0HnhrHjCYagRj4pdBO9h5HC4U+Q/W7ARisNaQhpIuZrHyhs3pJvL5udhxXcVkC/a3S40CSwYnE4hATCaX2ODwBE9kFvCfna604yYyr+OQ/0QYyX829p6r4ig+RcSc23AzJ+Nuyt3HtsXekHc2uNOSfa5Z6ul8Cjs8gniS9zR1igxnsDN2cB3i/uui80F1XPzbsuqc064k4K8nsXgr+qJTIFYIJfoxYRI1kr5eiDNQpPx0eJp3zAZTzX6oF5dACUs2zo+ggG03dBjiHq6TNiBRnwk2asjxYAeahhMqBffJG1Ij++cgrU6ig5Puey/yxgx+XnkL8C/sccD2SeWFEtrchKOxeXUs2d7g3w7GglNsTQbLAOhSqyoSrQV8rCw3h6kSZL2/LnIly3wrhVQs9mpRvJXyk8gxbiHXJA6jKD8crTF43v0nH8tKiyvkz9VolsGS1lKXMrnW3xKrO1oLHUVlWu7oSFXqkq3YuVuzWwBgJwfMg2t8mnE76wQ/Ri19JPtIlthsMJyjb90/TLVWqtR0rCphBx/sz3QmdGhxETE1rXvtxaBtfGL0YAdew8YuEdg9gUYn4vQ1jk58ZSL56mlslCZBK66UMu46lcTwWjBWo2j463klRt32S08bnJJ0R94r0XAE56+LdY4QsunKnQ2v3Ccd0U6nEGUa9YT2qEraQzE71kpiGoz2QVuAEbcwnPM0XU73SfBMUSbCfSkJAD5/80LrrUTBm74zW5NU9ILOFwkteIt5iAB3yMair//nPys0C7LqzKClHQI3hJ/JDNBc8K38ArgtJ+VOFS/PslwLGmFxpvp9e0MW5kHXQEP2AOfHZpoKKnWCUIgpkZVxwL5VitcoTzB8x3V5y+B117JtdmSbDLt0nDMaZpSXYQTwii721S3NErjpyKlQKpdUKLuqyJXr1wdXWGLQWiZDLYu8XoU6D4jxQP6lNsZEm+q3SToUmqJfjCtZmACpP1ksUEHmhitj6DhRvaBNsu9iJJCb0ahATvqYmCTf4zyL6lmFR42to7/GomLSwiXLmnZag8u6+ng1fiv8egs1Ek1EJ7Bv3Avq+QOivY0yZeR6+oH9TMkecElHdK8CHMC5gtf/dMavZgEzoiqCc+cJOR9WPNkJzLmF2jcJkivijLPiiCmAXuWZyBI3ylqluVFjeJRRM6xMu9oxEwxtI+5o4BJl9ByRT/oR5Dl7/oaxQCJiHvtZlZPMPKD9R1FOQP06J6ndJBSs54UZAw+IIqCvbRZ2Ch/yx9eclOU/vvPg69aY9W4W4g+5zP/iyG5Q0tVEtohPBJ9ZrPMEIrMNpIBxEW3WOBBW9szpN94YEnu1JTojf00bdrPY4KQMoIyJVWpQLgx03HxvmXSME7TLbkphc+bLFbYzHkbmpQM4W0eEcd/g8bQ2bvx7hfgoTMVXbfcC/eSwvBaPXPrwPsClt6PNDDoUUKm2aL/n4oRgVznBIWnPkGuYf5BUNR8ALaDaPAmSpie4DI4qpcbs/mmJCfmNNA7IhqkuY4/XBlMbLMQzHL5BtDY5SjGAMMNtd9RZjQdTEH2DFSDIuOR6tZZ1YteQt/keHjc9AQXEIXQ5d1U0WuziKLT0bTFu9JAvxlqZD3Vzn9kJMIHWZZqwbHZkTE09+RRGw/pmNWqFiu1E7n2b2VMwMWOMvkBw5z3KMD1CE9LF9kv+BnSi2phNReLujQxYaw/LJmJx7mL+8RZkJ6/FeL5XVRdMXR0InuRo3l6Y2tLlFnT86wnIas4lkDa0ERsmdkkNl9rRN35LpeM8Knd5i0moY7qqe9Ukxti4TyBY833ejGbYyrs6BYM0qP1VB0kNKAIV9Xoizz3JGf6L+QF6aG5AgDRy82qtv9FBFoGNUY+uA6k1c/PXtoRmcogoQ/P2RVuKr6aHgFfzAR+Pru8vKmXW5Z+GdMY8M2cQGMCv8P6qz7P8FaKv7EKq6ZgOJRwpsr6+bKyqEmORtMebUElIB0NNVAmPeZwPURX2uSG4Ap/ijt+33VM+ccbu0QlSRvIwCEbvyDn2YHPxhJcx6a9WbnFsTEj2q4ApEyTFrkaGO7vyLPxn1FDYu4CkqJc4ypYSSLKYWsa2w3hoCQw69TGOy/xwbRiLSLHRsi0m+xFqvaZ5j3dap5WZvi3Ue8uZrxrh3FN6C5hTxwwOHFE0XE4oD9kZEHlAaznRD1mwISeISRFTjLTwtt1PGLx9cA37QnisAnaGXQU3WC4+rMjudwPc78gGTom8Z1O90+IHdb2Fx0K6dD1H071u6FXNXOC6uGcAjROILXSAznb81WXfTphlbpx/OXaz8KQYBJbJ4BCCxfgf1MfonuqAodSHViq8agFiLweZNfZwZDTdcc5KxqPHcDUquyp6SlcdozwEBu1mdvtfsCO1XKwafuh3ECj1nIuCKKSKL5U1BT/dDUF5aPwPKwKIO1ubNkvxsHhrxIrXTLV/AGpXEWXvYH4UCOhXglZtZ5H61jdaQTNQZwKod2ydQ5894SgiyVX+zrQy4x37wibiURZXYyIY3AnadyIIqO660Nsq7nXKwua8yQlB65q2dqAqMjashv9uvc1sjUM45AN9RII5ebRU/UecCFaN/UptENYHJPlqbFTz1PPd1jlt0vm6vVOOKCoHp74NMuE67he9CIGxSNi7Nbom3ENG3Vhcr2KcLNkrmW4G5Sh1eVK/JZW09Ps2zxT0ZVD1lsnAATDmRPSfn524lP1QcQnqaAN+DoTUtojIkjFPKibanL2M77qN1ee8OG/TaZMZ0AT2X8Ev/yMB0eVswOGCofbqKEKTs4/BVHRIKQ9EV0SByfTnzz0pk2k+hxg1sTLXjkLTyB5s/gLrqN0eGTxZEUmdOsPfDsw1jw8/NMP662rTjro7orcBlA+/5UOPQP6i1idh19FSQVrl3gt+xavLIolwpwCR+5+wNjW7Uo4kRyLhtSe5YBHQWAV8ESTIbeMsrbslz7o2R2GyiYrmHc8jX7dOKtwfq7T/bRfAXCc4LVQbTRVpETHJPNGzkFVtXWuus8V5TYvU2/tMTY9eXcMrQxrUV2f1ovZgyfLzQI3ns/RB/uATOSZu24OAQfW16lW+9yw5VXZEh/r1aLX2PrFfhSeG40ioD6yErBDpOjoSzDpfgxyqZwOt+s5DY4biJIUyK66dysSh51+AyWes+YjXxP8iqzFQCCZhA3NRdyzX5ICxWLStGzPFz+PgmqgQOdKonXLYBVv1usPgFcirUJ8gv9Sa/M+n+IC2/LA8OF0C8JRncAKYTa/U/pgxbqBmLl7aji50KWTtTcmKVQg41WaMcNiomDdj2z3XcSaUEe41qw8fMOTZ92IhEG1UFkPUb4KoxXHqZbG1iDs6oJGI6v0yd6BufGksXSUIMq0JBBHiIQxUlgZk2Y6rcQmydAK5pLRDIsK+b1im5eePbwb7ygkopCXTMP9sBnK98hL9WcZQYuLpTjviLyPSHDFo5/sK4ES++8Awq82Wy/eAcXw6vt5x1fTsoXi8fY8DgPHZ5wLMh9wSPLvZSPoolPCCJmMRkOK8DGBvp/koZlilSJ+x6dVtARJAuae0cxG3r2uML1Q0I9/Ualxpn78OUMGrjlX1wz5Ozr6wG/gaxDJ2w7bPBWoSe7t9Zj4rK/PYMhuzeSFjj8hPgaL53Dz+MaoxWZ6KsYyvqmYm5yAHs8Dzg0brzsbCkKpa4W7PSqn9PoTRGfuBNNg1K2S0sH8NkmzW49JIyxN6Y6bBYE5Ir1O2aPKl+gN9GCdyzC05GGkHrZwV9AA/ZsszveSJDzXf+dQIlec0vicS0P57YCOjXot0kxDpUmkAh4Wpo65VvkaY1RfK2I+Ijef/yhI9Xz4fmsQErskZowvaB1L/Ewf9jZ4Jq1JVeODxw/SNUzcMs2URn1PZbAALBDlCsRINCMdrR5eqScpp7pjvaOFzJosxxdQOSVK5Cl2YFwlTlqGwwyhDgVBo5r7HwFLD0MwAoiZMzH8Nv5VqEu9zBM2cDZjL0q+RfNlct4sdwm8wRNArHB/xTB57CVd5ft+muNu6GX+Gi4Oz+S/Tyf7IO1ZmwtBFcqEeSXk408SyLzIdpuB2ySzYKKWB4PB033ILY7/6feZj3zKty8QN/4j49LTrQoizKscvMZZRTK+jIKR3IDtlAuoLwlNkLbRhVlx/MNa/bjidI3lhrfwi7fnDwQZBdgove2q+nE0pfiDr7PPphRIus2J30q5yJ/tbU9lQz5DqTvKSbgLU6uFEQUW1ljI4LDgfve/CiocX0+Ho7BpCtb/46+O7nICcWM9M3gKmEcyCrgBqr84k6DvkGmoWwyGNUeWPrXoP+h52b+YFmvAaByPo6pksdQvbcBadKDKhUcjHzuVhbJ07ys+2ZHTRLvnFra3QGpYotei3q6PVxzAIPKxbeq2Tw1Cirg4bN9Of1vslu7khNOSDm00kfZPpoiAohxu5nTI5GbrEaW9mKcohfqV6DGDOZ259HrIZ5ZDyn5d+pzXdcaa4OI2n5PC+3Flcsj7XmNncn1W0iqfXr6FG9m35hKPzmcZ8SlGaoYZ8+ldNo/FFkxwGzjWyzsHxM6lwE0XZqyMx6ZhJGFErG5+w1X0Wl23Ev6PmpzNHNn5rypFBOgp/5inC4V2Ky2YNtbUCfcF8W6eIlBrnUt6sp8jhLEvtFho22796YnER1pFvQSA4/dJLB7AB7Iv3oaELQvHXKVyleOGLhFuS6bpFgiHbNbdWBAGPeZaHx856CFYtip50CQWirKrejM9/8rNpf1299gd+0sh9FHh2PojQy9bOWWhMzgNSNHTftzlScUZP3x3ysdaNSNVy9XN2C4B01pkd+rY7yCI/CuPMeJH9gBc3IJqh3Ozk+kdluMxlnGNRLAsML/DOAFyW482J1cToDeWiHhasClySErXbxJ/IQ/3Ec9/aiiEDo2pPWJHmjFWsDnAta53AJp2DMKFnaMBFxwkxAvGJC6gP9McQlSymiVRQu6ZxX/VXKArRtMOeiOUQYC6yx190oi1NWRT1T/Ejn06/S6sCMSd0Sogl0HAXX/oi8pGfFBAFePFzHE8b1ZiVKTR+NfuWr9Ia6JA50xbiEVD+TDCTfQTiD0YHQ/S56C5jnJkKI7/9Nbe+xSihHxIJOqpQPM7ic+Wy396vm8tbS4TYuttXeqNK14+DReVWgepooXH9IK+D1szIoIvuGCK+b9h0G1WO/HS7YjmvXbn5+j6lCo3m4LJLmnL4YwFC2c0VmGrsGA8R7KlENUFzfUQjF/4BKSvcMvllOx+Xb4nyNbHnOVbNHbAeWa8nW4X/cyKHzOhbn1g8gpI+8bhvY5Iw06/rixnS067Js28GJUUmYLcaq/dDT0leSW0Z+ftKk7eeg/fbnEHWnD8RmTS6nP2Y2dPKk0+nBr1g+TnSndsogcOP+Cj08ln3BkuP8FD7vl7/1T39oh984vTNU26UA1J0g2U3jSdPiANVK3OGPXo4wSL8Zghz6Zjo3bHjxteU8DCi3XMvO5vfVUn48IamBfJpt4ycVHhsvDBWrjzEtzJbyhGB8NFpx1WG2xNeB0tg0tdBPAUZknW+YAffogtP00CPXJc9eYNHJcVy/aQqgKaZ75QhzNhG4C4LNXbT46ptlzjcTcmlluCeRuu18sSRswO4D0x/3HUlWP14z7FGNxCaYTS5iDqss0e4soCRDmTGmmBCZUl+9uJpiyxwSOzkO0XVqdWJPm9qqTr3O5HSAOZnatKvP72sSciTEeB9Xx/wxYK7incGHacdf9Vua8/0zG5DmN9GVMH6HYITAVqOTaWDFp5cuMFnoTRtbr0ydHk0DSPk6nsPwmMq0i+pf6ANCLF84g7Q3qeVd46TF46nLqtDvxqwhglmd/e8eNcS4hAJteM/83HGINPMv1jbc5aSALt6wxaoZw5iWNEUOXAbu/zYfZwanzUSqh1eURIohgObhb6o7N+T7dT+EgSe/hW3aKE3sHnsP7PEuyV7IAtK5+HTAks+9Zp04XHUmeTp3Crsps8OIWOO0sMf15kRM3ULm4mP0z527wtbQBKLBFV+DZMvBIpwlHrNO3xcNXWZ47sn4/LtRwr+GOHaOaiE2eu2tHz8c7Icg2rTjeY9pYEP7EOwaIorLy9Ju/IvtSBYSxuwMbM787gdvWdN/oIB3k7RIhrMNbRHL+p2TJ4cQEqswc1d2vDznjPNvCWWNb92h2Y9FdzQZRW4juxFKSNVuxco07r0XY5zOfRAnPG5+qYh7wH8eXqu78JxLkXxz63f1QTvpT5snqpP6ruYlNYUzyzCXG+mkT2IWcAWNLDqoZd4mdbT94VI0peT7Ad6aIRc5F7HTnLakjJAhLFbaaxKm8noJNme4Y+WXTP9/vviHS+zCtpMjU9JUSgB2fM+uYFIh9A7MCNe1XpTAhEfvdlMTtpWRZR1YVOrD3cYG4BobNwgeTcPjfRc053fEK9SV0D1/9GYPAffFARCOEvxoGCcMZTne2v7rIk/9AZNIJghoZqGFlYx9+UDqXbz27ZyYsRQZusJdlj3Fxm42jBmHY/JLL88C2vLR3d3zgf5A0Y9/1a8cS0QfQnfK0fWzjO8Jxs1zAlc17Xz3tJ4KC16GJ6F9I6m4g8gsxpqjdtzRVCRAO2sQZJKFDsxES+4t6njlusJZYWwm0+x9OgjBXQ0+3BQQhzrp+kmm5QcU+9KWro5UQq4k2Y2cOgLlpgXt9VJau4HHfKxRQO2eCK6P3LSxXvnOEx8513796AkjZL0BWBoKEvLxGgsuhoQyagT/8vBSBmZTDbUC4drdULP/mdo3UUGRVVwAjURzVztknEIocAznV2S2yHpVRgFCDQnMuWF4ACIQROdsERIpgLMCplLg6xz2BibUtPn5j+1u/sprJAzNE/19lxbj8cV2zHDVaIIZeRsvkgWEe/OwxKeHCddPnqiE95KYzeKseoPQL5g6K/Efrm9wJXzSZkn2JtTZ7Zj+yfbrMW4UHAt7pOOgB1ZRUCUXH9SQSYBcUduabCv8kTjILEKv0bbbgBO6A+rasG7U13cKz98fULFlUXs1OCt3zWUmeYMJfIq5a+gIeIDxu1bVuli16gVMefjmudxRNcJTR1rihunRtpTSrhYEeoYpKDxNCnvcOQLE3gYoy3UGwqFq9HP8DndMczw1JBUvYhIiWwkyjUKr+PlYQz5y+J++35phiIdLCbop7dY8RIdhHu/MF++N+Sd+vVMaBOTRuwYxoXwGeZV9Tg54EwAobyF4NMrs6AJmuNOd46+GhBAhWm/8qh2Nfn5tFLIC0cBpSVxCj4zzoFkwaWJyKixSqRJoaB88t+QwcOTGbYZyj3KpBtnlxoHqkknaqurRLdBU1tMIy6p2/D5mb9ZpIQcLn6OyiDlXLuLS7MsmLGGzwUbtsdr9SaJsTKENB+y41MEBXoSYWTvcTe1B85ezV+CitWNg2h4LnA3r9vTodOCbj5GDW0YlkfYh4BOpDUV7y3gEUiRO7XaWvQn662vT3oQnIQ06WFW1DxrHm/XjaoTD167j6UMzq9nD7QgL2lwwVfEAlD18GpUcFcm/j6gT+G/qY1UA4+7w1E4bsc/6HsqzoR7AUX52ptZV4pims1HNqPUBSLACMO2Ay3XDsAzcC1pvuM7+apX+ewXkj2TUOyi50yxCD90Wi5OiDWzfRYq+/CZYkSDlVTxfHe4PeV4ihRsxu1/jtQO3TQodD4vLuHuymoNR9/GwNVdvghbHuQ4pAw1eHht3nf3o+Sm0lcqn5e/iuvr2o4lgzteZ0T6AFSrldBU4FWGhgSX9DR64zVZDLNiutkcBlgRKzIpZkUoomddp+0jvuUcW8qgRU5c1bRy9gsVvF5QepcNv1LQ7mdIQ4N7sgEnuhGo6T4X819xivyIST9Gk8McRchSU6OQ2zD7rSGIsvrpwKSX6CBd4GE8xj+oC/xqEYN9H+xy7V1YwtdVxK15KisYGbS+hCBQtXmr0s99Cbf+pR5k1eLS4dFbu4nyoG/wlpoU2aogV/Lx1KZcN2K+529re6wfx9OT6nRR/0RuxpmolXdkXfxlYvBGzhZ2XUWURQXpwhEd1/V3TvxDYjJ50vyXfoWo5dBnhfOCeEvHWNM8LCW3uZw8ND7WzqFldtk0Od0Oi8NCnkmLLqvfS+KDfN6F+OmjsEmNIWqMaE8or0vKFEgkSlyVAjIdx/WAfYFEAx4fW6z7Uflqdaq/rOSt0kNsRCodwMqu/gI+B74NcbT5E/Ok7icqxEBmtjOgMHY78lqvS5DjGhT9+3fcR8Xlw6h3lXTPk+p6iwPMzjY3vis6iBVO5Hx5YMaZPncj9v9iVBTmMA7aQ3cAPv0E9/fMVsJpBPU+O8BcDhuM2MTCF9qU1UzgcEv+1XCDXbbWydqr1AGVkeb5tWM2jqhpagcn1GeubPsP/kC3BA+yP0kPY+afyhkEbAZayahJwYtzwUxnc5QrQQzDwbVQIfrYlncC8PSLo+TakFUAfiYWzYKV+sHCgKzAnbjVbu0Oef0z8+XHX0g2/p0bfcU666cFkMNuF3XMteUZZf4xr0bWrGoMUQn86tCZaOzQ0Wz8QejnPNHKt1UjoFoGqoyzYzbbWWnPcqQyXPqscj2fj0rGp6S5qHKh39AeOO4ZsqGQX4Pjgr0GLvucvx6hpnBgdfnXS52H+qjlNcd1RLcd8HbXcAcqnjD3TBM+YdC+igy2jnflIWTvm0saFYfGXAh++rAweaajWY+gZv9kSPieJFjkjkusxBcjCcNUaQmJ6UoxnE1eqcggTdvVbLBhCWKPQMvc7QDvI1YoiUjOpJ4GFRfAduseqPYvfzSQfYHPNarqMLBh/tqZ5OJ58p/9bjhufunBdM8awP62gw9mkEPAmBxkqFStYFhDq2xOmL31+5SZmmCi3P/yRT1nYq9b5Di7WlEhp+4Cw2UjpPEKUSaBIlyd/HKvOkx5i60CxQTIU2KKMTUA9Ip4K8bHWFvhbLvWAfSCxSq3kCMENa/eOGWYbKJffz5tNuPUpxOH6qjgxvhwkaFE1aQ/+XEaBJprOnfDbti/qAV70ddjZu87AxjrCD12hVu6TeskA6DmHun8z7brAGQ9hAjrB/ELqViaFg4TtYF9TDZLySK9MVsBkI1/6+i1YC3pMC4Q+8hxDiejML+vsjPvZ6t2h6xBzJUyrIT83EFj5mNZbdAcWirZ+76PIBnj7BwE6jSyd0t/IwZAFPjGxAR/rCqmY2JQ8UA4SUEkn+McAa0pgj5i4DCYSvkW38LgyfrJpdXGvpfjRqG1uX7O0c1euJoqC6mtX7HXQQmyTgI6GxwoNOr5GNkJBRh7Ny8xNYTU3PmbT+lhd8+L26rqs5xunxnOcukWCCOrtlu/rNp2HHiL3/RR93SeqxI40pKfAg5XNdXt24O6/ygOQ421iFQDB8fvv7cgjhnOqcLAWzSYWcq9je1UPXhaKKrdKkOAZzZPD0gQ5Hxtf2XASAljJUUD1NOsJOsmmtbEFUkj1E3Klvg+nAgxjuX1tOxy8C6a7nSvvauZ9CXn7mfY/JjYEf6Hd7+mqXMIZpz9ZYgkrrydblAYWRvQe5ST5kYHmy7b8tfohqe+/mcbowf4JdvlYDcbDHv8ctDf2cRBkuCRRZskMJxhipuOm1tiu8JMkPT6hZ+w3K/Rzt03FNgtCHWkPHoYWYfOuUypo3+/bVe1UVFFxdTJttTA/UqfbJC1NbnJnmVJWIkNr1JA7JfoAW4NX+64ORwb+jOXFr1H4MIA/VBa7SMvwBL2ny0WWZHAwR3pm1mmm1DHKOYpwNImCJpXizLZHP/IXdK9kPQUA5MuI9ld1I7x1G+KIKrSVxOvMHUIRYa83N6rt9DjWbP2W5zzTJydSBh4NmyUBuc0js4dumFD7AfQ9YUTbgEYXAqP2r1QBUuWf8EMHtkb5n01ppf4ND6G9WX1K5BuCUDIgg+bwm58dAaHlsfFDe4tcraZ3jIGzWUMusRdK9VFDBjzsnFOcbPJbD7mYWB0S+EPMQSYnhaaX/H2h9X3Sw2ewfm4YP9MZgsG+RDLGPgWQIavHCByrWen9/tyks4v3VVPh9jH/xtTgDRhqEpgDSbqeLQ+U5KJKTAPdlSk3S8TEzsFqO+4H08JHJlmjOAcHVHZiimzaMrWADIcXeQDs65UpCGSy5E9mDLeax8NuJ+DIIF3qxESOfAJKH6+G35y4SVrZTD1M5iTL8dK1Z+CMctdkDpUmALCtDWwOS82lgmPU4o23foFw07NHM54QycJo3+HMfcB7mHYhfKA5K6ln6V6omVmOvDu+h/ad8N2iuhkpZw5likVPbGDj6bGTv39hIWYFxOmCAUytuIr0767Ms2iatW+YM+TF0ZGERiw/dHuCOOBqxgswPudEUhpk4d/wYwEly2ip3AeyA58tAZWlDpaRJs0p31bEAZ6mUnKjMUC0FKfOf8KRHipvtg/0z7O6I4yWnL1E+eH4UIzVxjyw4xKFFRM1WpIXRUR++O+EQ7PanRPMhhK5Lq7/hDPadpjxxyt1GTfUbyAORBjE97RXFMQzxtUPvLrFWCGSm2DuMOmjy2cde7Arr5Px7mKMLvcexHe7JbwRqjo75+HUeHvYskuB7LiQ4ihY83INcwWAYvzHUYved9y7mmsxAVa/EZRq3+J0kDw+A6UkkAd0vHFaqev8KJ5pgISV9pFDD4h9F4OdHtLlsvngMZqZro7wERt0qODhfE1mvBxoGPN8HtVjjrtobaIeaWRjx975U8AOT4rQetglXQS8YIfDqFljnVDIGir9RwpkDzLwy8zUTWC1n70NBgFkeg9GMaF6GuCJow5yO7ULCRUeoQZt6OtVYANMiltbaQd5E0pI24MPEjYlaH/CEQ0I8ClsLPO9OKaY7Gk01g3WVk2syHDvZsKZx9hv2x0S6wFAeyf9GAx6JkonXWT8cbYrgtzik1u0SyJropPA0sDSwLUmofYbLQaGTWY8iyBOjxFR0AVeaeDbF4M6vMwTU5IzbGPyvaZP/uvtfuHcoASuOa8/WLHpicDZg+3POWbO277QX/CzjkfKCyLNvfAQPEKZbareZUByO2drp9H9sfNn0SYJG2cDjUc5m0H0cUAkDx8ZeuZT/o0fB8DoT0TQi0v9F8Vbl2j+oDFJyyFm3R5KevEhpIZ0Rd3U6wrWDCIDlZ0k6VoENFpFs+xj3k6fCFwWV+j9XajO2FnmGLdeXy6LMLTlp3j8UJ3wxoLakGFg/jG9PQYZJXye1E2r/rMGbp2VQMJD3g+1Fpxy80vuOgj7puQu5cNuXzr91hkA8rS5O8J945Sgy4TD99y/oJapJbBJlIbh0Z1Y/cSk+kcv8Vz8uycG+01x9M98pG4tsxhFg2zCNR9d74LpZ1+DsnFEdWNpOoSgR7Q4Qxrl4I0kNLOjGGYfvoV/RZ9BwvGqMqD+H3i/uLV1sfP7fbv8Y/AA7GLuHnBVj7qjY00uJ35oZRn5VGj/Z/pT6Ep7Pt0vTcvHC7wMb5wrIl621OAXSpzyBhTWC2XqHN9WjA6PdjCQ5OClXVWNbhQJ5ENFDKJV7HIJQHH7ALhHrP5NClZau+lbdxE1CPcvHgEX9z7QXDr2kdQBx65aJ3U1uK8JsB7IAhfbDoySNfbTnHd19opMrdNszEqs+C6gxrKb0AkAtVA7MTgblZcn+dyhy4bC8GHrJGvlkmUazm5SygaOUT0X5/M3tQP+JOgbGauitwlhRpHctD6s8MxndMGdldTpTvWSTfrRbZ6yajMzpuRtD86fpvGkhPDX46Zr/8+13YJ6AV5Fh6/yP/O21rQaylyzJQIA9aNo9YWSUqxGV/kEIiNJFQKIb1SbBAPZBVmT/BTzn4CVa67vKu959r3rqpQqUGx+k5GQ45sa+hukzOcgZPeRTyq6b+0di1u2AmxY3wnv29tnfF58nyS079X/nTZX20gbok5hM8XCJw3j/rAvNGpMxTBmJAIW4vUdzjwuq1vvvBzOlsvEGyRctx5pRKoulAo8EhboQlaAITBMu10dXa36r94eLp6K4y/Srw7TwMUn4iahneNW51kBrezZdo+52xyNJ6BA4NlzXmvJFqee4gkCA5FWo7ZKyEB+o83vK3OJzxO4U1Aq/bskW4fWnsagJ6T0aKwcPsiSM8GT5iXbRmd4yRLx21wtPiUib9h99i80AYbYx6FFBR2PkS3lt8blAlpnNsTZEvU1IopHguJCEOi8DfrfhtoUcyzJxapKUMwjlLaaw3y0/Oj6pkrOD8XAXUrmFU7m6UePvzVlHBPOfiVdpCyC8iqMyvrTOPNxK+VJBmkwRIa6a1Cvh0nk9hgvGx9Ng10yrpnY4i1SQN5Oc//cLZwIrTvNe2HuiOwxo91ZjpyYBWeFDcBs+QslSNOEEv7wPJPV8cDI1RmDGIo824/USoG7zqq3nAd36+ADgIEV73ex+AOwmQO9bKAInYpM/P/+MJr/0I+0jwJAfYguM1c9VLKvPmrKSRtP/p3PGRGWORq7SeX8v5mJFrGELbQdpn0DSjsha0argDz8F098pXA3dtwvAJK7BeK+PQVOYTc7gL9pqdy0ygorI60XNcny696xPSYbf0DcKJlGg4/vglNWhddqa6Wk4v13agm07UGKTh36ydzfKRi2v66fXWHT3O0Yr20ogtt4qqVYMulIx7PNBTfifu+5pReCbuaC0HcW8Jg86uVS0odgBGCqWG9ioQwCTkIbT8UZfBHPkNJDxRTE+6B/umFNTBa98YzVw9genoveSWDk7dkIb70zE437KZ6iS4thYExEXAtP4PF9FGjA5Cef9T7TnLvcD3ysT471quBhMZg/i7KErwepGqGksBUrDLOfXjbXrkNoOdpb/WHo2urysy7pdoNVrswwfYiUpIF3vYlBFekF7PnpgfIgTqgjnqDSoTd6p8Sh5xC8dAnCtLzgrNiU2wHyQPk8qxV+B3tz9sPpJf7/vjnkG7NiRUpHFuvHc+8cDJYf6NLTEaBa4Y55Z3NQz25tKLnfoH6gsF67qC2cagTIWfRXdtt6j6Iy/yVa2ZhB5CrrI/oEycITLdchbJPEOKWLfex4+Pqul5ksEemzYtJ1CE9dApidRqokI7AM0t+OQGhLiMxNwkxhn00CBAu5yatfsxbUginm7KC1gfJ/KrCDJhdxZ74ZLYa+N6dtYl38Ho6SCrbnFfZ/cuBlLyMY8Jz/b/uuPm4SjE6h+LKfvzAEclfxUYI9px8teScg5sf9yW5FBuWxsHlUZFMr3McRyTrIXmgGpE6V4x6tUQzYcRE1ei7zgRlY18ZDinKOYkXpuRMwLMFE0aaJl0VqJOSctYy79FN3sfK1DJ/geTka+Gw7646w2AVsZWJmDhNFTWLh7ACPipJDH8pknto/7O5YyrfnPgIdBnM/yzX6Icz9F1ZEGT2nT4foqgyvuVrU/Aq+7vi1HA373+D+JRIQeD1gKDFP/HMZ/QffvDGtOODNVUB4b6RsCH17fkxaO1ITpYa+gvoCgs7HvNSSGSU+yioo60JVNaeitq3S/KRjONPjvvcJDWfXQ6SWG7tdhWSABvmNkajNfh2+TYQo23c5noYJ5HMgpnzxUmEjWZNKGEFZezVhcg9Zhspi6iTjLT3SFjQajuZOTukyPJn/5suaLYHOJ2VgbYgAWR4vFlen02qBLYwdfofuy13pCCBjKkdao0FT7o7cuP70pBsXfro8Bx43RPnm8KWgDHAZvjmGN4ZKdK+TnxOvxr2CMMIb7+eeeYD/qmDm/7QNKzO2s76j5dy8+YfBsXjLak8JSRL2PBXkzv2tDeixrYcP2leHkNZZii/NfFHVZYMvJBjbKysB+0tXxv5zeMy+muTaoIvcqmDTX1Fpz6cKHveW5PdldeRNAtMHF6EvjzThzlrWkej3mroK309Hy25MleeUiXBGDdJp3u9X9hOrd/Qa5EiMZ+B8nNM75Kzj77jMUeLZQGsWkqiUEy2lWfiXdzgzG/4kHRWks/+lF+KhZT+OOASfCWpv8JwDz/Q+Z9lBy14Kprxaaf0Tl7H+0JjaDr4pwlqpJDrwTVnusyrSRITGjN5HeUGhNSTDX2CZ281hhhRYkgp4jxfUa1+z6CBOI2M73yXGtvL9cxM9BEHjDNbbIQssVkBL0+V/UgFVd87NCIre2O4c5SDRvZ3EA6l4hjdPd9q6elMrM4vw3U2bh7JJT+UINO64RTM4It/Mx55jPJ5fbNoaqf/7GebGnfNRoRfqB8Cug/Zf1RoJA4rUGssTcVsjb4K4FVHcGR9rE0mWDKBXX2pxA/kigWz6j61LIP0sY4KJKaLqkbR/dWb65shOTI1+yjVI2DI5eFUrRBU+ufOvpg6c1AJmELFMYzYL+xVB2PourQTpYbfNUZ56ySMUUOZ1siNs7ub8iIS+OqFdIZtammaEqQjk3++lynif7fiXrObwW48AeGciAJz22omkl+S4XZPZ2ub8dNY83vMUNprrGc60C9LF5OeZzrtcsW3P6hv8ggWDs2YfMvgOcUGOetGhH+kYZkiH9xR/fbarufhn6qwpggfSsvRn5iZgzDfl1kqDH0hq4L8DFdmL65az6fp1kKUdoYs+7wGZkC+vbURtWMDreffxc0PVCD0jlRIrVVBv6Z/iGVh+jjuI/9Sft78gmtYud0p2+wJyBtrd6ZC6omOwM3LPauTg54bpibRFNFmn7VGpg1ewYr0FKwJ6042pVlak4TFbvD0NOMgKHS5uu07jnhX1+f1K+BRyzycvprP9O1uNQt0tFexgyWV1QoD/NPY9rdKzKyDkzSfq+1tKu5iLWQkqyeHCDpSX1rF3r6q62TMp1bb04RikJUIi6Wf34WVpIZi2IwNnfEmr4RJ10uaasWDaZiIbMiFX29Q06PSk/SDqfiFs9WAdxChwWO0PeshzMpJl7YqpSmlrC50ydaXhpQzId/qC6GGeg1TQpm5bpHSqeFxpT9Qyl/1GWuFec7f0WgXZUa06UZLb9c96yaOGWrzz/bVxUgkB2bwQPbC7ix3Mk8AMvYevSej6U0D+NhP24SdEEcHsigpyAc+pKdss4mvOjk6k+cLq48CJlQPjBOLqJBQY7EkNBKeKET18D7BOabvGCUOMli2KFmuUFFlPhaPqo7mCBRFsRUrNf/MHctPpXQiphDsUywiX5mY1NXn9liewpHiuu4ySBq132Fp3z5Ak75ZZSvaCNCstt0XuW1jrvgYVaB4YX8fff3+ZOhiETplM66iq4BtmNhmaociz2ZicQg/pLVEkpCaHGN2LqwKAb0gO2Q/36zpKmzkKvdjL9/7S5kYK26wLuUNMxK9iNiPw6Yz6xCjl62EDKQSRrHwSHIWEuZbeglGVZ23UV30A1BlajDJnWmG5odIXVyygWN5q6NlsMWYqxCofrZ11jAsjfENtbe+dHuvLuuUa+8nPVI8lS7bjBJ47oHDX5lidl6/xJU6Z7lJKMV49+bkKvhKEZqP0Iy2TqiiwOS9UCIVLur4vJqdG0HgL83U2SJr3BYqcf27mfjo9VoYaO8/ojqQM9l96LB3fEIug3vHXNyrpws/1sYkZjTexM3ajH3G3EghMTY+bVD0I7Max+t+x+AUzv/9sOl0vfcatEQxX6K2cU0IMcsVGIN4KvlugHAgv3Z9OlrxnhSxiPf3QJZRte9KP0+nfMq6i+Q3U7IH39X/vCy5cmyxXim+H6VvxDnrtRE0FWv1J//m44hJdefx2QgOBXBOFgL8ywGbxOFZ8xamd6HF7uaYDAqg5CS43mff89k6u/LMNePhEEBqU4cbFyFCuEhj6PA7s7Y/a2YIPtUPXMBQS9eWG6Vck1yMIvzs+SxwOBMZX65GKqUxcxpUrnb+NmTmwR3Xbhj3YjPHSBflDF+Xl4BEwnHKc42MmN2ydXdZcbaXMtafZKXlRHUd8wDxL/ZGs2DHpbP77pCcyF4p70gEj2ruuZKgt9J3z+DGZy+jWE88BNl93UZBXLc33400FYqeO8Dg6y7jDVJE1N+1fc/R8GHPqW0wDtcwuSGqBnbcUaLFTMfrp/GwNrn706ZIiKS1Hry4ME9e41cObS1Zc6gTctpXSH0HaNv/m0cFonbYZu6tZT6WCJ8ZVZWY79V/A5VE9EMNC4d4KaXLb0LiLAFrqzEJFVaWAwXp/C7mXbPctnJqF8P35vI3kcBRPbDhWRFUpn/+DN6LbbvaOGMwDbnrwjN7Ve+AZrZ8gelYhpfqZPhS6LpF1fuZU0IrM7+CxCAf25U7YPcs1t5RCNAvG5QP+2HzIcvMPyB8doWcTi1fz3cxs9pNBwQ/SJihDRP5pOQMu5p5wce7dVsyMZc6OyvxYah9aErYogrSdOgTWzRynkXgJ3qvTmFloUju7COaxhAJwdLVBYqZ2iCo/BDuSHw/Kkf2dRmNu6zzd/DVJwtyvrukv0I7qaqIqJwLH3jvxYFBpQDYL5WGFUQjEcV5/g3ASM/CcmWZFeT1ziURQ++lL8OBVB0vy+Zlnr8QscPmLUJ6oWNlg3ZbZAan8xr2kH02s4g7wQJ/wjcx71Xbl0IHYENK+BgDeFlfMfbF+qgipalPyDcUiZ4NryTIFdyrwpjEDQRw8FSSWzsPM9Vd3HmkP6/sWm5r1pnJXzxrNm/A2kXaMeG4F2bDxmcRxptqNBrSdiGuBxAxUUMHjf9MegPEi9nNgCBDhuLQM9DNaz1mck8BluYADvtVOyaKRkGmTBbTpsU3w0cMSLjkSSRbWGYlGg1/OGoT3VKZzsBhpfOLaYoub3h/szwGUEdLqTMry6xNC5qBQQShVhzq6Jhq3SyvYrBVND9TK23sso9AuFnM0mXA3i7NUsKKb2eI0jWa1PKv1FKnK1ah34Uq+TzQUeB90sVnedsp/d0/uIxCtaGifuOm0RKzakEKOb0uoFUIcnBQNchHroHkhDGim7NBItJj8aPo1WjY21t6f79+jK07TctJpva8fm6jdBsDp1T5ULa+5Qm3BzT5M0ew9/0dmG2r/BFST/ZCQ2x9V9w7Cv/he8/++fWg2W1RxUC5T3mfqyAaf+afA23MJHVUblu63VGFRyu2DlQFQNji9lsEVX3Ab4JcjvKHBiXN0mRHNUBwY3BrNYX+ShgUbdEnppYZ4vP8iIAs3nAB15V3GAVtySvbCdnCK9elI2UEthwBCNnt86B0KSP4j1xHKA3VhxkyVfHOlvfgKPaDQfhH91pfRb3VFmmAIhdIOB0c8pSja7UxCo2Clwxvxl6czw3A6WbHz70+rVL/je9YnQS2loKcHKvYuk/TvLSLDvi4Z/1/y2qBa8hkDbb1x2lgY5e6TbXY/C8OVIFY8qDSFHZNhmr5Hnk3N7Ea1sD3B4J5ozI2EvBF3Pbcr8/HOVxyqOzl6dMJpHBu2Romr8MxI8bKBEsgGXk2KbHfzKnJHOcw9USNnM68BDfsoirPQj3AeE+ExpqG2ANDgveQpC2lJTRBlBE4DNBBszl2v3H3BcTplYkKQ5I4hmz5YysuT8gzLJoxzBi/ngkcgKOfMkJb2lemOD156YWj8xm5jeA3of0pBtMAu/wJ+IGSATdIQp449uOkZnxdqwqXKuPW97x/AOuEnPrbZ6r79QqYMldbYpJf7jFHa02FlZvyygweUekb39W2Jo6xGQvZ5rB1mE2mpmOkcd8g7ruXIppWoCGohZJg9jfYMY6E+2heN6XMM9N4eL5ngboQGezQOpXq1kQthoK5PyX+q9xsb9w39SAe7lCvIG6BC9Xh6rtvH/xvVackqmThhf3cJTmJWDKwx3Yvg/2+Bz9j29qG4RcOhIJUUJUB9EDk+hwGk6DloPWgVqLaYH3GugOUsgMV1Uzgu+Ih741+oK9bzJXsUuEomyGyDS0mWqUvD7X0/WegRDfdt5F1nnRwMw8wB4cZUpljEkjrU9E3cvu/dklipRX2k98riUATYbmFUn3/0t78tnDVuO/2amFsXQUnrfHyxD+zU0LryM81GScUwsRf4S1+VCQlqPbiwOG/uLReLSYRxpVyOTJUp6yPe/hSVYcoPlntO7Rs4rfJPJJQQqXI8RnahEqgHs6Gm0HDSGn3169E2c5I7YokI/6lvRI611l8olyGH5pAfhB8kRDdCxv8mSkccO36gG7u8EWABUplr8k2JvRHH/2zWIqY9jhTbqxiLjVl/+O5swvokY4kt3r+7+fnvgZoXfsLPCqxKAU+s+amNS//JzlcH2Vc9hmO4Qu3tQ1noC7C/tyDrXbIGvd72AdOOC/I0udiVTjRYmkObX67D2W3Q38S9VHg+nzbDPuBAV0cYW4DJnUlzKfp0/3HJAujePXgq2sCDtUcJTdiwMe9oB1N6T//pXRAY5T5Jmk/SWfKv5WLEsjkHXdJspO+fP7dWF3PnOr9L723pOERlROaeWGzoFtp/syBksAxVyYoQ0/fK8HEII5xgj7v0EkPV/kQKBVifBz7gu2rYMudPClF+24yNNrieMdWjGEdHagEMb50iFZx7TN3T4i2aM6NT9Anb/HfmQ38z8+JAO8lW/CYigRtl8ICcpDT7apezCzULHGzUpzRJCfayUeaOxSFmn9FJCyKDs+b8z/qp+lZXIpgJoXW4RMEYMRYjeUuhqkVOcExtvpQoa0IhpM06S6vVLvG1GfKwpO8vy4okcO+HJVyay9br6/ld6fQpoYgbW92u1suzSAom4oLx22YEXeRrzq33sIa5Yn06GNdY85HaMeDLSB+S3JtpDlL1Rad5xTavWODvTM0VqX51d5ret7Gmzn0vRuNhNbt8PSSNwrG38TOiJJHIjDFUfwtoh9pu3J1uiCYJUyriQiLHTd7p5bI6KSIwVmWU1tNl7KdUvNyqAxpzgtDB91x1c5dhoIUbKU3AS6jmNPcqbyVwcPa5Fs/90X9sQCc8A6VyDRpoSFDTPvEKMxKxET7NYSA68pKfeRYKIkrow8MX2zTaWrspO0NbSu+6s1edOfcy0jQZ9eBXlAVR8qrZCIIjWzBCTi2fhnDUjNIjYF9mqTcY4/A4+zKcUEOdcOV9d/84YRYbHVUHSaaSqBy+fDOtBu4lNRBZq1W2jno1ChxAuN098x0VPYNe0fbZMaRHK2UZ8VHfEgpnkdeoJMCgBuXb4e8ohmzIuhSoOl4YEhBmZbIkeGDL6iEamqkBKDSjMxp0aMiWoscOu2a56OsqK2XeB5D5J1npKXJ9iOYqv1BM186/J2JHugn+MbRB7sUTpX1+sw8V8wEyOoO+1Am0kEtXw0hw74CPIHfjSHNdrjvjIlKfGMbDoo0nG83xmmAEGDBDqCGT+DFKh/jjDuG0wQvrWhoQzE0oD2AdIHpfSDxV0kvmaCT66HZGJ4b++LZGV/eopuyvJ0B5NSJm2JfoGJRDHT4hVI/AhvGEKvkc31fk266ejfc61ESbOVMSETRzX9hMGLHaqax74WN1YRUVO1KH1vn5WdnqMYCT58mhTD+Y4dO1ZCmbtetiTeieIbn3LOUIxO9WpJFGHlsZIBeIwlk7H2R9aeeHg39iVPS4fKj9STcVoM9enp+GC3AAIqv9UV0zQ9gnK5NQKDpF4wAgmDKgxxRFQhFs1GDPPX2B4y81HLRAz9KNZYsYSOwhGBFERNNWYRccWXXq3NbPNzZqrDWcD8laMBqb1Gfq+LWOg4vGm8pNfG9LMguNosqvcHZu1yywxayqvOlk/3iY2oreUYiV7Es2XiJyDWDS4EnYtRaE6ajP1Nlu1kOm85u+Hj17cACQFIO2cfbOxi4+RDygIBHEFWM3u0BOQssZvUxuw/QNGV7AsffdVjP5f2Wx8BCknp1rJMk2QxHXbATfbkdERxgpBNq4Mk3Lxf/7YR95tq+CQuxa5aA4okfMNoyStNDp1i2JSlCMVhdnuUbTvlfg+KxMG9I/eW1ZU+7TUNKUflku1LYICiXjO8f69hxQ2xljQC1QCrW5T6CAZFMhKDtf9pqipA6yv2pg8l3qawzDkZtLbe1WbOx1ehfP5kYTWgfckR2hgdWbwPaQFSNcwAl5sATCH0aca5ne4Gmin439tqmMFE9cfWh2E6H9ZTud7+s5RtZ0/er5x3H7+jL0lj/OIc9lTRBwGKs/twGUHDcA2vaX+K7vY9QtHib7vJo0yF4vh7Wz9RGOx0IXlt3cY5/pREefebj+qg58LgmMAQ5jaiB3A38t2XzwSQWWKJnK06IZW0Ovo02gTxweK4cBWC24M/ddYlOlTNDcczxJBbYal3P6Qa0DBWuEjcRNsBXAcTViEeEI+0d70N8RBvFCREF5Il5ln1rv3HUuRBu8ihc3GAq5bwnOkJQRCLHcg/twe5iXe18qX0uVlBWZFbNXx1q7jWVUZjtiB4EMA9Nr403jY6GjG2KzE21ZDcloMnzrdMGRk/bmA2Vkp46alRZllLl6yKxajw3iuEWvhSP0wUz+i7lE8ESzKh8EHXJTCR/uk7kFAKBbum9YLa+uE0C4OSSvJI8OWBCufBNxYxOyp5hQHpNEU/Dr44GUc7jN8lm/P0XDGRScHzSBVzsmtjoPBJLHYKTH9yK8jZSZ3BFqWEnwFaOZNfjYea6xQSdnngWNpIdNHavSZ1s6yCDIopsMOXhNrp0J6KEttGXu7GkBqaBTcMFFVMG1ikwOSkVwlokBjS0YVD19MtQELT6g8iNUDudjxj/ZcMz5L8Pq0IfqHgVqL7Vurr29yXGvVPZpBOdSt1LtfChdoo13OLUSfWFF0KNCWt7YwEUAqlzDBboJPnu1ceBibdpVfv87aEmbLPqdxmHgXlbhH6X8r14+omyGieBLoqmJ6VCNtc4mx2eUjqp9r45Zkt5a53v8kzIendYRl+tmF9+Y3DApjzg/1nEe82CO8+EIP+HMm/qerFiepi6GV1KMiNpeJkJ/dGcBWfx46PJVIijhlLxa7HbTNda/O5FFDzeN9lxuYsgEsRiNrzR8vJGuTU3M8tXJbssfzrp2AETX8eJaH3e6j0Ax8uHZzpbV8dkiof2ZGI6G7xd5g3dZe2vJNeQIrrpmlj3ZIEJs5j6Es0Y+VIVSIA/EVdMYYflMeYwBJgIBuOORMkN2i9H7Ky1S8JBV2lyz4RmB48xKw+eG5JZSgZEgoZQu3oKa01jU7+kNQOdrjr7OLQJbR/sKby+hTNLO+fs8BOjXKsIYS5NNhXfkDtUxzvsMYTMKdwD2fwa9iEZkPeLejFPcjfRmIFvVbh3S4dP55++R365NUR+uUVegz4KUDJsqib55rYw5DSgs3GQO30gx/8iFdELcIrTfrV4FDIw6BTl50mLVX54ArlgQsm0QJH+NsBdob1Z/GACKdBSzQ74NGzrEJMasFoRJEa7jdfN00toqHxbVNscRKKuhzkqq/5FiKPv0uAFSl5M37QrlLPIXRIPxpIgQQMO6as0SrCEg6F1mniu+fAWFDRpKub+XZOh/t0JYXOIQGAs32zLGazBlYW6QvFQEo6aHE4EE2Ta1QVS9V4L5E4oL2rjxIVRRelWGGNimQbqWeP3tWtk76UOIWxBHpx9iEIDQskSmba0AOGgMgGEKHqeTqKcg+QJqTNkEYu6dcX7fGGt8ddUMd+jqHbIFfKdxu11/wbOGhqrhUocdKYxCkBZcV/E5PT/jdwSYYSmuLkW2x07jw/h089PG2/Y1aptRguBcftU2KY7H6EmotTM1L9K2UhDDWWkM8fvmMaJ4hFaXOl5ompYXeoZnbFigmLJTTd6ZeRT1Fm0nGevLF4jd4OImVMFELmkrghJSabSAS1HS+m4sAW3mQhk3G9WcqTzyYB5WH5Rbgh33jrMKRJHmxrTz4BZ77QkNHp6k71XOkEM9ImKNh63jDP6pNwrXtJZL0WiSSHfbGs+juZwhZVWqzNGNuwibdBTeAlKCj6QiYYN1tiy/cMBRrdiIBea5pM3se/e1jWOBkuO3oKx7dAcPwYvVgpSuz04+2s7vR6acF2i7TuPc6O/q4lyZa2t9ouM8ujSBWEZe8AUIfhgIEVOZXwgTaSzKLBgo8WolxtAd15HpDztUaXgielzkdD0YZ8iKnAnwE0h+7EHfLiwzdMrVayFdyQVEBPN0AS4al7hX67ngWZJeIZNPkqXInfHVgRDi8JWjc1Jzoq5Z4PhTMHibEYHKTp6P4ux71yvTDOXVaNmsbRhwy+FIJSCJuUFJ0l6PqRTf0eZ6i/R2I8nQw3nJFcgto/V4l4WmTwZkI1gdo8RqtuLJ0assLEZlD8dtjhV9R82pOtcCplmg8Ed9r1fcXXVC9DjnEEMe3x/KXTYZ2YaFdF+oAS/6zTj8iiCF51CzvTMdMiddDCxvcjvPoIvamPQpDEPC/Jl6LliMQR2o2QEP8YY6lDt6Een2m0YLkA0NpEdSCRcFQU8DJOtWi7DoH1rD9umw4aO/kBiOnVI3cf+u7+r+AAgdD1Wb0k+Ukm0G0ixl1j/vHfLryUGOY/ztvOr+zOCxlnPPHlUuxUO2n3eF8BgI7o/Nxfg3IVaKzqZDHcxXh33CQlk0sOP0wZ/5zd0rkvbzavO059jFSXfKhr9DJs+9ViYqWi8m7O0g1ayC3LWcDI1+FX3QyPkOAdkcFdMoQaN6EBNH8vM5Jfro89sHRXOewJi7fWepdTGkMzkRBoJbRb054P16VMpopwvKjqMLAXstkRg2Z7L1ip/Q/Q4blFgJlem/TMFKh6Znoc4mRG2W14oZTjyd52DP8GhYhTquoSCqxvDuZzU7pAnauOuipaD2QAkaLYcEg40UBz4qQ8/HFYU1b2dM7KrVu9AswvSUK44yrvvwvRlCmS6Yl/fSEigl9BO2sivy5gQFhu4i7ARfQvo514u2C0o+zlXaWwEX8m5VzBtGYJ0KPXhYbHT8oznnhD6Wb+WK0QkrbQqHwojk2g6r77G9C1mDIF5MfgRjgAb2akSyHe1O9Cax25tYl8VlinHLzLiZgON3YpKCH95I8C4aAd/sz5g6vqZyrOYL0Qo7Ef/eUzywE5gzlYo5GoHLf+MKaj7qyv6egP9gL0txvDTfzP4fSlVdnfzI6RComt55AHw6oEUhdWFPSa54jG45+2yi9FB1mvhHWI5MndD4OB7afhdAHfAndcljUB1oExA/PWhHatAZmahwMciYoktvjShXqecjkwzXpDHBBreA3XTt0rTe/I1CHYU+mXkaJa3HrrFLgW4qoEWut6QUcIm9ayGc8mhZwCDcqKZHZ9ZW0SUzgJLtuz5PHHZzoK65FDmdoIhEJGmkNje0wiynxfh4KkgZWQRsHNrq63YkmVqqZJelKbu63/RgtFa8H5fPppjV0VvGVU3YEXoK8W94A+MfQl05ivdyMuyuRDNwlm7+s9g/rO2EfDi9StiamAIn8kAfcFJzKaYKtWQp57qKTuffBebmWhTVq6nCJSjlg7l9LCV1kz41DGjgcMJdzFM89EJlJZenkG4JFpW8pblhK7d2H5gZhNk5PDDMamg8j81dADHB30B0dbSEbtGBhlTbUY/2+h9mlgHWu/jqPb0C1B/TwodfPH/yrYkSXba0Syr2Kkw0fEwUA4k0FlAnxAin8PoWHJJ/pjKPaQTCTthUJJzJ1ef1B9KrNJISmFHRCK9PaAQIV4nlY56JTiaqz6ecL2NxgyRGw6MMhH9niRbNIbxliu+1fTiHLSzKY47M3aDnK41+iHu7Sf6f2d6ll/W/BQfjlqJgMEBKYG0QegSMAuNhUCWhTXqjRXA2hAeYd2WxPHzTdIZUHDAFO1eZF6uR+bpL64FFip6Be6/YkFziniIPkUQ8j2lLzYXs49i+fQXyitcEUjTfPGXOQPy334aNA59UD+CKEXul+7k+UtaLLQJyz0ldm0VPCfTurqTiJebUZ2BQ0tq2jNR5bhdKvNJJ1rlieK0G5semkY1CpQ5jET4jKqGR6WPWcHKtuUUWdqDW+ZiPzkchUQ0tirOvWrsXQY2DXGz5mY1WkzDOIapop7PZLB2ulrunOTsCqTYMiRiPBGGLkj8uXTZjpGpy4OQ7n9lrAn3ai9Ij1xtEH049yHF4BYrNTNei2Gnebffi4cSXo0VvZgnYby3lhIAd4MKiVDBMcUYwYKE7WU4QauntnRzxCpdYsbA5KhCTCyOyse9EWR/Gi3RlXOFzHv5S++ky2gIPm8/+079N5Mix9fy7hPRnAtvPwZf4WRVzGyiTbBujwu/0ciu56M2AtbuiLoGaJthjxt/D3+70R1dO2MOSxbYdqcIjjbWREQDKRzmKot6qG/8xhosEteh2nrp+w1Nmduj8yNkkV/zsRY9+hl3RZriNHsTg029yDHVHGLCJiQigdd1Ebaq+ie/z4F9vz4FqrZSeRUFhUS0Xwne5ElhyqS84ZmFaEN1wAGvaulrqqrB5Bvczpqj62aciwOQGA9bzAbiPDJcLZFJqQ4YJjOQAGr9Tw3Ky9jYQardL9a09D3iNv6QClpDFLjlaWdDAcyGBQ0yGlmQJOCdbF+a900aPgSHq+gQh4s73Sf9Lkm8pDn9Ft75nhUe5Ws+rjhfz1U1bKg/tkz6LqnQAgsKdfxImPTG2SxCoVe0dlSXWXKGb5yPrgDfJZuZvJM8qMq0aJyjfFplN1II8ZdQi38DDeq0SGWd6174dzsFkujFy9+OpPPsTuZsP9OvuAUmpa9BuzZqfTMGLkeo2Z8wI4MoWm1GdQJuBq2Z0lIdKfBuTU0mUD+le+LUCqdNu5Dz+D9Tmf8BmyDava3YsHZ1u8aJdDyZtuedGHQHNCJbsWKxw0krGdY/BEZ+jMf0hsvaMbAKmX2h3sRch2OaKu3fZY0xxyjqXp3rt9TgKh34Ozkyyi41KML4doT5747sNdES31iyBf/ytfhAvdkQhpnRY702pmDdHYJxvKVF62O0WH+E/k/+Ok46ECm6k25/ON1cGfWJxEfa3B/3hbO9sDzQLS7y/x01zYH1OIG+rD1rziCkwsHibZO69QCI2bZ+p939bT87g3aV2FjLo+KoboxAdpso26gGUs+eVjpPjTazGbGaZ0PoAybNigbnSDBru8KPeSFTmI5UtZwfI32tZo9wby/5d9n3+u0RERcCbF5XQDXSk3Kc5fnpOxbiFwegqo4O3jDJYobf7UaP1tP+77KtDqvbpmysr5r8Jo6tAG8uR08898m3yKCK1bRY+o6uOtD/62GWaZm8Qg9TegxV2JD6WSArONyvPD+TxoY4vn6AIuJWtf8g0P7lOK55FW5eUy2tqKohtJ+63PecVnSRYr2O2pnja+UehYZbvRJrvFBKHWA9nHogqDu4NJhZBQCySE0GnLzl8w1EDP1aaIOibFQqAYFXu98lzNjQTNPbcjWn0piQZ8Ui+59pCiF1eDye5+fW8mYYNL70Q2C9kt6yDL9hi56p0IhvgPKUOjRv7ZFPaNb7bcpScqTPuJWnPLEeK5FqWBC4ujEE7SNtT13//3En6hrHHsm4rJY5LrOkp+ED6hQLKXOABvMH2ZjyC7Q1jpGp23SockeB4pVz8kq9SAMr6uyAirpFycpaYxRKbSsQDyW3yyN+9escbl5qoX5pHEME8I/ZXyeLkiFuqbye0qO0UL4hRPzlO3/KlvmJ0MbD4EbsvQAwxvT3np6OeGclks7IUYREMLFbUxN80E6nWCE1OVx7/lwq1lFrmLH9dSeroV1u3hV/4zgXIUR6vFz4I1MdpWYzooHWtqh28Lm9xh/K/+pVs67D2+n8oFFGd0C7SEs79yyOCpMnPEAB+qJUT1hi/FP1KQEnQjlZO5M5rZe6LMO3HLRZdwf1px/T77uHtqUgPb+eZSiGi8d6Ct99PgIq+ygDKYfr5wQpvVov3OniO5QnPb38ptEC6xj6I7gK4KTHd6LdDJ6LSSsxmqNJ8SBbwTvm7/xFr4xA7O53TGcLfQoo1IayLmoHNQC/axMO9fDJGDJJfR38nsILW94+obljFuOGsxpcws6bm5RtQ4KeKhltpMgD4B+jrhnv+Cy0jCPBXrfOrCjZHPRx6m5OA12YHx7rJrEefuYwrCf/JF4AZEUIyKmWySh0euOhWCW9cBNAv2+d15xWqJ5oeq/znA7Bmz3W5QcVXxx9ozHINNy9rizOzlKnIBWQpaeUWVZp4guCeMvORJ44JtvUvBu1DEATMzL55XbjLnxunKIZMMXad6jVYELhfbGwe3ERH5wzNO4ixICnmOqfuIf+YR0TWfrxkG9lBZU0ZEIhtqkXC64CSZo5E9GtfwMqS7xHOlbVmTSw+zTvH1joh8gkic/xcE7EBMyjta2DZip9zSpEKb7UbbGnk7PxYn5msuVYTl74CeNGxNCUb90/Mkw24C6Bq5Mhi1ZzQhIwPeOY6P5Lz4R9DpDhB8d8nMepPgaKWEMDYvP/Hdm8Pp/+3P/T4q/bw3zmAM+R3ISLH9p24F40IGUx+4YWh0m0EXooiLKuI46VRTChA/sMfZNyCSyfMo5jh+fnsLJeyB4s0uRu1BVVwpGs/X76krvXzBas9ZslwIK0Ie3CciIIN9wgBjNQ9dQ0CZvATiBEZo6FT41NFqi2shLfwlGZAKBI53NENnjUR8/ZHu2JFwvPZz23mbgZYvbXn+Zx2yI/P9y92oEXKYchyipB8K1tVaV9ARHdLMlLWNpGw1TYKUwp+xZtQK3osIl0BHOUuca/O/OTqzhvdk7umkjuiiCW6OEBmpmIx67XxOPXbPkl7vWs8lAwWb1qkKSMJ9CDAgxHHsvjyZL4Xv+J7SCaFrXj5Cknec/K/+V8XN/RteqRNAQ3AlVrXPYwT2/4llzYmk4ZtorTgqg4/LpO7wVznEsysyUtRdrFWtQ9OYTiAeZR5Thovh3uE/suLcr1yZ+vCmtt814naWzs97Py1Qk5cFnLn/4gwqY7fwZUDC5ZSrHsH2jCUzQ8PjoVvmlRFBK2NknQzKGZ4BCNCYzg7L3DvtHXVt7fwQrQHy+kz09CiCgCcqKhVx3bxw1NcCqDsMztlKOdlQ6gbzJz1GrklyU94JNInMl38kXVBxqISSmEZDdPAkPwXdLwVfXlZQHU/ZhH0vKBP95L5Iud09dL+lwcDfrlWQjRiBTFvQCTBXHOKV7QoH8oEAXwhoLul/QiNlqG8o1mwG4dO/Q+itqa5iEwIeWHbZQmeS8IICSs+j6SGGsFLa5IkDD+dWGSZKT/DnYIzX+U69fNCQXoxXv6l1uGJnJFNCn3UyXdG1kFLxgMq7yo+0BSG0RgQPDJbn5p9s38dzs+IDqVNGkaaSa1yvCoSkSmd0WNQRU7CgIYi+jj6kBtroORe8OkyGCUdpqcWFzaMeamldlbLylfmYIAMEWEF9hVScsAzbXxquL+kdHDWQ5jUpuvmp72NF37I9jzIhMvKV1ulEagYWlCV5/o7qdTxmZfR5oIeJ+Heq6SRuqW7v0l8ZV6QYF9n8nySG9FBWqSGrRjSV/eCZwNO57yba+pE6AAn/Ql+G4PnRCcxrkzty+LY+6AjKvKVDbV/hM7TE7jIeZGtLH8Xmt2bW4dgYS7ZnMZuHuA2+Y3KTwp9Xv4TwEZ9Auor3/cnn0Xx4McFe3mVWfO9WOVh2zI5qM/UtU+S82JBCjgj7I2wnhO4+jfDcDHpdike2q0vB27XMgXxM4RhSG9cNXCLALO8TvxGalm4w2gr8RXoB/12Q2oECA6FaFuV1wC3fjs/fzu6G17+0xGiY36XqL623wbgYXnMvA6NdvWyX7C6xTmthi74jW7cVg1i8hWpxDqiWqNdP5aWwB6GF8JfhgHHpTQim9nJmENsA/7fn0+uRQoZF2IT5HpgB4P/SNA53rQDdsA6CY8MaHPKPe9ujPHrwRMVMW1cqY+amCRRiLwTltC++9YJ06QcNRIbUdvdkr1GiSkwohxlNqkY1i0hi117ByIXTWkpUvwO3BE+wVmJW2rr+HhTlrglVvfpdwJqrV0k9f+31okd3WzDaRS2opho7TE9bFVCCjj5msKZzv7Sf+o3wyNqlZcrNe6QgqWHx3N+qE1C8YwhmnzXLpsyTH6+ew7FL5wHLHCV0EmQwakLxMvdKiheiaPOMA1zd4M+DOYZg3aXnzF69tvqXEnzgXhQdMTdav0L984ZPNJBApx8gCxXs1cEXfbMt1Hr35pWBDPw66SfFoYIZsBM9HbNt2+FvSgRINrrKbzhc2rjzAyWjKimu+lLymh4dUKcNcfGgxQhLcdBz7h6jRlyKwMse1DAEyK+e7AhsSysprCRw80zCrn8BhEZmJSXka2KJ6VjsUdDjSBpKt/2k05WYgNBGO9BHTkI/vqtkb2Ah+gta9zCp0qHAKphSM5Z8qGKIMg2iWIGyGuuJ2ZQyg1AJ1EegrVqbHjbtiqba7WgAVcLyjZLUvhs0tJfQF2ZjwhP3upsYXclugZoaw8vmqdIrmk8gYmit0TEDfYp5yjbGTPD1SQpFURx1oF3aFJ7JRmbzJ8gUHyJky9a9t2Lx87WQw8CvJYZFefTMn+Jvgmf8qaBhN5oYQkjznn77rznRRfISNxDOeS4vbkOCckNLZW6SUz73y2SIEkjLoY8e1Fnqbx9eCiPFOvPPEc70+sp9RHn291KYGnvxMtg1jXmTmVVq2DKr3RM2UuLHbozY/x5rmwpkPg/WLbIAl/V9z4T5fZFnAx2VdH8eb50+dHH3f+baV/CNWQDFyfKQSZv1QliDflIp62X+UvlbdK5ahaZ+O7zG+dwch1p2DRVL2gexoAuKMeTGzxF/IrfLIeGRTAaeNk94NxKTEHJVHjXL5W4KfTD7cWF4LuRRRaeuwlEsicw3Vq0drwgbhPEmz+fSMlF03+e76yofPp6MH6l1hD8hEQ+SuC9Mo6ebc9OSPnOltafNQwFpwT4QtFM/i5UcB46vb7msd/6hkxLwuc1APDliVQkiSsnQkgFDGZGZTfYb+zyQ3YndwwT+tRyCNrI+cx54QGR9G1W2r5dZ2DAbnKNm3CT63DcyIw4zarKZejb5ogs+ApxWi8cVPwhzIGbKXyJC7l739kq80hQXqPE1Q4OozASCDtsEUQMRdEIAlgrIDaF0/RYc5WdLsMk3toXKHAQKiSQf0FNmh7cz8bMEuAHvdQu19oSdTOLjhimEsxEO6rmMTsQU28hscpwXppRzMmAhgSggBmrD3NSgDfyLDdODCGgbtnDCwLPTsN431iEfQCM5YsM/P/TSJLh2hFpko3J5fH2ZV2C3QBS8q2P9/HMbxrFB2AiA2xIVjEoEwyhiTGjeKNFY6K+eUeBn1aHIhZR0rKgj6FP+P5rpiysuXNRNIneYiDoCxxAkSZpArjQmUUIoIc29WM+DkTPHHajFlWCmg4l4nyxe1bv02iRPZKIMcAn2l8DOncx3PaW/+8JV6snUT7V1HsnHGx6zx9q8wf7GliSl1fOdfhKN8Vd8Epq5zSs9DLNuNzae6m5AiFoqfq2uZLrt24m9Su7CXnw9L6ICzowymY/ull37futqATPJK01bPVADMDulYL4sPM5HBFbo3dDgOR8VtI5w5CYy0JqjesUkeVSoC5gZ6hqgV7lPv8hHmlGfVNTY+QfB5bH4hSlihi0o109fmypJFZVI9DPMjaocUCqPE7HL0qcddOf0UUdpVRIomkrzErauc7doy5/hOZapWTuq9VbAUbGkkp9/CV9etKfDvmVUSe6G8p8vq+y5hDk06flK8rhFObXUJXjM39tnKcsItJDZhhsvoY06pP9EwGFfjL/VjCNwtx2aqW4PHLfHZAj65bzIvUcDeq90XKozyRWJHvLiJ17qa3r7xt4kSvL5Bgp2bo/Or14sFBU0Hd1hN/NWKXYV8PtgqfyuQv41+JJQB3sGNQFx1Cxj3cNgxjWypbEwxW/YtT1NdU4I76SoTuaTKfS/6OI3/u3okKd7XY+QiIkVJt0Z4paJ7onZG9TI144I5KW/4PCmghrtWaEwagWWw2Bb6AkfIhZbu/VDLH9/Mfc46Ujg9eP7ovF4/71wEcHMe2y/DJ2/5sAxd3KkHBQJRI93147Pc8Bdn7OhJvd0jWrlMGZc76LeYVi2qo4ZztcvxG/lFCMbi/3Dvmvt5OunwPx+a615Qc6h5TIOs5OCTO4HCHYx6dcfcYX7oLZXOuqANECY/lw2FxLiuXuiIe9cRKs6oe0FNSAgQTk+F4hSDdS2Lekk+03M64dNBqaN/WS4ncAHNYE699mWwSmkWW3nlu3pMP1vbgEePAdI7mxT+4NDq+loJHznVAeWB1UyVzJrbPu97TI0+Hwzr7fD4hqSVfShJ0WsgNKA2fkOE1Gi9kDkeDgj9lUhlJFeVscamW5RpiPUVI3JC1+QT3393NU150hED6aX4JgK6SlXSboVgFO+LKuJB/TZ5EO+SuQ5KXL+PVzvXpcN9lXBW7DeAs1CGG7L7EW7Vs5pdANaWHPhkKfD+HFzzd+Y6DY+asOt36nXiqtc0Mn/GZJk5J98DHbhp+4Xw/CPfB0DkSYselb2hSxO7NhzpNy2i6VZDsQON2Ager2wameM8WgFJZrnAVu0srFaA+Q/hOsB6h+beO94aQUisSq8AwFZ7XMtE67qvSFVoJ4si2PLIBw/od2eQHU/fHQfruSmjjhJscK6itdTic3CnLDnXuWNozUwqgqh/k5lt51EMb9rzhhm+pCrRb4sm8BPgFcy8Bxf7jUoPY0ivSdnEGXPR9W9KC73FUSoyGDbPcvVOQZl2QChcMlXVN4BU/V0AjXkEKfDkBGgMUIzv5dUpKGadjUG6vHGPO8E19m72Tm4d6423imWvURAje0Y8ea081XmoytucHxxr1WrisH1pbtmNSW7c4Sb66WfGDFBIegyg3NlJM3ImYDe+AoIAcgNDJyNh4DmzfG2yHtdcLhmGh6yUz2W/Vt7e2wzEVqfr27/GjgA19+xYA3hqcQgkG44moY9NIobyl/H2ILapdhLc/xxrYT+Y25eSMZSA51xDBHV+CA5T+CDf3EnR2Ggqxgz8XLEXzm9Xj1Eb7rWdgJBlK5yd/+eBXoE56MPXK41uyJQ+ZE8rIawCdyrsnjln4rsHdpsw9PmzCaeYB/8TDJkC5M2IEfQvnTQbTpDSTH/MuLlmvzXncolI81QzFiH4eXKUtibb0ehXtNM+IKZ9jZvX608WbfJwks+xvWPZpm80Aw15nlheaIHYh3udN3ykxYnVVQfTw1EOY4C1zDs6SL8yqBpyRQ0gJFLxuMHUljBHEIcwlVJLymOsHlxsgrkvRwyLitYluQkFoaWDA7Y109OkXseozBgVa/9PR9GQNBXWAVctW1TfqcA66wLHDjAiHwOt7TkSpBQ5/HE2Kwre04v9qLMP+Q68P7pver/axKRM9spBzMsvaMUlEjYzXjt1Oe/DIrTI/G6quP4AvkFsycurDAslHT2+5zuUws7o2xQr8g2j+hslYoWcb++7vwXNlGgXhItCWC2mRUsZ+utuPWh373BTl+8pewbhJ2Jn+Y9mUPW+xz8i5stRypgOvAzBvkqGFPKsx4YG0Py4P/ixR4LRaKvsYgfwIKW7wLrjR1X80NrAWD3sgqXsWPqGxBbIGa/KGCJLvdrLhHR9gHD5rRnRegbCQ1qcYCGItoe80h7CsSPlg5EFfLCe/PfYTg0MHCH0QA+UJJGmi2UW0pmDfw2U6QomxJJGz4mfe5Un/5++c18dY8Cmb4IC6hCzIWUiIyYxHMEeEmGmWEVYwuufXDZ8ahU6xoUPddbDvQAyE2y67jNwflq9FZtHKJGdbu8QTyi1LSsN8QBQ++Ns7g8QxOf19eTrY2pqD9jvWxWMNgim0bpxZUcq74JA/3BlW5977JQ/4YEyPduk2AgEpnjpU2YcGcDUJ+Nc96EDGZ45N5EhVWCQKbZT6UyWFtgpwcAKZPckK1rJIHnnb8J2OxzrThBo2IB7L1vn83o7SXuVbmOKWsXa+XJIpq5MM0OjOyChc/MCbtwW5i86pXNquVIgsMne2tckX84C6xQQDNYweZU+7Y9vIHJVOfU2Za1wXn6QbLpJHPhwzB7mXJTuW+Ta5BS+fGLBjzVPD5PtaaCpfmskVzfDH52hMrZXmuTA6FcX1d87fbd6hHoZZyaTBeA+ePatdFxFYy5eC3tGF9Ytv/AtPh1Z5KJ5NQSMOkzR23ZZj+k61sL6m9gm/aEp9yTjhIkfhURVOoYchHHTsFzMTiVJKBnYbRuNfuZr8FG0Df/YDAxa+ffiUolrfEDZnjdS5sQYi9SmPI+hbUKUqFRGsCggZ4umeDWUqsFhWoCMfCtQ9mJs1axFeksJycSFs5St7kzueHSppYOYEWCiYQCVP9SBUGpM6bCrJWF5NzxKj5HeASgGGqEafkCkLiFXNcb32iedS3sLo6rSCRv3ss+vwziE6u+SN5CcVC8/bDOYiVzhJ1X6ccFiAHbajVkLCcIVYgUDYIaU7gDKMe4kilJ5JDRBetD6JlOrExct0m4MWqgWU+Hp+WpA66XM6/MfOXMGY9SQudd1GOyhEGoJyJoyhWpJmRFBfB7fRXahlZ98Fuys/DvoBEngKnK5452YC6PB/LBXxiFZNvT3A8teracN1tLnMomoMV0bEfA2F1m2lKGhXX49yCnDRghXsbKiVcIMTUoF7Bz7wOJSeEH3LVN/Lt/6Y8WkY9kX4xO5EKY79ZzV/tuvL8uYwfAWn3gr8vicu65+8UvSg+5OcM0P+Hcn1vUurzzQoikCbRnbvLLtjY6hmexQW5w79P+Q1ELk2cXw3b9ekl62zV6gzMCAjSQqUK87lkNXk05NKpBIOTNGL4bYEY9VExuwq45KsRQFSIHb2K24lZhhcDnkX+6c/X+qKYA1rKOlMrLeh4WOykzzf7HdVRPdLN3DH15Y5tP7x22miRZ5OICg/6VQ5sKbvgTKH59uzV9AkaQgkQVmpB21YCZV9rXUocnCoy4XUue+4Ysrvr0mkXj2nN603fae8kDLNZvDn1n5ZgVjZZxjyPMZJC6+pTbXTRLCVoV5G+wgNU1MJYkY3fm4ybS148i8a6gTazriehVcZbq5sUXolbiJsWkip7EXtDkCCvoivNGY/Me62BWmfO4gRNux6Sen+u5bysrL0jAPRtQnHxLbivrovcnLOfaqTrm77j2Hu0x4yGAaoUjK7HSwO9VurJjaBJriecOdK2M0Jfx0AiNkjyx8S0kNtjVkyHEzqFGZp6v5Q3CBEytguKJVVTmX9gfMdsFTRa5mYCgccht+D/1CSTCLrsirwYWAzP6Fl5C+6iFUeUpVYNVK8n299GSOWvE3rOA2FXAe+OHP9lDcookVcwXv0zJ5Ss0t2V1CChIvxYdzHI6/3yOX11ax7eB1q0/yWsERrm77J7cxhcA2Jkpp4kFpYtBzY2ZOFX19JlNKXytJBPmw5PQZ7Gy9uGOb5mfawmKGT/73yC2oUIVHO7bdCt/4q01ZbjzUTNXMZ0Pze9tmNECjlPtKbRU1qAABzZckgjKzG5XoNC7ZyXHk88hWmlr0FNgkt/dMd/SAXIuMT+VP3ErwysYbiKj1OCPYuvVOIUF+KmrsobVhIjAl8JS4WCjc1ibnxVBlITxzQqgzwqTQSR1m/2j7ryfBug7k1zFV+jQaDvXE3MCQO1df924XtQe5inQsZp4yuUl6x1Vuy5k4/MZCyINUucsHswiTTD0hFSMUppXInTKBgDAdByUo1QwN1aWjZQwHhH5pn77IeZLlHlD8yIflk1oJFFaEJKL/FOFlyLi2qEM6uMQAUeU4j6FI4mEMd6G4Gx+9zzN10hayRH4mHM5uAExWbCRiWSVilnmEx4AcqkwmvmHw0SAFOr5BCTe3PqZeK1TRQ9TX0X/N0smbFVIkDRMzPRuDS7IjpeuAxUeE7R48xVBuOeBLgENxYH8IUWOJvPHSIb+IXthYgLD2P2kthcm3QWKsTo5ZHhf52Z4/u7geNoaGVJPPFjCsTyQ3U8nRBCueRgHXFaL4ldahuC67pIKmKpAbnb4aeJJj2CgCjZbXpgQzIhFK3RlermBZVqw1+nZlWPeyYxeFEkEoR6aBoKG+K24LkAAy6h/ZcEDoEm7B550aUM99umYraQEX2XqrtzgxsBpkmAmxu7ph4eo+3lpPOIN3E+KoCh7qQ3ODkh7Gu4kh5Ai2ixwT/rhvBchE3GNKMNRrW+m04zsTflHoH3Chrt5tpLS97ulG68aa+OSnnzRVGg4qSvU48A3xzfypBSmiG+AkTsv0/MDZcloE3GnSAzMFMtCha7W4qP1wHsHbLcwuMzNAFRiX6hLaoEEFlnSAx2HVSaEN4tkFt6Y5Y1VPdJrwRPvQJ/qWDlFLbOmiVq1nKAZZlg89PMUwgtdC8DaAUoET7tTN3Y0AAa27181u41tvg01fzF2dELJsL7JdQDIghHZnAhqpnXcHH4J74j44ZcoBfY8NaNWN/DtRNcRHmkGIfmAVkTWd8Tgblh0pho1HlPjeUlVhik+3AZ0pR2H3RYb415LjRhxlzsNF0vKkWZqMX5ixKu03QfKUu9fC/Of0eYcRtW+Aqz856Rt5MKrNtLXFym5Z1Yb/OmAp0zsJFIhFD0Lhv3UiUNtckVacHm2zD+l/5UnsxJsAUYjhQ8L6qE255LfAchPbu4dezeyAxd/s+z63f9g6+xNheIX4rFiC6D0gOtAc2J8MHsYaU7FS+/Jl2M5XCblaDEI4FzBD/rzvinpEf26EZW2aMXnBee0oUXzLvO9N8gPvcrGsBQAabkCaPMMjtYh7E+QQ73aK8llhmdtmrO843VeUr9lkniqEPda9E8fW+zEcUkzpbS3i3xF6oJ8Z+a8bJ7f8IMDU5RV2xsfZybHSrm1lFP/4ra4oQBM5AOboCdwOTCzzOT3dZe27I/lsQj3yv9ao4nrG1FuXN603MBU3Ac8Ob0dRjj8LGeqsoLU4XGfi+QNqr8FHTy+AMBlzwsmGqlBQjq1RrvSyTHOMnXX2Aab/DeIgad4D8WonJbxhTYNMuYEpPbAp2gSRMqUclUIR6Gb7VQ2Pycx8FZF9plpvLo2yDasvZfuwnIsZKrQCTLcn9F1upWYTpacJdfqRWGGn37AZtwbO341T/ViHhG0n7GT5ErCQcshvfgPgP4kIEDkiUYrqPH1OsUVw6cwk8/J5lKi6GpbqJfI48QcONuCWL/zttws265x/ufWDqKhdoSDLMejiIJVDB6MOVjAJCCMKu5eUmF/z4bZ4lyaAZyki4aAjIwNSr/+lfdKRSOb+CmHsRD2ZrojbX6ZmKRZwQXIfGXPNcpcSVFOdtch6LJB/p352CgUzfGV/nXUyZDWOY64DV5NFKTXclI8wIXfoLRfugADhoHu7pD5+jUM2NtsjjtJg9Viml91DoxZ3a6//uEHoC3in2oWzu3kYU/X2KGnx3sEuQpfGO8eaR9wQOI8sWhyAo2xaWhGwhU9zkzENAu5AJV6goIIGU4LDS93mFumxoz+ZL7Lx5jIhVH0eghUMzvZ8TLur5Z8n+aGx49N2BGzBi8ZPjVePer8IWMZ3atHMI8hH4q3KC7+/F5VyUFE/zMSU/C+Ha/f7rUKXJ2gQUyDwWUOlRH8eYpl53n9arebXPjLIXQR1myZ8lzAnxJwPAtoL9dAIuizKaQYexlIKgK5tMSKZf2FB1oipC/7ermDptU4+x1VdpkpWUB/faJZJaNSUIw2NJ9qtgq9G8qAvRlA6gUg/P/IJIuuwk3F2FYShwdtbwScCwFKShT8QiH/xB2f/xoXbfVsskEpctGPgs4+2HhyvE608w5FzbX7WYHYTaPyYh9YNRPfTpvzoK/Y5Ik8ek7xtXXOi+EaGOAKA1VO433vyb7wjMJHqA1zbuf7nkwMZUXKFbKVhk4C44Z1KcTUTyYJU6xsKiQkKTF8bCj/mBZLqM2IPRDaDger9/rW7qIofPK8rDLErg5+ahI0ocznzyMbY/19gBzrkG5ReYiR0EtcI5jBFlRK6yy6E57bHsGobMD+slBCMEXfdw9PoRMtZDSUhHzeawjwphtvhLKpPMsAfzZcwEHk6U8yr3YdOUfrthMFJq9ImYySHRCpsv8JFV+ePXFdgo/h5s8DfAQG153RVy3zu550oEnshm0Ek7BhkCT/5s3tndTcDO9iLbTIzwvcHn8sJ4GWA5V07UHGaKfE3MnjklTwEYWG/mjHQtz5fFsaiJ4Mv5YjcmwecPxkCStmYvqIORJHFXfIK0jhthr20O3GMcGhbrZCiMdzl66231RG5v+6owx8UJvxA3DdghvlgB+4QPW/Cx8GK8aLdp4MVWlOg42Sre7wSnnn3nYENdaguE0Uz06Uh5/Ix9Satn79L245azW9tmbmJTjtQLl0fsZDgtHyP/Z2oTS2D0KPtwcKgykYgVvh7/Qg2ehqkVY6v3kciNrOz8AG7tJwrwfKXWxxCtqkNAktQyoCAorJQg1AFo0ynuqkV6x3aJ+QDSo6koOJGS1tfR4TnAt3ADl8CczTFCKQMSfaWTIPXU+yYi2G3mABXRlibbjijrCCni32YagGS0WMq0SQLszmTmU/o2Hc7e7uGrC2/C/BVZjdglckhv63VpyBx4Kgm+OlDDw56tNGgKLT5o5clyJ7c0bfm0FEhDVmKcgJ39wTYUvcIX7HQktZ8fiYmqBHe8TSMyKlQgxlffRlSptGTncMtr7t7woSCHPLoZwbdrOMCA+13+6ZU+nUEQKTrS0KQpEmoLzv20llQnzExLjGZTQaxZgyzFaNbc09GbV0pfUDv3Maf29HNuv7P8Tx5U/1fWLmkxeMZHIjeg6JzCNMKbUROo8eZnr8+tcmkBWNcQV+WH+qVs46L6KCVQOUfGBVqW/2bMAWZLz/c00Y0Oe1nYk9C2rVpl0RyPjoupW2nfuFEoZgs+DuQ8Mo2iCiLQ2ONhdFiYJuyOfeJZrOLBy+pSZth3TOsUMJTxVASQno3Q9FxVVl0RUDk3RIpiY+p/67SxqquzoLVHj5JSciDosAH6sSNA5IuQ9hgVl5Z6Nve7mR91QYJchv6gFWuYBjRvrKdT5i2p44paspVizqOi0hKqmTpevFYiYsmT2TOKJTlYzPyJM9cwdDZzanDkmzaOUJPf6M9RGYUtCtzsPqHYztRHMiBbSKbQJSJ1FGHaM6k85fObIKgHsiU1eJlp4tjppWymEqANnykujDv00jzNIy1CgBlB7Nraux16ZFwCLTt9GC9My8Uif38ecpE/nqHVPNDRxvWmFEk8u8rTl5Ht2qMXruPxedwY150FMQS/c7GL27GBHcSOI7qyXyn4r6XNacPNjyoUt0954xVNTkbO0R17Hpa3oORsRwzZxRIDumEfCQPtro4dtFuK6lHtuNB8CG3yX9NGOd0B6dEYhR8LrMrDvnhPqDfX5AYhqty8JnIdQu9hT/DOSHVANzq3voW3Eb8OlC/nS1M1/VjxQpK/9QfCfOMMekywmaZ0v5/OWCQtp1gOC4qAOEhFZIhj1UoUhsk+Q13BTBddGj65T0+rMI+PZ9lgpXVeYMlD81Syne4oARZw6KCkdaiPh7E4UkCAh0S2mg/vS1vIx9FP64OZdtHxTs8lrGGfzR7xF1BdJ1hfFXv1sthVwahNu5vhIAKavkri78iUl+jSe++rbjyumhpeiryhby8mxiS/32tyBQTZxQjujZU07CzEkAZRaZoaqXA7YkT6kkq+/aO24uTX8oFlVd4iOgfzYQ4o7BjQ46pwp0uUTeltUFBP2LG3RPKIvAgjTu6MD8fc1cZSZw8FsM8olR7/Hj3hpp/oAutCjTnOBgLKt+7zAWrNU8puvLi/6EuUlYxvAJiqGkCA5X6dAD9Bp3spiGM9kd0txB3axbtIuSLY8UkrbEOZ22malR5ABIkZcfvdSoLRhH5H/JKpuyVhKok7f4oSd9cA9IQhi3btn1rFG8ElVXKuZEXUYxuWUFBQAGC9BWShf27uaXAsWbBicc03iWDU7JWYuVq890SqqBq5Ol+VerA/ovfAMrPE3rLO2fHkh3LqyVQGRQkskNajJNVcMDJA08N3uYGyI0NduUpH0bTeXPyIxVn61ovJADCop7TS170rbsJK5Djpr8SlZSplsuNaA23aproDFroEGH8ovjv2RcQYMg6+26k21HYOn89duwkfq4XyWVK14XzPjdXjceZGiylIBgAg6siELHWLmahmXquwyptfXmtKRXVU8K8S7QuvetFoXLw0TZhvzcRn4alKwXFOVG47otWbj61+5qf7H8KJAxhZqhBA+lLL2q3tmgoqrO4Akflj3H5MqHxIQ2JXlB34T8MbcIO/op9w4gUIV9n80V4a6OYlZcd7PieBRSfECn09qF2uoTuOyVXoYyfjZJlit+JMC50layn0YFLptJPkdmRRnXq68qtamfL8bmQbEg8O2HPHUaVsyx2LCsgnkTnOPXraNoNTyimre87kCrUJl7yzGj8Kw/Vc/6qvEL3YLGH/B90gY4HE1voftYMvxGhUfRykN22MMldfYT0D66aRXuq3hkDYVC3n3cvi22owwOzncbP5CnLlgY0SacA0TJESlmLMF2RA3fd7qaT6ybec74eYmB3EbJVO6Muc/6XStxoj4ibumGrijN4sjIMtbfr8DdYU0GsBfarQLFuPKcR7Ey1YhOdThuwV1jPvmvCA4UjLLXsEhQweZaxtQoKsUkho+X95Y2Z+SFO9PwXEyTXtcqUVWu+8RqBAKQd7YNCg49xronNBVRZO8zf0T1pxPjHphHLo6Um+o13v3TYOFepoO/RsKxj7tnXdd2O5GaRTFYa2zm35rjN269eFY+WogqcjGJR9Ob6db/IDNAjM5SaEfIzKjGPnz+kRTg/RH5v1dQzUhlkqHI7J+RDN6rpWFQbV3vRLPz0ulxqS4Q6GDPMD8ENSbgkjfP+ZU7SWRAYHYHDe5cNS60Gb9qVrF13X/bd+dM+gcoQeEPL550Bh8sXybQnOowrx0cE4RjLIs3Stx6DJ/JmVHWwDpzNtsoeyrth2dlcZiP4M3SeFtS3OAV4mq8W8dUlzVyWcm5J2/N99iARrh7IOzXRpvSLhM5zJnKkifcPmZYnvWvYB9dDHME9E8VnKr8gU1LTU3CAvAIqiMkApRMPDxoZSbIBUExstJufJ8QXH8BKSQEOi2qUOvmXw1iGcnBHUSzZitF2LGujxq7i6doCINAfF8i+WNUDVUqkNfOpR0dMXcwcx1hLuqCRsGBfMmsvuiXx0sci3sjPjTH1fIYhE+x8u4YLVy4gkl+jaCtuKoWhcLANdxYirDa5BX9R4y3yfaN7VZwuWn4nAF9f0E5mOx1gv9+MnGYbM6ChXXpN7Q+5egVF0PECDICul+xQ8u+ZUNuQxAL32usrAOriYcQm//DayhmJHj1NmeJ715EGtGxTwhNa8Fl4nZTDPHjMT05vlcv9ni851f0Qa2RaOeGJKqMG6IwMB+YOxkzy2T62EO5y0QGUTvbjB5TRnpVkVQwuuMvWzpyuYsWvT5JZ6qIqG+yHvk8CyLu+jH3vgVk02ZWEO+8I4BNPUIsOYwZcHUgRlmtZQ7OgdjJCrlxzuBUj4bsRG9wvzlZWPa8MRQU34ytBvwXantNtNjsr2dufngQEd4/rC2XtjEgrw3re+FLP2O5LPS9ZNbC8y/WG0ArI6hzvKUBVHxzhbO/nA+pCr+cvjAm5m+OuHnHK/nLvrhU81HKTyS9+ajUbKKDZqg42aiGyBdj7vDtZLGu88GUrE7VhcJXaOsOq/4vZddQ1Y1Zd9K9Fa/C81W6xHhsYaW45zoSwA1rE0EOSOjCSVNPM2LutyAwYQuQlXvGHylFEeTyjxcPLwDRkLlJgKRnRAIo7SWdemS2FKWMP79pSa/Lv5edE++RDG9tUKSf7SGuQF5TAsdnNIuMHSKPHSP6vxMvfmqyGcFqbpeWh8nfyBpw+u71iQ48kSVrePgPIvePjifBkI169z+axFE+OgCP+kkhofXGnM8hsDddXjqLMBl3QTleaApwdMxOsc9JgRCSaEe5TuQro0A3IaSvju8PsLcd4Su7SoJTt2+L2ycwbZ43Y2nkdEaVgkpd8DdQ1H7Y4hLr6eOxjp7CNSWj82UU2FAZzfie+Rvutl9Lvvz2Bk1cSFUbttJ4GCjwA5bCix1Y+C0Wg7ObAl8dphjcYDVq+GxkMTWito6Dg8vTM4XgKmzuCSMwNQrY3DOnLWrvudNZqr+9EC2CKN/afYD8W9L0BUaQkHxBhenzFl/JO/gt7w6o3UhAq62igL/YXsRY2xcdyAmd88O4qFtRJDxCw6L0c4ScDKjLM4qylX09i+hAIHYyiLxPdHaD+nkyhOHq0Abw7MqtOYOOUuifH9jEvvjtXmtBuRFUP0nKAWolLv8LUOCTC9K+TLTlJQg5l2P4/AmivqynszSnrviJAWPiW/TSUwwpO2vyI1gOKmW5DH6cuxNhLTZvEM0osol3CqGAVvf8bqsG/2lut0wq/aRanB/GW9/LK9WKxQi0ct7wsOkCRtF2eDThe+DWH76WMZIRsxE4tRjTwQYngHeV/Uei2HFeO+1F17pl/D03DbpifggSnBDzgMNLaF9EdwkpjsD/reHRgMV41nGW9+ISKbfn2zErnjtLNSTvP9anaLMpx27G/VTKwH0d/ibUaxfRlYOgWX3Cw3vvZMI6F+Ne+FkyAlUQ86lumqqZnFvhl7R8L6IPUfCycPrr4zFRU4nqtrr5zHTJnDD/wwK+otkNiAa7GCXThE/dCHe6nw+/rwNgoZBi3WN4pDSfdEsDtTAirJ0nIQGNKStcAUJ3XnHtVWuzHLU70RQNwV3nuuwRVVgZpqwogri8l62KLPKRnru9QkYEqjfTYuliZEwaSAs3Rwn0RsotXIzeD3gR4UJzPobXR66Vii21QA+rBSpESvo6sh5a1ST9o5e5cWxXHhJ/M1X19Ru1XjlwLqQOGjx5Y275TtDzIG4PUU83HPmmBz9TTbUz7lWZpSFcs3CaarqrtPD7njov2k5VEDC0IXO2fzdIRoiRdA6hFYV2XxuVDDr59kkY86MgGxOUEaMjsQmCwvDbFL91EtsN/KvGQBGkvIBe19Ys+DCoFs9Nq31+goD33RUdDt42bffXOujWvjTgtJDFeWM1+CnkGG6xIqfFNUJ/IRF33RcBlH1ZQfI8oKLPm9E+of58iL7IsH7V5lW2dGaWixqSrTBDmehVpoawKnU7uHI9mLo3nGDW+YJ1V7tqUqAxCpinXk+8+PmAh/kX9Nl88jeZ/MwxZpdvjLQhUFG06a6e/sD5a+O3cUKKW04Y7Awax6fgUmb+UBrvWYRZVVjLXJUIeM9Tdd/Yy3yeksL7dsnvtkmfmXwm0SMp9qbsifKasNtS1DYl3J3b2SmPhXj9/m72FasDpafxQJst4M+GthL7FsUlirkZ8IDLSzVZvMpQZcyXoto10ifTf9M+ZfUQXGQbowZp2Q9uQDllafurBtja55LaiuzwwbF0uldD8C5pIwds0bqd+1RRpBDyn/w4PL4wnwzXz8HVvuMOTFKsTjtDIDGBNY0GSxADtsQpf8RyHjvDuhDSkFNRf2Dm6DE0Y/fbX5jZ52tNVegqtv1a5WYd+IUH5V/XTqlS2Wq1zgPZMIZmokJkJzpHPd3m5SEO8iKYrEdLqFc9l0g3cGWDD7pduRBTvdMLIT8EJGgPAc9Rt/IBx5V6b+yVPpSUI09fOHqGCpAkjrjxjGUp5ynqnRGGN/K8wRAumApkBRQbrZQgTx6ncpApSnKIZJ37JfHz1HVOJKmRw9F22l8R6k9Hgn6zYzwJOQtLG6W7JYJTlL/6oM8hi6wlwF9GDHslW3oIxQjPjCEvxUG/d6AtIqE3g8NGZIJ3lIqv0lBbihruwQO8lZZFWN9IIcTqqkEyfMXVWUBuYJZ+oJExt1s6TJxQVQDx4Dh+gwQyq2/6qBaZ825rUCmdx30l4FxoAMrQbxIE5eEsZhCl4V2b8Y8D6eYp5rA+9yDQ0Hz5pDmNaWdEFNBbaXyRV3icGb86OoLnaLrB8quLpkRIDD4A/qeoJ6wiNSk6EDkpaeKNAe2oqA5nqTPMaQjUZGP6ctesvWB2I8GoMOGfm3umzWciLyexA5L71rlw6z+fQK5Eg/+qTrZDi2IOlXLmAFfLnVAzoo/U7f/xiTtEBn4NVHKz7NeApINfgWHzzuBdnz52l3uv/6nA2HtQKuBKPxjDb6ODp3ibIg43iG6fCVsOzyMrq+AxcpchYTfLCoHtHSF0mwzJE/F+siPRfH+AJu4AI17zPj9PC4BGKoFpqyRpHMKuqdM0QbWPsNxC5byIx6SPqNv2vVhygxovvitiFVEaBlgnn5qay5hp+tmghCyQOIt3mqP4g9vgsua43YmCHB6+X40HN6F+pMa8t6XB/MUV/nDUGv72PJAY4f6ixg6tcAyzWfAMLDZqjN31DFdYGw8npF7BS1m1S8VMGEBzPSGgBDohdqWSqdAJZFpx4Y0iuoaU3+OaG1l+rqN98ehTYpU3fGzn98nAqOw6cfjToBaDktcWK6oGjY7RQAIunSuYVtfZtRbJ8Uz9qaIQ/VO7tZEz1NF4dHIi51DRR+0E23MW0eWpIRJzjGdzcDZ1H6MTz7/7+Q0xC7sWaP7SywiqlnPBbUBtM68wPp2BwXrL68J+ki7B8uQmwpK/3emr5N+h+fxOCZYXW5TW2n2e8b3J8J2et67xXSBGJwBdnfkv+WnuYVf/VzrtFHi9CNIihFMNttGrN/rJgKJauDLSIHHwG9V+1N6g4ofrdTHUachBQcrXIyzQzh9VlhiVsbHASlgdgCFZ8Crr2xjEFzfPLCW87xBZELS5Me+d/uEsmLEu2k6naU8f3AkoEALKUemnIm7cgMGBXsKr7SFjBkVZ+SNiR64ju3i09tE0GhEr4FvgXhswXS0I2YcXQZ2HX0dSPNN2fLCGML7sgVweIATPzjdAKFfxW5ggDr8mKG/4R0msouHEUqSdF0L9IW+K9l35dggMbqWrUnAQ77eU551RuieANRmn97vx10k70+gvf2rsYgyF6r7TBKeT6GYGZC3GDO93caMqxZZVA1EmXqGS8vwKUo5bGurFbnifUDlyTNChVAGvg+g20+XWU5pSt72vhGFSK3+h2mv8ylcVFekszpTlg6UWTBTQXUxJzzE1Ximq4sSgaK2DZhTULrZ05is6JSKHTlcCBn5PkzGxcmBvyjrC0mceYRxPZ3o4OJDyR6o7oOeP00Y9D103vMvfgPAYXvdTWiuQJe502nw6RioODN6Vc9YzxVCOO0mxFBB6aFnP98tM2sHVp+TFo/faCNaQPjXjEP9cHm/oxlwRlubs1ZRcjuJubDL8KnAwgb5PtQwDfiKvgfvv+AsFGSdq4tXEJMSvESBlAQ4xgHNSb1rdlB1B1RkyQ804kDCXv/3ZnJkWWASWl6Lb4LOiRdJ32g0yNaFxATWOZ9P8TB1NoUFoR8/Hr2COaWlgdGsnuaoNn7nDNxeusWG4VxSazIQisGDVEXUMwkjZoV3GFyhEoXZdUb30a528G8P00CvfuQ/ZVyldlxRxuS7TbfDIM2/1ToBgj/unpmmBQW0ypIrtJ7NSDphKWC/SWoEugx6ZfnCNK24D97ubRGavmHR8uajeuhsR9ndi3W857NRs7c7H2S+vPK+pWWIDvSPJdWVV+VSf6c9PZGPOBVYXWRor1jT7ZqDy0UVlDiZODy1KKpimWyLMVc9s+G38zBcupWfE+/8SU2b8EP/dPJmLEqnrhJuzKo6ZDpxowtZf2rUnQgWdbVMBqd7Woa8qR/MPmka7S58Dh3Yze2PP1TnzMGMAwD3I8KI6vMdi8DDT+cV4K89Xt/qC7ViaNRD3X0G2qCv8VmOCw1escm13jb1ab01XegaXQ0euNr1ik94bZKVjtvglzdlfkO7zNFhZBZihkOOdbvYu7mBfBweTBwHkxFNID6QResIuJa1V/qncPuJ54K6ytcCv01lvxdmxdoPSqoS06HPJXnnNu8F+53H5n8KvDFJvWrHtqUQVNv6SdOEkCMnKbWNJt2oV+8FfY078HFy+uiDlk8f1NttU+KEf7u23zrGOyKuFMBOhznxB54Fnl+7bjUsLOPxjz09EEXpLh/r1YBFyZIGgW9oWD049KwlkxgMOf5eEv2gsJTkQh2WH93AR7TiEzqC7Vqlx9i0jlySOjFBt7Hc+lH+sRQvwzhuvE2+CAit1RgFwnwYwrpnI6fpyM/UuQ5rv6gFVMVOX0lOeru2lgz3KL5ArizGgwvO7hFtJzsIzKn0BvNAjii8t5SQsEK0k+mvps9Bwx9rSqQf//4nHwPij1xRfDBNfJQxHIkKZhfZIGhSunv7gYO2oDBDmqYNHYMNvtHdP+0oqzv+Aew1IJB173MMDGYC3pj6VfLhfJ5fBrNw07504f8XH1Ax50ccuAXHxG3FAtOD1YcuuNPf43DKK3NnPH3CC+g/L33aErhUvz7TY9wQkIkyI0nh15IjjyHuC/4dcXfyzQ4Agy7fDbS95tqvmVabUPng/jvHI3uIFFxuS+8YozXwMHnl+JjiEcTZcJ2uFVgera+2W5vA/VJtYuseYeNxKGwVakK5e1pqPd3waTE7xeZjVowJJKLUtZIl61NwLDNEtxTqTr8qbxDNlfmGFRg26Plqll3gICtNK01+iawGVQLy1nCI+u5bjenNr6mvL620Pi8LStuH0sJALLJluGeudlquxy/LAl7Z/Sfrqa7Q7RJ9QRxQ+JMqMA5ks6wimsY2sE0Jo4CtSiJeVrI9Xx7ETvbjB8SmpmEr66PRhWcPmEMgv5KshrwCQlKoN7ooMJPmDPNzbU7bTJzhK/C2bsqetnDENYs1AAMUXXbW8wJbT9ltUHJhKUfeaIp2PdTO92UwJGjUUXwIgGaPWOmKqHJb+4c7JnVh3SQLT0Kz82leSnkg/8JjdDsvngoy0fudLlTcgY2yGId/YPixiT9Iz4Ys5eJg+nzpmn6dIjNfMQEq+20xKdtkSUtsqCEmwuLA6Q2SF5JbiEt5sncOpXmXw7l4O65aNwteL6/uItfwSGhOGY1x5gX/BaEKh4zIbPdiup6QzYTflxzrAqGA2ZlZfV8bT1VXzjXQlb70E3MRDoLVWUBzRmr49B81jYBFBb1IV/mhIV36VFY5e5Bv+qxeW3STS5eGvpoXcYJKx0Sa+oDVGSpwKImJ7atrLf+C6Y+vo5mDpOVoPkBC933OtFoy3y6jPQMcX4h2H60G2/e3yTRoF2udCEcOGIzUrm/QaLBU94Ec8oS3ZOcaT78urnaPGPviQtiDC/NuZujG86tRkl4Fgs2QyAW5gHWr30UthMCdIFH7c2/zdTxo0qiMNQj2yEUJ/h8D3RrYeaAk/HMFHgO4dLADwQteZlx1wz8iTgTgfgHdXd0+hqptLBYVZHCcxjjy3CI/OxyjNMwUmPgeg5mC2J/S+R086rFzmMiYWn69fgv+eDNOOrEpMBmDvomHh0Muq9whOGNDzBmaEesf//RCDLGcrpzRusQ+lBT43UAP5RFJsZRIFNqMLWKEb6rth7du/vLpgiCUogqg23B2Yk4iD2y/Xe+Qs2ul5xwrjjBEyvNLRGJGkd7ZEq+EghCiZUjS8Yd8egSWqM4z3R4GuNcbrIR8EdVeJsM+J2lLYCwGEDMJYWMoMQt+zoLIWFBE5tgUfIFWBy0+ERhlgdZAbjykPoNE3V6vnEruopIZm1eB0YYAmY4RZGEvQv1e0P54YSmc9WfPd+Zxub/Q/eJNf0Qlo+9/r7PafdsqkuSdwYQUTDzRu3HHe5ufVM00DPYaY7B4uUpPRHvwDiF/ArdSz/hovW/O7P8Na0Bz7V/YVwhU3gc8xMLGE6LIi6f22pQXfk8DjWHAptp8bDiSSsGxyeoZVP816V3+JMb0ol4dZaCKJiWq0jgzWBIeLQvDuBUDM3f8ROhNW4WRH6cPCyaciWZjYu1i7i/TPGzbfUty7FVO5+i2gsieYERrE4ZNyLfZU0y2ekV15RJLriWAdqE4bwXqRPfNVhVUSLoV6dismJpJk9z+HADUYC8qMKvn8CndhNJHHRAwWPxVrJGxRM9uLcEixw2LE4M+2Fz6oX1HQcUezHkwkPVIhI+O7prWjvGwb/Ztg89Th5W8UovO7r9PX3mEc87Hb7g7rw9dSCc/6wp7LJUqCNW8Pl/AU6wZ4aYC0GSBVSsZs89Z2XiXGJZIUxzbeWTR2htqdC2HGmEXmAwYwQ1fdYeMg4eQS32v+xMnAGGD2yQWLLWROFB0iuNLGG6ejdTzHNXmSudSWeezKPWz6bvn30iiKg8pLk7gQYBWnUbKzhmGc6Xh6c9gIQ6+3HuLHZvIiuNfc898qQkjGPJ2A+INm08T0r0OCiLZnfQfuX+atMSFzh1qWpcJUc9gKb+j7G/WoWNuIXKSBXlwH8XYFjRWbe/0VW6lFyE8wwAin5ZKJVnqodNn9SC1T283eLTE/sDxK8d7vonWKOUsJ817pCguw+EKJMLBuLM+cy4Pjm3IWv58XiKb3H1s5BtZrU9kiC6Sf1tCNwy20H/BPm/zuBoBMlWUaVe03HRBOs9Wa0Dq6kvMHsdEI+/Zt2HFLEfNLV/iGBJ+VsRXyMRpngVB+oc14G/CsgLMQEslHGwu6tnz3MDuOw2+KyolbZfW5AeCfXuQ4UyM4g7jEu4OiDUClgVDUvMRdDeP+FcLG7AdsAigQsfemA09pDAO7CxeU34t6O+bDRjBq+kRLtMSr6NBdvKeZ/5qPGud337xWgh+S/L5ZF+j3bJ3H7PLuv0ixPK+nYSLKzNdb1GdeePzES6W/UXI/B4KG3rMuUoAq04kByKTnt+FXz8pJJ/Vzm8BmPliaYOG9KMhwYHJXdD5uk0kxvI12nNiQ2gckHSCAz29ZrZPwgBG2acgNXJfCsYoNCcpWKqPEI8fF5NA6GngYeSTe0Yi9uYTNwWufd0TSkXOIjP5sZjMAd1oKqNytW1S0E3cMu0/BI+0k3Xndeb/rZwmsV5k2SqKyATGuHSPSemjCzGWxvtO1TAEQaV2gMgibDepMP8EmJbFKao4y1Ov5047+6PrOFDJUaHImoySYClG3ROKZQ9dRA5Gk3u8mkkUCc5ASfiUJ66VtIX1ylyQEaMe4ZxjILG1/9B8mq56JBlW0jrOGr9yHqUsuKCd5GzKYArFFi0IlAjpyzFnJElUcan/9dvNoFv5NnP2oNaoLhS/idI8phjgM9U5k3qcKG08OkAPOEpO56+yyIbF7hn6rzStSWNu/jLs/p26WMyzfcD/y5INR0s5w/nkEOyV/t/ux+PjyHCEpI93r3FMHgPKrgGNW3GlGwAmdv2Z/iviYiKhUhpKmwYG+fMX/5UZhtj6HTGMbB9sL3B1hd/XZqAGTsBvxTmwRzMlRfhTHdLbb3tbUtd1/1ampYGQew8i+oteebTIl6XxZImr4Ds75Npi9OP/Q/nZJWlNf4UloSRuHsKFB4c56SCsStN8sQufHG3zYIvNf5AeqyCSNoIv2MjEwFPKBdvdaE0wnVCOTaeHb2xVYKmpfAMjdO9/V1L0x2uuD6LFnbQ/1/D7rS6rcjLqOBCamx/i5A15sjicIHyGLsepipIUCB+hRqfGWIs9JLIcp2M+C5Ay+6NTDkU6ltpbaJCKMl61cMvtMXtIPOoHO7hAhYrvxP6FpWJ0XGryuiqsX/iQH/dnhJiy2jFDtNPECQlNlBk6lkri2WntNFeDdb2huZePDuuxBeE+co30r/I2MLObY8R9VQ9z3W4Z27HtybP4Ulyqzz1F16gQ0QL1KdW3Zb2+HuphlVTQZ8nAbX5KlK2O8tNzUv7DX9NVkMtZNUoh0TCRMevFaWCFL65NT5M7sagdthJWtmhbdYbk/3TIUubIOMTlqSATkuMngGY4nMf0OjhTq6eJp/xx/KppbFoSq1SrQuuQoYSk+BxicV0K4XMEZPjib3eaR8MV0tQ3WiMFTVbaiKuZVIqmooDDonbwSkHT8iAljE2R6mc2wmLFWspznEp1eB1UCkQ/wDy8NvUOnFJGbv6Y0AcN7KI/AeEPIVbhD4yMLW96+1QwxYiQekZVC6PIrNPLfAMdslmSebU3i82vNw/xuLUGGq9TsnWpWbChfOpKxsOEqo+uZgf3hCZUvPdQv2LA8IJu8kG2Ck1CU9SAZFjwYzaX+909S+ZA/IydH5MfiLF0RjG72zXYq66MWznYCNsIqP6SJe75R3/ONwRY2DLx2TshUr2X0hIi5thCXLme6jgqQQMmyfL40XYePXJkupZPyOetJI2Ju5f+6vtSh26xc88KrIg0aYsY14s52nqzf1OmT/9L4B1NCvQ/ZxlBmiQ7zmecNlv+KYS3gphXHiwwUehWZqMCd1M+lW1VlVRAsqMYAquto93J9JWdCPWApzS4B5LyM775wS2KjWm36guIi2N2n1RAhzKhwiQWOMEh52qNhC0veaGItzat2eNwWhrY9PbbcSyD0sEUrTFohpm1RWP+tLbSla4Od3tJgw8EF32u2w5N8Ve3xQxTkPuoObG0J6mzPYengS7uNwu/4SkoWfxs99svbThys9nvFTBHRjelS8rydbDlIOs0m7e7w8SwqLgvwYGt2GhCuR4U/JsGvHuj8mHFL0qYbdO2uHbVtcwp9cjYa0lxjUD2UX0NvKEHTMYL/NLTVuk9zMEjBgNS4TCZE0vUtxKHbgrIZtI8nIlbmuV0njGJWixVu8AjUsGYFC13s3UjpZiWwiyt9U/M+Gqtx3d4h72euY9+wN6cKoLm9bdUmlq2XIBBui4yyzEc6asN7Fq4U9MAvHzDVOKVlQ+bo6VcCvZWlQROGZLLKrp8Sy3HtW/blEiDAFKzMFL+jTggK1VpIK91d/rnR38/LNOS1BourcZzzoIHWmzXBAFqJxN63bZtF0PZEI4SvdYooyun0/ueVwhAf1a2LZ4ZZQmJnfSNgY433soWcX/dlX3p4p8P7Lm/Jrkt7DBBLGQN2HLYodT4pcKDdzo/8eLAvaVG8sQHGo+YmrTN9JJzmV8Bk+Tao8IAPA80mMZAl5tI1I6MwkILyo+VP9xcPnwvxzIQkn+30Ud5/dIBWSwtGIAgdhA+FKl0Rx4i2liZJnR1nT2fr4tn3qBHhUXbxAPB3uk/kxOPCx2vXWCHidFn7QoXYYaupO6SuHrioQSqLW8VqnOQduN8oAf2msmxfp4g3V+U4TZnm6PojymL6BYdMN2IP10ijUG62B2W4vh/UpiP7Vy38T8Rb21qSPCghLmR9YSfevu0Sq78P2zhW2LzLmVCR6PnPlmdfdPyLnWmCRvElJx6PXEFwDQiVlHCk2bgrw10JFJZIHY5Oa7X86RkaMSiGNDvazq5NQqEmsBh9XkjWld7c8KXZYFWKzs0xUwncXfZPOT2Y2HJYFQeHWT5vjGqsu5g2QK24FvNalO6nM0GbnMA34V5raqDC+BcwANGffWkWiIhWdWEqhgzUOM5PXduEFK842nuOK/A0JGJZ7DJaZRja4n4QkgUgNssFhICSiXaqQ+j7R22sBllTtGrOO++0FTXtatRPr+xodgNApvrCgG4Q/jj38P2QAGp/COdldWXjCRXxbeQ6hH/sgbkhNT4mkzrhEKRfZ9lJIxmqsT1VYkTAkanas0X73BXzQp1ItE3CK5ZHn2D2bV0OmPkf4zVoqagza08kbmpcun5wGj+j8k3LD83cKN0xKoNg6p52dIZ5ooabPqlhuEzy0oEmivvFxLx8gRh7HUMv9LpABdozLOAMcfDmtZdB+u2kWhTCImfYuFXUoICs/irgHx6jY7AJIbhAOoy7uET7SONvnyPOXducQIDWBFDQP3J1yzDFtjBTpL52wx50GXWi+8k47o1IqKwrFA0JS05nd99bM0OLbGZE8Et34bJdW3VF+MGDFWkpCiuFZlkGfjy++ToSzVnzmYw9gAOrM0xQfBCcCuslqGx2dPJg4i+cw4WpGcsUE8JVPRzy44wx4NHfwR8mCbBLPgcl63vFYB9OfjnT8jk8jIOOlLpibdNuuJNTchfaJZn/4ycLChXP5IwrcMGK6Sq9aIXfHyPjq1nxrUDjQ3cDCWGJ4cl/fH0YAflVR46T+UPiN8tN7MEO0aUBnCRrBe36KOnsGmlUFYrSx8lm9WexPwgZ1jshGFPnPN76t9CnGXRtH1aRIskHPnz7rcQ9UdVpt9Wcj3LRsv690bXSUd6a72FT31GRa+0DJzcgCH+Oe+9dciaZZ18KTEn6d6Fl5ZhFPk26sH362WcdYVKbb5p8KD8EUr0oL6iuT5ZvofTMYXEah85vVJ7y4Opg16Wx0Xsf+EswLzp7+ch34QZLCDM6UIJuNIWTJJFGnHiUPyzYEa4be3BIQ+bsJf6Jmb1PZcgmxVYgBdcIKa9ayqirdP5zAh3bgPfGo6+hUYH48TlaUy39Vy6lqoA+yui+r6ERvS0qQ1QJ8XKMkgQHI4l6RSSwbm+OdgPn0nPOweSJZiZCvNVXLHcuJLygVX1j0rfcy+JhRRN1nGCmgR7d0iDE2UmZaLNgrJQHidUPyhNciI4b8wWhKV2KNRL4XlpGA0XMJGWcyynemQ9fjDAuH17b1ml3hufxU3asbo7z/SBiKvdv/j2nbRdVOajNMuywU9ODY7S1ew9rDXrVTzYlPQpxVHy0dNmCfvfJh3ihaDNUX8gLtK8q52JUmpftqqS7lNOt5hLBAl+/K71I7bMqrJMEWfyzw8Qj/M9ySLu7t19EW/JPFGAa8tXLQqa8LtlgLlRRI6V8PEHW5qWmYTVAZ937380AwWNe75I1GhybNG5lVm/+XCUIO/FI0Y8K1nfXvav7Go5RHSvYh5766FatPPhudmjPWnZ1NGWnQmbin3B2N16i56rVOtd6rE0RG0hi7F0CftAJI8kNJY/67CeFXn75qpuX9eR0wwmUE/MFxhe+JpZlRPzvpk/pf5YOczBeuIMKP0HX4Bq2MCzESqGUGMjdfGQSEc2x1ko5VKk5YCzb/z0RtFZKBYKG0CwwgLe2ENkB5g4wOiNM5QLf3Tvaw+R6tQF+bJkeh30eUZT/Kow/rK3FKn5QmnBWw7zdw3Os5AX5w8DoarO5rp+1A3oid8DE/OIQJLIzl02rDf6UPEQdz4wysqtlRRvbiUdk8ApskIaLXyc9dRnD4IlHitYLowg41/3rX4I4AOfDRv/OAWZ/JQGFS1UyWzxt+0T2Yj/UTcqJBodB3/BRNbQzRf9JF+roe8wQVfpzIsNkj8MeBFRLGeT6cHhyB/z34J428LtTWDrhj5WtroIjV8Y6suko8KiXnXV9p+Vf9uLQfMZCcxQopHI8BXxTzTaO+1/WpAc3xE+hum1PBp6+iCXvPso3sFsyiiCGS4qZ42tJPMXywOdvuHQn6uB0wkRsvQ9SozgMV4TBzm3YZnucxgsH0dLfjDeotFq9V2ek7vwY6WpQwqnovYqfexuaWni69jRUm+/cORu2QBVarSP4E7ttnMtISz/9l7kn4Vpbd0QlprS8aMLs33AVYTL1WlIgHrNJ52e7mwo1B+ZexrSZWdrMQKMSQlGm06GbYKBkGHBAiJ+0CQ44rFcyAZEUZxM+8WVxhQ+8NYLBGbF3xsxJmJbBPhYIqBF3NHph3i1DjnlvEZMUv5k5XQN+I5GbLQZCvAydavn5EKUmeXDSgYXF9PgTNh99eXV5SLdYKrVN543Y0E5s3AfDG4Ryiaha29RSGuNuG92/ANOCuHHCwpooNmeNRgsjPw02WHo9C+iycEGVH5av2TNhBtfdapmxpg5Rm0K0RaScm9g9lGsmgn/39MQHLcyaMysHDq1oDTEPw+bg0Z4h/dp9iWwK/Yb4q1y9sCjJR1xWvrM6sALnMIn5d4AM5Ma1V33zLk1eIK1RDTOE33WH1zxa85o+a2mUSkVuy5eSBAG7Mv6Fhv2Hm8ru5p+NkO6zcz0Npp/TNBoDsNkNu3RdvgiutuSRRgkdMk8gL5c2PS45vQTSxiW5UsfXto+KoIZydBCh7GJHQLK0b31pJTspFipo/1Jg3+Y+VcgRd0bGjX2Xyr20eYZIcfjv88vFc73jPtJOwa+l2ieGUQIlmET4WeaPJ4FmDUyDCyxDjR/axdapD3WgbfyhyD/qYFGsNrF6PjRt3FIOb0ETaz0o2QC2mHEUB0m8qhYfpIrZWgIA4oKkD83xdFLss4mj3yGCBsfUPqeGTpQTw2PYvcs7yfnWBgM00IYYRBOSXQw8cq+CmZNe896zm0tJ9qPjHZcvDVWomCcVEvaMAyP+FayyfBdGfyml2yvAk/77tYxf1xCl9msFJQfWLP/rmhIssRjM3HiTjVoo4PsenW9NJz9zjtgY9oA0N3zWsS3JVxGXWPfEEMzBpUUm6PLgVCb8U7XL5NZAp8+pFesyZ8lUjmkXUjr6Gc8EUvJ4tIAT0DhCjKjCeT1ZqDUOQPctHnhs3kD9M/j+fRMrKUrlRsZbOHZAEAYpiCLx+6etvn2Hjci60su0cmvGi5o7wNpJFfDoWaDjghMOr9fWBAmgbmtXcFoKBhr7n9sEJ9ssuqBqEVG/w4ktSZzARkItSr4hPq8uzxMIeaYsQVYy26kz8eZoUVCQ+5Ip6Gqxd6nAuacSzZyk1v8OLoUvG3Xy2lXu0uGH4Sd1qqO84fq/v27zWl1zGJo54Qd5cAkpDAZfvEX0SlK52aLnwCdMhbodNjMvz5jP8e1pXG1e0BZsA+JTl0cBQKsNdAnFXTY6Nxv6SiKWDC1AXjyCfkBGuwbL2pPV3RMbmbcnksfvTsEV/KxkwvUNaOVCmd6AjrycqpzJfkD9+YxIyOgk909JGPUMS8J9NosMm2bM984DTMbB96kw5WQYmuxUz/swperJS88J0V8pc17qhjB1faEyGn3EAOEKRGcdcNiRdnMzfnpcOYmBYIepFuNQi8X27LAOu4Y+Zqj7zottlAPwn6d5pIzE+e5tZCj4pBkWVEsxCq7vI3RwUm48OZnPes1+5s0zuBhOdAErWhh3+Mqkr5vsuq4+6snfm04xpOJErRMvUPJDvnIFGmaJZwDsH0QqbeEJrzsqy6/wgd+imWiQHqAW7UTA5DhJSvFrmJ23IiJdrff9b/UJT1DwxIZ2tZux3mT25Yhg6yx0NzRO3tCVkrs725QuU3hhGcG33Z1/uSTspuJYAse+wieaxsRhGggXbLVg4aH4xUGBl01PkwHBMs725yLGuY3X7v09zfghUtBmA0L6xADa9b+t1DqybldriaM5Kl/vgAr745D2cYQhDrTVW7iyNLWM28cDgl2NPMbPd+5WddHllpPifr9GzrsaWQI2bHBgUeM1zLH5es5jkNVtWxoSVCZdyhbihszvUDRj3m4KVWLAiQqXk0g2YLUTvVMtjpoz3YqoArdf4prYMZrLtK0LFyNcZWBcrXUDOKwcfPMoImoerXZW33/q0GzptpbTQQzrRp2LVreT2ULNry0WLQLf6VdgJOmjvwTPju14jbMbeaoovy8vG9wu8mRL6Va/HVYsMd5ijeNM8TJE85ohZeMMasYhN4SNCVv7/cIso6tRTAUkdJH011kmIDuEF2QlMpGRjod5q0D6/E/xzwhSp/gZ7lrmPKQAoznao0GBH4dRjUhqoRvPIG5odAqOYve7RiE0tFwrpIhVj/Vekze95V52o/Y0T+j+LV4sudb9kVS6IzZzNKvvYMEtjl2RGoZClsd53rYvf3u2waYzooZkY9zCpDkr+fVKIFduGZtclzIEkajPrhSuKOLJM9bTh0nntGEjHzzB5KrQLm2MAffdI9iCnzh5uCyO9iFgC7IOhgDDJdBCliUpaqsGcnfxJMD92g7bFughJa6WY3ZqXTTlaL0DGrkMX9P5mnD9G0lYbFKda1FEuITCi5UFk1ZKRVCsadvb2fCOIyixrB1E7e8S5FTLlUkkf/ZpMd8OI2FFC/Y1SaVkBzbDQlXE7v2gpwjUoiCZTMCBxHFgWqGlJDm9NF71DbSCudSahgDJSNbK7jInrVtSJJFowcvslyN0L3AozKBnTgIonmLY0BJYkNWQjx94FWWsyirS9EeJvrppzYGF/akVSD9iuLkCxjJUKQMFoE196Efwnb3OfVufvq+8LTNeRJMby8sOAjTJo7Jklu0h6zmXFaQ8OyGenZC2RMYHz2cJNRTOUaqfI+Rv5zi1yNUyJS+LqJwEGHQGkpA185RbB37AoXws/oQL6hE9Bgw8TKGmov87WIHqIf2ZCq/zcNRHkZrJt09yDvnLCDoZNg2hFNEKi62kKm0qQuEuVGraHvNA7qZuThJQL37wG08n3AQlryG4o1GV24A3PKNK6iGNzrSsK8HGLZyMzYqGtoxKRYqsLpdU/iY6d+BM/l7slPkH0kJIibsosGwnX2xqrSyb6aPnhw4etCGsKgF7q3pwHiqiQNOdv2VOcYXhhoQYP4+BOCU36eXMNFmj95XqWFVvm556W6iyxDz4QfiuEV26UJe6IDficuXp9qs0D5692G3kTSeIFeOqY3L6rh/ginm8z6xynKJozoyeZB304Nhn4AWecgXyd5zj7odYCwl+I04tA4QH7/GwHt3dOzHDlZK4Lf9GZiAbf9zco3A+51Z8j/SwCF2RjQtc5PSXBQM/sxNBSgbbyu6UgG0fQ/A9Elx6j2WHEUChprSq8lSDlpNAafvr+XfNYzA8HhjzimGeCbibaEdSHJZn8gmToJWtQGFLnivbJhYx+D/U4x6S+LEG4qaMzk/JqkrgYo6Q1/WQek5zDEdGJbphByWytTKryhRnJlaNTXJpFvFIUUfmC1SUILphiS3dn0KBLj/f+gFioefP/52xFiDmvZ8beKGWrkvvoNthwry8EwYxSb+Ke0vxsji0cSuydLCqTOXL4IWikxjGT8YekZZiB3Ak8a2Yj9N0bUCECQU99Rdo7w5YoJe0A+oReGXgExl8KzAZT+iVT2ZwhQAe9Q3N+fLZiUyqAqFn3KJk3VwSIAuGa6Dau3UePpy+NQy2BXgmAXMYcYwV1FlGQ0Ts2X/QRGi3xeqBUAv+F4JOtANUYGsKccrXxCkf8w1JHxQo4vl0mi0s+6RasY4JOBX6mhmSECVGF5YT9x5j/hRDLST4wjyafJG4jbkXw0UYyaN/w2uKM3P8wZG6LVpQZkFH87ZqA/h2+79fnDqixV3qk1WS+97chVqLKCmXNGg4GhErly08O2P/UdEdm+CiLPF7LAWGzq6lHgl/jXbo0RPB3eDsUuJi3vO3Bdia7ggTyNV55fYVkZzW+Xv3C1Pn4QzScnPFWjM8JmPNO2hvQl2l3nuzORJZ/PCaRXDVC0UsV+1Zl+tF5LoK01Sw6SfaBS45K67zP55ez7T1X+SwPBfD0DTEkMq2b5MrmZO2AHJEbyh7LQFIl/8KiMxXZD4qKiHWMx5KdFw9IRgfGgzYWlN2rakjouYtFKD3QYWtAUUQmfBLewW7FYjC0IL/KqimWD2IvJG06qV8/DABp4iAEL5CNjbpdO5cQZqjhx7Uiyfkb8K72lBD0dNdSUWD7Jok3N7KHZl3Kv8orJOSQAwOyMG1Vppk214r17WK+nn2VLIzy2fT0rf7aehSn3iVBTXmUXFJcwdW8qfu8GkLbnCzaj89Mn6LKg+P6vkorNGBpeDxhKuVeQhnT4dzZu0QXY4rh5kTFIO45IpOZ/DCWAjQsLHIyvNukDlxJM6AOdrFEvxbeQrEz9lvNEYmLnGNTbM0lO86uqFtHw/PTeHoU0xVDmAoyvk7o6/BxUx86f8FRe/XOZ5Y/gfon2TJ5t3TEbWYcU5h4SAUJf1dl5ao8MFOfCHmBra5b6VSwRdt+LZMe3MOyOjERr+KCxuURppnoiGpp+Y8ZfTxHdHQLiOe/OOlUEXQu9OaFQWbw7dC8XLPNhqjggcMuw9+OzlbdXkkjYfOEpROz3tOO0ni8b7MkIktlbZAJvHuv2dsrY56oxQoSg/OFIY9iJgNKg9N5z9pKznmMXT7qEOH5QShlezkiuf4FVeeo6697wHPtBPcv7A/UWsc+7YrrxRH4GD3KLsBgz5p1uN5/SfLf/+8+uGZoas6h3c6Aow/gQ4A0JxjTnngHR/dM/iDXTUOgPgAB8ok3nHFJ5k8sIKSiQVjIC/OHALcqXMf+N1mgLt0sEdS9dp/at4t6r84fDyJfnqQj6QTuvuWQfw5WF+HX+kyqenQPXEtCbJWNgOvz0T7KoNP4ISKfu22G+/nic5PYCN+PCokUo7VdOgkjMw6z3D5ciKQ6mWeTMy03jyMxVCDnKeGqZprwCEQdupWxd18UH01+7H5A4r6xyqR70vC1lPyW7gXQnaZYH+5KVq5y5c5lCVuULDrPyjJisavNPMPI/NSQslbgYeVmtXe7GY0XUrqI7egMhFNgL7+HoUSf2Ox5oRA6Nkq9ulUbwdZAmmiiRdvGPwZheVX9PjKJNwDjHZ/IHQwWci490cybAAyM3nKKZDwDdosNGyi3Ehy2lEjhTnsvCGgRmVybvcd0TMjN0gnJ0bFeXGPsBKyry0FoeGQdkkqNrpF4PqdFokf4rqZWEdkkBtkVYhAevis8Nwi9RlRQyEr4vjraMoZCtCsn6HJgvXoHedV2BRM7FAx8yaElvSoJ4lGdL6LGR1I2cRTlI5ipnKuYgBws2xu+z7YLjfNwNATvrgT/rc98Q91CscY8RRQry2nlJNsTR5ROM0EcfzmPyqL3Ys7GqGA07RfLYF0rqNfOuIjUIfwDD7V/QNXjwZBo3YZIc6m157Hxt3d0V3H0DiE1aewR3rLh1Q7MC3Y2ZQKm0hZxP51e/V081+rBdUlj6bT5iE6Bj1xlNZgMUZBXWg67vhuEYyCufyHnBPNoqd3uuekqnbC7nrUYQwXkNc4KfTOQroAxxoNcjGntQejR13n5rA786pojRjvFZCbr68Zn8wsH4hIYWljQbvNS0AJHKuayMVkLkFLwTFsgkLFEL48AUubYwkU4N4e3WEv6y3nMwzv05jn68aJeCaCUdMmqg4DFg8TWyX+TSw+GW86kZrvsey5hOrR4eBXKRaL4D7/QyKxFpfkyowuz42zv+RrySrompV0P7w12gUul1F+bC9wTCcJFICKqY3RYE+W5v2VJYmH79Nnd7TU3aHlUT2gq1+9PRLcUfIqnPBQfHPTXn/EK0YnkCGzmvvqU+xBAq9/8faonpkbhplDCI0SNic/rhTuHEKTraJTeoYO2K7NU1pyzF3fVWfDgwBW/QgEMrKrzkbGVWxQ1a3UKoPsWrNmOkCBLAUbFxyEXARtkMOvw+tJaOMIjadm7AOO6mcGNkB/mqRvi5Gt16JFXY+uRocGZK1cRRPcnh7DU+Yh41MK4rDijQ/jbqUCKY8rTfBqne72DlE26d7Ce0DcFvxQHortE3zvRkM9xhD5wR9PDFmRPWXtt6TSBUoao7J2082r5x5z3+/vX0NBpzvbwhZuTbmaiC4wxuoRcL8OoLnhZpR8lG6lEUhvwSCll89xrDH8Xov7QFWg8xSQE2rgEZZpj/KzdzsdO1CglUBi3YEcvSdf6dS2W+cEdsQIk4ll8rRPjbM13Tv+nYZ5dC4NCoPo6+/0OroncX5SbLmStj59n18AEMeIug0FCq1nxcWZWR8DrY5bw64kDKDV9LH6XZP5dCw4ZUw2a0NrDWqZKBfRarCkZVNmhyK05joD2LJg+gEUQQj8t2Mr6qan1hENXDN3E5hi220gHQnTyw2XWLnWrSw76fFHwzvJccSoUUwDpE+GmkWK6aHpwBbT9qcGByl3WlgmKCl4Mir8oQJlurOk7rnb3VqaIFXnCX4+zbPHcGrBTRSWW3OWrqlQ7wAvsLsU7mjDYt+T8oDETrFMzNtS/JrfzGzX0UWg4KhStoCmh6ZkFaXF21IUACRjMOHlivHskWEkG6vGdMvHKrLX6nePyK8ACwpHliauwMdXH66xCOxan8Ui4/km662pApKUrUinyg7o8myfWS8w/9YTVDKsglXETFLeBYDhgpqCZpk+8TFxWQVhG2fQ6rl5Nc0Yj5AXc7rrtGyGRlvANNAh84C2B0YjST/ERDf1yK3jeS2wEPS/0QuSCzVjs+gdZ7JN5DmoZNz8FUbCRU0r8JhwNpEo20pYdoXtH+LfcfsK1t1hMgkI8YcdEZ68PZwkr38o63/4V9dxvj33Oie0MS/pNiSR3R0iXxFa7rJipzDALtV2Pxa30qd8L+Xsr3lbiKPVBsNl24OYsuWEfgHuLqco67eoU3COvc1aSOth5LDZj4ztZqrK+RObiZN6pq6M3yKxvVhSV6uOIWB3bOMLUfW3+75+85+H+vVR4ltr43W5LPhMK7gTQJRfKZIIa+JJ3iveNI7unfNlIvOSiAIzynUo/s7KVSE2HDuJLl3F7jXRYbRavkBI1nqxjZhRMa2HLyR/cz0V7Ph0EdhAFjy2p7THAq76USaTve7KHTPtgXUqE1d+nDFgsx7lC88R5dxNigpjnt0jVbDar02nc/yCrqSmNqwpowrkppaIrGe13/mzw15eisohKq07Gt2cqqF8P87WIlfg23r91/Mnc1Bh4b9xTeK1vCxI2pMIGsaXKOm9s9pQSm1cZGIpMdRbcG5K3VnTfZQYbgFG8V4u+u4WLla4C03bRERu5Dkx0pWKZJwNHHgdQLZb6300cRYf1XTbthLlgnmzQcDKOsg0l3hQ3LO4CoZAmASG2B539oxxYWJy/F8mGsVgvlb+/CHJz/VDtFq8r61SbsWX+nzY3Jb29CyO/IWXRoMS9rwO8CjAQcZRAEznO+NH60AzB4L5mIcPVi3R3+HIcmF9LO6VQjaXCWfYbbBhgtxPsKfE4fP8YYdqPhnbeU/q2uun2I0CIoLTMq4rVxbPrcFdPDXGCMFzBUrzfr0K4VEge1ZWR0CR8y7/Zgd2iCdb/tScP78rsPwdswq1W6ObsGpoob2LTF96Dwk34jP0tL7cvjpnOiFuZzBjaRv4XnnEpknZ946Y5DDzCb/SLq5DmtvWl9mhOZBuL6rPHBO9CbgHX0XeWGjvxnqkFGazgc6yor4cD7WDytUhkCugtS0IeejRLJk7m/oq1HwHdEaadWsxwaAihKHV5ixaNiPcDKFUoArCbSJjlZvjcfMPD5Tn92bw0Ef5FyJQ/bERYgwJdpoWzd7ANnejKVc0lQCIt/6uc4QwM8fM/mJh7fYXCYFq/TLSMZiXi4fe+ulsrEZvXJHNc230tQsDG9nJcDUUnz6fQFTDiJ9pbags56ptTl2sCZsedIoP49101bWvCtyXpdzMbEz72x8im6dvUgoAAR5W3Y/REq1rq1jgE3sRZpwIEDcRlDozLrgTGyf7P+pgWYwcwA0i3g98SiG3Cojpx8J9ZxgPv97qdB8k4tuTpCNMUL0kE7bRMOAp1EWL7rNsVz6+kzxrr+F/frxFyFW1fyM3JTxXLmzwooPS9em+Kz8VX2SoSYXat6LFkyxRjpD2doYlNLJd4tomO7P6qh0Tuc9/CmFaE3DMys16QdRcB1DwKDLJULARoSPVLE4ecKNrRT+pTAOtnLGsq2H81FkqDuBBk6VDVNRhVlJw7z3nXdGVDxA1PwWP6dEL9o4irzIpwIhVjWEI84x2/npAWjKLbwixdvnZ/b381BZcC7wA2u68Ar0DGu9d3GmP2G4iiCxtlwayCFL/b7tZZMFLF9FxXOxb3Knr+YD7aCFjNsIJNY/5lewIIPEUo0hjFUkeL6rS9VszZCvUi3jv8wakG4WhH7u8YuyKQ3naNEj07klyCz9x/rTJDSunFoLW0cQ2bQ9mLfSoHkNIr0aoEblswrwQaf7jcRnofTsmNIPWTjK+xBOOydobAbS6tn0wYPXJO2MCVvsYra6nSmuelxU7eKeWOPoKUpgcQ+BMkij2o8QRY5RHP+FpuzQ8RXt0p30x9yQLAhcwIMvpBfTGzppjYeWD6+uGIOkmkFSxjJo4U2//vrhCquI582NIY1uDMHOO7EPnSmMKREK/ZXtcgaPZBRxIRbe4fT2VAibf8CGuOymH4cFc6KVG5WJyVVnm/MJg8nhX2qawqzrzIiNtmFPCV/y16GFGF/taIGEWFbr90dUwvkTo7Z3qSyENYRvjAHhNHe7Vb2bxU9b7nXiqPlCBw0DWThOlL4s9nX7SoQD702kHblMZbfM/kfwIqW5dFCupvV+STYSLIq/9yHp/PDuAwfgjVKXwe1EN/IKTcHacLPILMoWMrHU7aK2Dg9hK3i1Z+Ij+w6acXAOjaEfH0tWeN7iTsZ24Yj38Svp5iV7LfO2MNRG3Z+IlwjJr6EO4eSBUfFS+Iy4VkrmVxYCEbs/tbAWTXQTy9Z6cpNZCRMm6Ef8C9AxDhJCkGQWy01P2GuhKICcriKvLrl3zHhqmdzUJVLWz+HlPdY8ZG9T+Ys/S9cibB1T8yU9M0tfxer1/3Bt3bGHJ6nBgCWL32uKYMvFRuufLBFa57ZUm8DcwUmAi14e1JR6QwQZv9vx51KyySTDwbbGeQvFxykVvIQN+4qpgs7+QkVmF12yXT9YjRU5aY9O379G9JFIIxAkte4n70fLUV6pR2kSCI9IE77hWzp0YERaE76BQpP5a9DEJ1e3RxbrEbhIfiWLmKKiPfdTpbVBunKxQe6FqZvevkwjp53iwwK75TAIxuP5Dg3Sy6kJ7ftiuOTYPl7BlnxZeQszFrd6xmQSJ+9D8nzOUY4DBj5FU1hRSSu1loL+7YK9Ca7jry3dUUsjhKbMhWjokutYNEbQM8LPN8KMPKK/iuysKRnblj23myvACa4UezxKTvhetPz/Af6nzWX8WJr7hvFoD6fpktOSbRN0uYoSweCyG4qPDgEA1oaY23OSjBf0plLM0Q7nNyUgVCZ6jqbHd+4XFkTBojLuZXduotPOfWs1300EUFclxuchpCRU6BQkcCh+YvMzJdlDnoH23HyurIMJ1xmMNEEaLi4GZ6G127hnamN4k09Hng+9ep/orxpwVLUEbwNmv/ADXRqhdspijIEm1JU249K5HcyVvMNP3x64t8+EOAwqPwWWojPUfaUj/TBhvEcFcOh0k9kP+tM7pVEhOEh18TYdL9eHJEnr50Kfd2AZBZE0LvMJQzjjt+jROJOaW7a7JkN6EUb7s2xnofiC7taH/f4/kBmnyr0cCWUkiwAXKn+HUtoFGpa/wxvCocHWMyHzJsUQfDJr1zZwFpEFLpbzS3Rl0dcNtZxesPj0T949uzlExi5PmTC0jXuEelUlClxW71vBGqJYHIVmsv2XGM4SDsar/MLvLE6AFAJbSumjzlh30RVxV2TflWowMYc5mLcbS2aNztwwVa6bdmveSBsmZhsLCZXe3FAwZb01R8B3OQi/ff2ia3QhwhugjKkjQgBIAaoT+oydKa37GWylUUThn6CXhSkK0blp+6qaUhc+kGOPbbchUsTNb2LWOo+hvNDjiAdTQxn8/uB/W/CJwqBba4indQe6ZDKIGzSXmpRsNnk1BzlHv4cz++LSwxHikU4M5LASCAHMkRLnvemiFgx8sxjnrHaXKNIKVLi08OAbCCxDWM+3e8D5TMpQwoLAfs7UqADZ2jkwdO+ec0WnL6HgfkwrkWURxg6Q2BrZ/dCd+0phnaMeu9FiqivYXcdlzECKMqBo9tiiW6nUjbfY/5Vr/0AIctH1sY7kPhr2UjpQ3T1nEWMBdXRdoL7iZlBH20Ukx6Dv7OXtlDbBmAjOUNnDxxXjrAeewD31lvYjA+Ez8lG48hgpQx9/zft28cmXSzWgbmySwX4CgNG91k+97HTbS4u8E9oeZlVnTxxX4b0l+R2/sQxuKE0ZhUFcHZ4nj3NRV5khcIlwmYLC7vWJ/Glk8NSpb13SCoc+r6/LJqjeA53e1BNfokbQC8PMActHXBM9Z9wByYB1Dm8znmnnq3dmxaA9KXbjS8NvvvknRPKmvU8GFmOqJjk9XUwIpkwg39DBgINY2ubFVUx9BFZBsBwj1DaUhCLEaF1wDGIZJmkEd6OAszY9qG/UmsqP7wt6mkD4/duvO5fAaSqJsQEqoKZR9IqZ6nne/XcsZTLsXjxd1/APVqE6ThwTaPrrxxB49Atb/UmVs4vvlOnCHwFLFm4C8NDvENvBeUit/7SycpyVP7oBKm68RLPCrGv24f+EFvgWZq7iNu4JepBb95StsTLwcZZj9cKTCdlnLClu9NCggQGSjdS6zxxvx4On0idG7yH1y0rNBgwnhwULXCswDHj2/u0Bcw+xPU9K8Iptyt2t9g5qBYdXnKHPTuS6yPg4EDddtRiBPOBUmnxeSiqJokRsrAScbp4ViCVje+OgOAoAyz7KyjHr4k8QZKbX4donlN9/vSeOjWNU+fiu4lG7uJiBTmAYKgLWFvXatLXPuJm/vEu4xPy8sSL+ZX7vagOoj4hB0WqYbtTh+NIDjCmHOwrBLDTve2pfaPop37d1uZ2INtTOC9oxRJTArZ8QJKxrHbDnBnBQHZIDoR4d2kis2aaTQ1LKNKKT5ZJSBn5lkkfSsuNhKW89l/PDGUwnmX3TO+la+BGuKXSaqgy7FZtcm+056Vyt6k7AU1VnyWWVj/JDxtuCpYPDfaVt8hEZLMij+l4gg653+brGuD5PKBdmWBZnMlXAKIQ9EPHIf8FPAj5SyL5SZayXynndTQ8CK5flLgcPpIzVyoLPGda0Y2c/f+t8ljGONdy2xm7uUxQVSu0s0Fr4M28SpZTHyxIjECsup6s3DYFNIhKnYWFvomGn5yAoyM6v7bUC/LpzeJLiDpxhD3viwH55cR4eSZcRIRga9zush8FiIRokfUfiYrebzZgrWGAMs4bHx7cf+5MB0lRm0kbPMKWnC+XHuOL6uwKcJzK2aACda/llyGX03FLUuUXR3Wk4MBTj1hkhwYx/BTaRniFs+IwG3bvTChJ6e6QGC49bQtESmTGi416ZYoXVrU3q7aXHX2452sqg52rDGc64C3BnZpXaRAM2skU7hJAZz3FKnQHxsqSeJb4FPtx4rC8ZnUN8nbT3KXQlijTIU9fb2nFFVHmKnFSq+kShdiqcF1t2HtMFn29XERpRnl/4mKZfGYW72JQoEOU0w1l8fD315MhXDDiuv7NkCFOU4durBwADMhDTWiOTmWqMIqx/lgbr+QrJRuCWkA6C+sTM+tXEy/C9zWtohEgWKlkRg9oY4IKsgUVeisosNPG73KSfv61ZOttKTn/j6991TkvZgF8h+ovWKt4dEvn+y+10H4oPNDeNq1lxEIen5jxOsyI3iNDgNkNVtNgPme3z+39cnHCEffoPTKCRcJQ/3Or5voia7RKEzEYqWEyC/28dWpmX2CP1wixT5YiJAxn0vtitzkJWWNxX2CZpW6jfb8R3icqi1a3ojUS7FKyBAEUBjfCfcv53CT6hC9FhRHpCL8NKRieU6fS6UzHpXRQAXWiX+LLCTt3kXDsamQKp+miV+T7SAKKMbmSHTaJqrF7S1Gqkmt8GFhK0gvvyRyZ0ihIndUB9FDB2MK78CyysDnMDQHlR+b+xWdJJu7GYt6oLkzxLwpa9K9V78xF6i7dD9gUBKfVxZyJdwUyzmL6iotOBK76TpF1bYOVl9i+JMWDMcJUYG844d8ChMyBorPpjPmnEvLzr20/sWRSl51IS6SbQ7781Jx6d+2RpXIR0B1HSiZe7VewgIxozw7+LuawzlvqIogVylogzA6JaCGx9vQDmMNMndgzO2jc8ctB2ClHmoCpG8SKdRnDxzniypGsMao+QNS4OqWIqSBDloufFWtfKdsFZDR2OPKGV5d7xqPUddnQUTxJQ1sf+mmkGA5X+379geserISsTPlqJfJPl+zPQRHS1N94cU+HeoPUUkGpM1Cgcj0Qil41H0T+FQ4CSoSwGULic+QTt+fqB4XbRGrd1CpDIbudBhPm4zQB7hFCS987uBH1i7dHaJohxRn9aXE+EdeHghzKgr/SeNHNP6K2I18GZcSiObEUtFxcz+vz2kK+I8t3CgWl7l+/OVkvTpFtgFzNIUQaDuMHvoHrp3MwpQhPGO//ZA5R7GnTR9Lv8BZ+XwwbNs/5j2uWnliEmZqnkgs5VHTbaowvGX0LgM/iBhHvR0xiSlzjYXYsKN2/22C6i4WWozWAOdEhr30Z15onVao7PrFfzmidKpYmdWryrTlMaa438ao1TV9jUS4lDh0Vo70cyXiI4xBk5P9wqOwAMKlX0pmgu+PrIU9yDoga1p3wj4bHp5hJJxxxajumnfJJ48Nk3076wK42h1QJhNlE7iVDRbyartLI2CguOGrNSy492DUNkL6dSomrlN2hi0L4ovUKeqp2QIQIPozgLQf7XcCIgXg8l4MTk1sacC/0yvw1dasX9O4GnCvYxCICSFPNWhrcuI7kDy4G9IN26Iz9J41a5exykj1/Qpkaczlkzud0tZwcJ44T1vXr6G9jVKMDrMyxRnNHGpTLLcyuKeGspNByS0DDnZVo2C9KkAsX53LnTePWRzBCCokpAN8dOUckTeKvSVol7J4gAfGLml6C53/YDdaYcyxcURvHysd6RjJXv4R8+uZs4TYosO4rDuTkmJ5v199uez4FuUowVIHZ6XSsvR2lZpUWiX4FmI2QOEuAzf2ZmJTRBNbJZOgzgTk21hfXgY5mt/RPDu5UYqOmyco1/m4WFQ3lysj39YgMV7C3e6FT/i+7jnemazgCySV8RdLUFNuyhvM7HMTcYl5Wi4DXQOmd18Bd9Jo1rvjnE9TzawpSS4S49Nt9TEcGt1MCIdN2spZwtJdJQTkOFKoY/z0Hvo/l4jdBqLPaiEKeTTN+kVZh/sPDByqvANqJza8UbEjTYB2fTMQFYXHO+RBsffIrTj7sO12Ri6LUok6+iPrsYK8fL5SGzCRv1hKQpI/UGFR3OxIhXmor6KAK4VdVZXiZo9vFcaBMfi0N3/hKM1dzF7Fk9locnrJUya6QpdoxPf5Auqn7X0T7Qy9E5mdkDdtCyc8B62LmYiiTDqe0MfW+ghbXbeG2SS/3txrFaBf9NiUkFwXsbp+h4iuBOo2bcC4ar14Qy3SjO5aHCDX2xviYXmlO2GwNh/L47NQNWRuWLFjLk8rh9Us6bhejrzxi+Kc9IvDw05oNkahrzWiUtJLYuLKr6kpPrrK0XdqMHx6TlxfJBfZNhwtZjjMq8tF3KDj20mygh6yOWW2nUIF4eNn5oOIx5psb3em3qqWC9oXdUNXcFCoM/gKALwBre/3dOypYal5DVeZ3dCl9Hgf57TV1GlCk6ddCHYBSWV/dYoCKwG8yuufBH8fJZ+EGUn/usJ4dE20SnfGAhxziUuWJpXcMD8TSRRwJ5s9m3k/b3UyG+5cyGzZAgObQvYbnzc21NbFIoKvOCt/2wyzny3UcwwP1mdD7otfFs5qbz7rbHxFxpWa0g+zqdsJ7uZR67S70fsC1Rpa/84jluaW0wKT/qPXGuD7mSiKaRdmR+fHPdutwGhHkiBVP5SBrGa0L9EmrGKIn7s1WCGpdpopaX1FgdmS+b5Aom5EE7psNhEEGYAxOkJEmVMROCCpiol2MtE6A9nqif0lMGFsSgOaEi4Z9ih1VRquiPXiPnWgQFJN1LI8wiJ7RHqcI1iXlSP8oO0zrrpyzBS7sgfpn35oeB/QQZ1IEkMeYlpsX1DuOgtG8bJEU7CmQGkz+tCl60o5R0WJV+3KShvF/ESvdicgXydDyeFFIFy9cO3/fM3aHWIo83I7kH6AE15jL0sHdquip6IDDZRHwBTCvPk4snexrkTasgMLpknkkPz/H9ihJzbgdNnxgn4leOl2HsMo1Kw2YNtSkSPvj5y6xmrCpFqnTSclaH2jOZRAJAjmIxJQvJJOe8OX49CSCzYQP1RgUDCBQRDMfsFe3UGK9CiPBYze5G8MxocgfuHHawBSOD27kiypynwfi18RTDb14UJB7TjS0fwa3GshqjtWdmEJ8JAJepi+ZJVb3F9HSvXk8YKBOTDYX1WqsU0KLMBm6eDO1fY0CyVJ8y4ayJZGzpyLADomemQ2AUTSzdYOAdhj2BSaKVSKZ8zWuxmAUTcPXhYt+hq109rzhEbYWcPIYHCpZCNpY0kP+SIRzhLvc9H2bYgY7Mte4Sz73uwdFMH4EIEReMBOAr40Z9PHiXSXlvbBQzJuy7ZURuSeqKTyoZK9V1On/NEl3EstdG4D6cCWMBZxXK6N8+P7KqbW/1Mn/3tPD2ur++O1jdQ2xnEnJXnxDtZ1anYj37OTvYPO2knsDUD+5EwjpF5PciaxWUfkJmQUWGkGv3W10bP+TSx1RvwnziRUl3CxgTA4ZQtXOg8uPn/ZuATngVGPPcVoAxb7kish1gN+KdevV+AniUSNrtWp1VYwv03DXCbGrMw4ZsTRboL17Db+dKamtpiLaAZuxqcJRSjeXLb9j/5F2OtPBZiIJUCymzPPTERBofP4ulVGMaFARoTJvSMmNxNbOKMxA9v0wzXhxxQg9IuEHjKYMg0/YDQMzOkxC5d0MTCsvapu/IkOqJnAP9xCvBHUEQw1wfkCHfNbDydUC6oH18UUALjDD5i1TuKGsyIto7Gd7vbteqkI8rMdFbQcRGVlM5AB/NGFVoHb2RZ7/XvigB68EyVngjfxULgsknYbKcnPDdNDhgg1JEsbZwRM+k8oXSzt0/+xjsKF9qsmf7KyLMnL5MO9TC7Zd8wBykTEUvwtR1dHs3HO3s2J/k5XSV6rVIhsuSgh/PrRbu1gv5wEe6fmcSS4mTY3QtdqouK6I0z/aXUHI7l0MF/6N1uK9u6jyrfrv/x+vmP//cb26ROSRQw7yEIhMGocQ85RqfTEuDPDoVtcLXGPVR3mIWSQFMXvdQhw7c5E8mLF2UCtsPDlV8znznOJzwfK1rSWgW4XcOTYF93rkwYx8zyoX562jyogM/i5ZFEZYjibF4QwPpu3nqlbkpxHxyBw2f/Cmh8rz/sISuoeIuKEhcibbU12FJEiXS92KzQgZF4RhUfJJl9IN6ek8Jsp3h43F9/tiZFcc6Y+8va2NyhrzShFmhbmlnb3FhEzHwejbfra/7yPzYCvlLBiabIXaGrlC9GG2yzxw2Jpl7wDY5/yE+lIryiOwpcw/GmdBNH2ixyoFOAiKbZPAwJsDlHBkZicLx7KgeThFN0+ULw5bhSYcnHU3VHeMHtbIj7+g3FGWrW35tiUX5cCe5O1X7/KxvfOuyp0cRJWmOokl9ZOyPqV5MOVC8mCphvbaMXJ5zeCf946SO1T8qAkVmt9/Y12RazzBt0qBLK+Z0zzlZfdqyRuDAnuBkCEYMngRltcHT1A3EZCLQF3BbzGPPDqKZAdBeMVR/2uCwDK/0b63Jx5aCBqKuAuVukB6DAWGcbX+WGyYxlL74Sh8iNSLAWbKDSqQq6vACsHlerevHDIEw/Wh2dKfYvl4eycO25aruMcLE7+nyOJpyq20chEyglPUuxUB4gJvqhM1R52y+LYKE2b4oJvIRm3dh8JVrieiU7Pd3okH13/FWYW+C8qWxwMc8iLHYhJ8GvC6Avgi9vq87OlVLFpwL7uiG971lRPbbVtSHGC9upRAznV6mgcJ3AqajR6tCESdy/E9Oh/m7dIVGqQLbWVzELTptFyQLw/Pdlk5QvHoi17ATODipOqYfnk29nKS/NAmE7BMi/B1lNm20fOAgpdr2FYgP1PDBo6SZLNP8RK5Rk8YXci+HxqALObLr3vO4vMQfeQfyX9xSAdwt7a2zhV7xlqm0776AJNbpsYxQGHS1ub9uTSZ90riOjztZz0bbCmXxHVdNftUA+w1uBMUVuW4D6BTs3G4p6qI2AQBqsgKveo/DIaUSQ9owsO2/nZm3qTBUK99tT3kA1FCtSSQ2k3zgqABq2iMxtUu5zir3cqANY0AtBQG1e1OzUIafavNsbrSoYMIr2aCxisjiEm6XcZkI5ZEl/hcl987dJkYqq1wK26JPU1S/CTc5LKcXT8ddS9JIJ1XKo0SiG0JGTbLXjzesGfNkkQK2CylvP+PWoaeiEeH4YBJjjScxHDeV7K7Q67qvJ9ppfS7mXCng9tpdmGR86wYN0JQ3cZP1Xx0owKihI3hzqxnsHwQUBpZaXC0OzMYmgIHOVJuGvlT/kauy4aJ4jmRoORBhZKOudUIQ94bMCzWuDjIsL4RgKUhqc65tjZzSfzUXYAm8jyCyEZu1fyH4BtZzbm6q7ycyeyg62WlTSly4pmUagUf6HG6bJJCJgyac0lMjfsGClXE4PughmF/vVB0aqmmTA4qic5wBi9LDvcXVpq5I1oDLSfpPHdu5wufruMO1M5BcBMiBhgAm/7UPEaSTs1DzmBWaoKGXU0E2qenWx3UCJsLK6i/YD5nsYL1WLsg1sLYlfRNuXxMeY/pbxQIePlrYCZmU2P5uQsXrxnJljYF32HT2zJG3oDwVe/rQlIaT9cqGjz1DRQoC0uXXmLI4uonNRbx7iZ9Ez48OPyqcrvuD3W37y56zbEb/RPxO4Cgo+MvtuACU5NMXer4ClzYf49mZxkl4FveSdLq5SE9AEk2kC6bh0I/oLZHjAN2FHpcV7807mG8hAUUmrJHm++5IZ5v+pdyd+nJvgwDVqrlfmbIM6F4SpuE/CnCak39ncE6EDPbECLVFZjZvMtixYZqN1BYyRjvQGdBnXG7XZoWh0g2D6ArMZrpoW5/TUOfUWi/aMp7cF1RTLTkvXfpRgv5ex243KoWwPauzqI+6jJqKbRgt2vSGKkjtq81l94NdArfZ4PzoxKnlUpxapoOg424XJHA2vokJTuY5vqNR9Mo6Jz0FKr5U5ERcunanIWh6OHGa8ChsWplR+rpFMI+HXlbwgnUgLi6BSSeL7pbebrCieicP08RXwDSim69V2f3Dv8ktfztZnfHn21rEJTjpiQLSE7Euu645gj3EMoCy1Gg/FzC+PEuqyyBuUM8B4YQ6j+q3vF8LYfgpvF/Ywhi3WelmBUD+nTWi6n3kkTJERcSdJE9olvCljsaDvGvIVa8iklhDWKZhJbDrovTc294BKJ91kD/I8+csnd3+T1HO+GrK1H/CktvhPzB8g3Zc+f8Gx4nsgVdQ0aVTat1F7VJtu7x9QZ1NLm4XR3g/zLDytutcECBbs/dCJnTmLYv8iH+HiGSfGPk4larcsMAfqAxT0iecHE2fSrZs4THzFYPhSH84PrhMSBVB7disp8+3zRWJEfwrEPwjEVX9deBFmEH+oKEuYhQx0dzawF4aNe5mJBCP1vaNHpUkGjO1FekZ4MVL+vzvaBWr7THhdHEfQ+98oWDHUaM4dnto6l36+esURWaKcQm3iUa6Hgol80pebyz2B3+FHcXdajQuGxwwXSHE2KmOpNRG/HADYtu3EF5NboRnAYexjFnajb4JpxjbxlZyqo8mdCTWnV9lu6ID6lhc+EiuPB0l9hZB+NSRujOADV6VWj0HfoASWqJ+Zoc7R36le9XOLReLrsOcYzTugxJ8OcsnRrpZ2iBvGBmcRshDfXjv6Kw0lYfMsfcRd99wOgnwhLh2FrbTnYTI/QPZiWd+6vXkQlFpKkVc0TUcM3sGSot4O6lYbHph8QpQcw/XAqhg6VvWOQ5At6OVTGRogwVlMrUUaolJ2n1XpFyiEAEYPEPovKRNKpkrp82EDWYum8fCoNzT3407J2RIVFDCbCjNY9w7QPh+Mpaz0x1uSTdaVi3Y8XxG8pyu4XnCY5veI7oY3n63VCg+zIv2NfWVKGe9r4+gbIGGrPW1oUJMfdqwojjnWQ0TXBJTgZ+3+FLnruWy6g8SgbIZXEbm257BDrj2j3drkJc88BfQQxiQRd6qmSJSXY6Ioz+4RQBEtR2doM9o9kZ9p7e1PF0DM85XOynCQN5kfD3OfNYFTDvHojUrQGMHXkf7miwx+YJ0OuOW+TYSySU6spm6rA2QNVoyD276lNSFnRQrvhl9/nQuYdmJGVdwxjzksE2Q1ZqkZ6Ds/RpJ/8hbcuJfoopqSTYioV40FYkKMudtsaDJttsDpu8cZbq15hMEmjFh9cxPrpJeurJaqsdZaqmhGyS+OJkQ3NEY5mXhBN7e/3BQalgNIN3Jhdb3/kJ7lsiZT7/XBOlsQxC1lUGiUkb8RbQq08Hp7WdVQ6b6umouO5yF366UnSMSoWkVNZsZ57DqDxRKNBKz97isCwKtS9konhxoLrbmdqhlIJZtQn17lzpEX2cSry6jw32haaBoo5d/wYx8X0Sb2k8Ip3fHPi1AmerlaUu0cPiwlbpIbz6ydGT3XmPJAFkkNZtbRbHljEpTK16BxiLR/oRWImRYGnJuOKntdI+u0r8U0duE5C9k7fPj3H9iEHKi8nZL2oQv7haI21V8w3ImAlljQVPjAo1PKQuHRWi14zPDQG9PyMPCA40pNcFSxod9mH1gnmdfV5VIirdVSZlP3DMMPlPVpjyKTh9Yi+4oZmGuIWwFYYmP2BP0vyvHQi0GmsdOcR/nr8iud1ypeS1aVmF8P4m81wXXGXGte/3NeTlOPtpDV3ErLLWrgCeUbtRaY1Ke8OFduK2JX+yTz83mMSMtzFH9odBMwAgx9Cp/0E+L+wQoEECkybU+0XhS92XJKMy/hqFJbklEz8kjMT1aFoWz0n3GpzTQCrrneo3I4AocgGdN9UkPoMyvdYOmTjmMh1Kf/ShMOQtBrl6yFARsgxwlupPzzWuJlIxvlMy0IgJg/4jJRa8w6QUwLYMs4XV+0smP1MDDaAhV5+Urd7kj0rvjCqX4vM/H3kX3EW24vQD+bcPfNCsN0Jll49MQKFPNlUQ67qCh9R6iesyllE+Wz09IuKTZehH/AG5/qg509EdfY4G/JOIdR+0kylF5EfYVECseT6Bvn9dJhNcBoisqoQkGC8ZBIQ1ZFMtWMvLrsuysrpGsl2HcN+VP8F4IoNaC9z4Id9YCcBSroNItITRtF/2/F+y5/91nNEOl767F5sO3kB3wCbpHe0MHAqcGczrZpI6EtsTWg5LNTDxXMXhjhfhfZX2SLxberzlgXD43XDnDdpF7LPNOLdh/xDyWkgWpSdebRwsjcaeqUy8sqn/r/mOaANNde/ZyNUV8J3Fco2OBh5yMtmB5Ab8vQOft2ws1OsoTvEqeNVDSQZIaVlN9E4sb6M4PZH8qeWz4esirivQleyu9crf6suSZkB2e7kSle68axKQYP5M/+tpYXtWgoWWGebJqSk/K7Aw4lsmWomGsnkzylxLxsNDjCK8OLxfYLsroEE2r2380rmaMt6I/NPm7jiKI+LzEz8e1CFFGcfrAjrrJ6uEXZ8Oi6qwoxGiGMwjPfqpuVttGGdboAsJHsVzEmUnUKIL3Okt6gcj/8P1Ik1oTNltlRt21BWxHYh7gtfUo2zEW4rSlBsQZonyVTVFxnq21EGwq4sRBA2UyLfvzhz7sJDmuZovudo+TCjGsERNUxbmqC4PtQUVoOKb9b705exYUanreriHIr/5KFYawqVfTYQuXbBNQ4v5XWFErRpWofbElkcN7u0GnWjgDFzQ5wBYSWvAXibztl3UZ/x1sQ8bios4cIpi5ZPV42Mlv+XdVWe4RW/LR33nbMoE5oL799DP3GsF1t6O/1WMmmVH4KbaLrbDsmrsrEd+d/PDTGra9GscKyhGniEgXLSUvWy1IPDxCQRKqPc5qbcsJZuSqNuUMc4iF4bJKfMeiOnt7PpDXHiM2GXC44fl++S43OiU7sKQiud8v7Nu6Sc+CvtC9IiSHL4gBhk95Qzajv3ENSII/q5Nv579/N5lKoUPLh0W13oXCFLbdguc9Mgi1XYwK5lv3ZX+6ZBK/L8k52EV894Q9xnIqbF3rjlv+8FTUGlWAggZNzQtMUtWNgvYneEwqHv+8qgQsK7GwKEKgagfocGFsvIIjdvT+biV9wh2kYqev9FiMJ6xpTW8urn4yoNzROqA4GueY3yJ/FmTn9ipVT+/9ewOfIFPJEHECGM7r7XXfj1d9jrNaanAngJaInHipK9yS3BKfbiLAxEB0kj3C8a5CPWMYfMFTzVOptjqNrqU/8fTbyMkmwJZ8E/YyXi+ATruqh9yM1pSse4TOZWOywEC5VGMLz32GSOwiKs2p2lCQAwajyGheL6IbAoDtbuC1Ii+uGFLdrvVPzvqsOab0RVCXA8QQdJE+VJCEeXMwfCV6+SypTnMyQJd4ohYMwFImgFa94P/9D4+bPyFl1DucHf1zwa+6ft7K6sDSwYyWt8PZTbxvgBHy0jq0lEWTxRuIqUusCDWWO6ya23+SASeWeL3OFgSZlFl46I+GlEgllCYWDHb0CpL6JkuByCnxaxm4gl8Gl+Mgp77mik5h0xw2wH7Edf0yE8tFIsPKVPNjDZyvhp7FCL3izV1eFsD9BBes2xbtM/OfqBoO5nq84V2lS1Hpg8/+Lnb+8p9c04YEDEum4PFs8eAcQvgIMVSAv0YNUBRg5+DtQY5zI45IKUVjhesLbzepK5Tp6Sz5YfZ0MhMGR8dbKoQVnAyikhr/wR3SwVc+CqvJSXf60zAY+ZW4UuwGjIFroopPMJiBCQtxYmNwdJLjDyhtX4uR03/pYkNYO03AVb85gdg78BdIdXv9B3lFedSBHS4z8GeiMLiNRN58K4qCzNAm/McW54ugvHVtzuMRcdxQX4LDUDnhigSSwsuK2BAqwuFl0KCjBFRgs2RMckCUnsViTiVqpV2SaxpqE2CZajZ6ulbfS6fkd3YZE3fWalyU3R0tgfKBggdKsUTCvL635s33kAIUohIHSN4Jf8cATtsJRFWAfwe8rAZNa4U/gCiTeTGL8ZIMA9Bmw9Yz056JZWMC70/nE40jgYkRpCstAZmbybx8lMtcvRK5dEbsX24p3ycI3fUL2ipcX3FegP+uESTrMJYdIhYvBvNFJF3okC6a+S217maV5GraSktewu+DrGwYW15yjKk4TYNVTzQDXt8QZKYDr3i6tQQ2dBygn+SIKml5tF3CIBx9+hJQN2nmDysTmZf/e7xVTbu4D+FzWICBFvn/HDwJX8/4BpVf5hubLFdHStn1FSapGpxr/QlCek1SzVZ1I8qmEG6fSvSEA/H20TvN1ifdRODgxEscxudqf621PClNbLQMjkS5JxeFibxdwDu0nPX8xGMG5spw2ARj9LBqJ3KmEEbp57hfjlePP4YbEXsq8dYo/8HGEJVppnGdIYDuqD4iMAIN2XcX0UodkZCPhuPA/9MEqTXHE60Zdh2r+YcpFBpoKLSmvVWctP7Brh2GW3sTXct5wogCnkQqrvALxobGP7TVYjMWfelZGlOK3ZP8oePBnjA+IeYD218LFHnx1CGdmsSmAU9mfuBe5TfVnCy6PpsqLs1ynqDi/05D3oF8LEtuRlBtjYOl5UU/wvWqI3yjOsdafDXvd5b/K2FEQwdycfWB4x6MNUs1zmBmj5qBz99F186xzVmw/vyvKLFryIBBawyQXrofBUj8N2JO+VNBxC/5qDMbO5YiUDeK6QK/U47UubpGngsnieXAFPx6yXfAld1nmDB5hUsUKlC5cCLydbjyo33mUFNYwn8IyhuZYrsazPsfOt7hishm+gcHqjsbx5aW7iFFt/xmo2vTXwzsOkVLWtcs8OifbtO2EUV+XACgWjoo/2mDSLN55/FGKablXpteCvprZ+RGrKl8fjPvPD+yKFpWSrOT5wesqPDFmQNjmJTQGUo7Og7eVGRP0I1VbUL6pCeglGx2IjkpgwY03c/A8HQQKTJQXuoSSRJB3f5b7jwCIsBnkd/A5KHYLOE+dxG2U+kgbT+4sr7Cs9i1DIUbNomzljzPSX1rtC2JiJL7NGnHUbNFYu8hHHMZHzjpL2C8wSW5WttVNQSokvBKid/hGLWh8bMjF4FN4cFMudUNlOgZ9aZKr0KKPJLIVKHNqBvd6RmT7O/qTYcmLoP2uiyP1tdKVNA2MmyaTtqZMRRCe06JqHhqKgBVhjPZCfAzNvPPheMDjzPk4jbNsrpztTJzH/c7KtTbg48HlGnMBkv7EL8rWZ+XqEg9Y3MEK41QEqZ6d+uzHSLAnLerKzqKpMfzUZZtFk93k51xdMDxEvr1C4AWv7UtxUeSfg+KQTkuymhE/eMbum6K7eHoTmcz0lmKxzXqTDGGWEEb6n6oTe+BbfjTu7vp4wk9j+HWz/Q5UnOCDE2/AoaDrsIMAPmvm19eI9Y3EPEweIrTjun6AjFelrCNJfCiM6HzI8biHLTNtNFSvT9MggZkRhZBGXj0XoPzkZBLewiCuwTVGnPnUUWrbruFwFUaxvNva6bYlAhkWZBwxQ1NWAoSCriz0CyAu2+KU0GtWCgoXZfKcxQTnZ3oEoRGP4THIVKV3OljABykNNVkYtP2rNwMwowFP88QXHJAFBKD97Hl7bc3lXiVd51rwL9UaCGHxme/Q7oU0jLn/LQM9pEB8DDrQB4jH7ZD9jH5JgkhflOHMAGaC+nyI4507zOMwNj7SLTElbSjTMfOhcv6P73XFfZzJMosLXe0N63qOnsaNl+4zoSBRP+WcBNUMC/oxY65VmOi0nU7AlX/R6OwIZ0ajW34X2SS4qyjtbXXVkQSGQM2gzw0XYUBO294c/nmd6Vym75NYsLsPUn/BujvOYQlhIJxyhwiDX5lzz8drqCTCvzOD5m7rhOZjfvaagtqPW17RUjlR+lcEx21JwMSIvqvK6rt21spRkryK+qH+jnrHkaDZIkl0iGwvVFztuAENQwW0b+mftXAcavnRDb9SSLjKDxd17NQFaB4m2FUFNtgXkvjFPEatW0GWQPMSJLDenT/x/MOtG7Qmerhjt+X9UQtWkatgUi1hNKSdjriSYDn6AiTFRy6biV1Z3Y22B2dgfyaquhBJoEJAOt+BkkVbZYjcr6MKLLvGdDxmIdMFVW02AU4GjZCCtkmY2tUaxxoHP506bTorBNVYh3O+CFR68lizoshENshr79NZ5CznUFengNZ1xYhdvqGJ/UYKdYuPsXem60j5ZrYoscJPjNd8mE+TuVUJlmw3uGksI+LTBKt5uAUgCSRGtVofPzvgJdOGj4GkfRSaSIAbwi4xeJG1xGACRR/SJ1Iyi0JQxd/h5iK4L56ZEEmgOPiQ5iaZ1pxy3FiDlZNDNkg+KmzMgryogISgAWGm0sj7FKrsbbZ8BsRxg/feD8tRgzcL388E3ldxxCZ5+Tj/TZTdICFBOxS1/NFh7EFiNpk3OJrNUh4e7r3cpSydr+CdUaek2VCCY23srmg2bya1yW0p1au7+FkSwpxq571utwBRLzSv+pFA1Vg54Q6UjxBNBTak5gUgkArPyk1O3vYb/7pnj4WObp7RjWTMoqtGH4VU1RGd/9Hx0YqPtM2AjZvFeGA7rzZY+kEuRrqCfxd0pLIhV+QPlfFYr24NouJEAi4L6QQpXjDolCI/MbG0B98xletJ/U4UMB+fRHKypWx+VfqNeilpRkzvng1a91ihu1tSCi2+kQhEwszKMeVc3pIIOKqMBlIUrmhuE6fVn+h/n++YjJQ3bdqeqwAV8j/uTvnLuQx+yQ3u7ryno+AUPungGkCZLCYTsTcoQV1oaSxj7c217z2llEM2Gj8P041WawIJCViLrgOCoNbTiVxF6lWveBUuD7FV9ovilpVvN70ZXyWiYC65v3tXr8VmlCylbTYH8cTe6OeV5MMtXH0kWHYpqlV2/kUBROIbgJSOv2agmiGwsNTh30WIf31hAesNvOC18zrqcyirvmcg2m3Mg/RgpFH0IU8+v1YCFIpT6oKgMua0H6K5ahravZSLjGBXM0ZpCdXB+ktNcMvKjqldJE/cojvc60D6cJqUadkweIu44uw5QxoxqF2D2qTFdDAi84B8YIxsOIYJfrP5rLhucPbRMpg7eSz0Cw2kShvUKuWCkpsCGBDeo/NDJXLgTCiNvOiJXtHgmTJdQNZ/bUEzvY7JJi9zf7z85Ua9YHO6FAJFUK4b7xW0ToDxfsBRjOhJqyhpYX2Huna+yCPfBBAbYz2xbZGtYy9TnEJt+xGE4oexFd7G0Jl7bqic+ddxXKEnx6TbV/AGtoTuczCFrVERz5BTMKymhTP2w6PL7hTKU8xVl7pz2RYhbwdcnRRCf0BCnQ2/oAZDrfZvp7DIuht10tp4+bBfb2e1e+4Bm28btaRB5ABEVbmFsAXZAyOfqfIeOsByNUH0h2k9kEKneiEvOLqBce8TDIQ2UkIt2LsW22e1i8SLLh3pCdq1fiDUqdtLFZeuUEx9fG5Leqktqh7FMmEnotAixosXqMkYkcobTAPsRMpQeA5W8K5m6qW7SdZ2jygmn5s9Cs/oUZ0hiD6J6XEQ96HdIZNcTIHOyKEV5qhvJ5Yx5IAxjHzxZTFGz8NjqMs+LEg70uaumqABO31pH0SGnf+NP9Mbm8DEcpAwgzI4GtHZPgZEd8IkWrMzv/DbKREzuMLT+yB1sxiyHY+r5BO7CBcz8dj6cv4pR2cZsTEW3wKKg69D0NwnZD0ifu53MLOkKjoaP1WEsMKYXY9Ibc35ChejYFkGTYvvN/Z5x5AVhqr8g7rGyr2cT0sCLZofErnMLy6f1m1488wubzh+lvuKqugfsgKf2t0KNlPkLP5FOayl6RG13vjrnA8ixlNT5jZELYI5luWKOOcksB79ebouCUwTQMKN/ak8f/zhEaNzM+kLIWAOgbObECDzD+JMoPvni4sb4dqpk1MFjW4gSk71RzimkvxyyBXs34n65V7vsRP8npqd5lQZ8J3mYLFFoxNqNAGyOeYGIxi+sl0YayHoHYI22DpSieQGtMNxFAA4tfe91l0rtIqXS/qoNS0+Clhv/zo5VFrPq1dhkYqj98t42CtxfxZb1SzBmXSqZCu26SrP75UK6uAoXsB9cDeyiTg/Z0EbTqSCuQgsxU0AMaOw/a/rOmK2Fed6Cd5GzG2xME2RDHqx0VKWhw0PqJQX83ZSS0Vp7y3DDz3qX0iGQBOizn4AvgoFMRLB2EgpSA+47qfp6m+Dtb7fLmBm+tXPvTffibWxHsQS4Dq/49GAG4zb9IKLIivB8b1oYtzH5wkUb1V7vqMjbx+F7n+5CFHE7Zxov0HK2Da9zZXGqeNgsOIoC7avXUmb1VVpvloMMdo7rml+ntJudwayFYZKR8JLsVqCoa4JSU7HANw1ARQwGwqmiulP6AYPjIE3iOAcU3u7pitKjI9xcpn1lZu6Euiey4DtVlKKY7lhs6WWYHnPHfm6AfKIawfGBA+whXJ7D+ws3gVFkQVnu3Tj4ficjTALVvfHszqeO5CnMSb7onESFhIjnjd84vKeF9m7sYUkBDwp4Up1c14fMf7WRl7BZbyxGqr/Kok4G5Ty5HVnvs5erROU71AdSHHEXDR2zr2hDsKbLB2EiCqqDCCOA8FHz3sIePzL+rzuPUhQ4LU4NZwW6S8qpfOpSpO/ODkledronEW3x4qNUzyg4kGeV+AB7XYBP8W6SqBUJMYlhjjoA+jYXGCU8vLGP5P9N/n2PYu6jwVDKVj8IABZXTr/kWfmT4nOMIfKuWLVSmfMl0bBz3f+dgYnjDUwVg2NPYBp1j0s9SfE1asBii88IFcw0sflrAB4EBLyce9r9eDom9tfZn9V5jrABt27W1cyRbQAq41B7PpGuwFAZEhqFFd14hBFrPlvvYXPSPd1MWvvkM+uhd6dapWIKrIlBTsyvqVFAaNB5890vv9IVTBsVPT6/8u5TSrAbeVlAzcnJtFNn5NpAhNyKV0d+eOT5OeGfYU8sPUSYRT9sOp2AGvxhFS0Lt1OxZgcAkF+utqnxxeenoi+UztqL6+DpGNwfz3VvJSBmvQfNJKo4t1Fi82j6+/IzWQEzRfV78H+PrOnY+wZDbe04bq+MPdg7xR9KNoQs8hBwchMheSVS2rJv6OnaNIOB6a/VByXucMq/EZ2+kunN6GA4UY9d3FKNaWRBFPHHf5I1ZM8Hd1WYwK69aWslVbOw+V8qCkkFchERISUtKWKXjxGQrX5opZOP7XRMlUAH/FacNY5Rg+aTwooHAjlbMVsOh9RFG1+jiuPBYF8bHgHGFHcsdXriQQ1s8XkT1e4ei6bg7wazx1xIFIumnyAWebdmze/ZeEVDd3tUJ28ak4UfFre0nTp4vS7egPsQdIu4YV8SAzWMxYXyA/Fatajd7KMs60tyXmrAYVZmk7Wk2O1DRVkCOTHshizZ5Jb0b1wXwOxI2OxFrnIOLNfB2LeOBqGbVI5ZgGZb1QEqAwzVgfpWsGDBsFyko5s/auyc58LlKox5NHbBKm7/GVktw7MJo5+jv47/q1HDL0+AM2GTrGip/4BVuYbeVyLXcxbq9QGgS7MYIEPQLGdbpE382H/J+18z0v9O2LVkU3Nv0j8FpUoKEIeMC8S916MRYTCQBnN4R8XdbvcYJKOeeysdA1JtFxmE/e00fgrdiMahFNCrX7Gvlp4ZwdNviiCoeX0AHYH7HGrqejzsoMoZ8dVDUBRegcmYp+mMhwXj+yZIWIvRxFt86/+DRwWMJnms09pDYw5ClHzQcR7LIDeFEKPtNcC4OTmLlnLoE0TSMN2GT0MOdUHgodelOt1P3Nju/wiYE8aXteWj3ktlLqHG5HYb1drFAt9yxpYfNApg7Rya7r0qfz/2Pn+/Eqxwb71xz5TOTXgiaEwlUo+ptD3lf09FepvAfuE99eEFMN8Pmb2c6LRyeigHusi5zTklVNOluLEpuBfLY7ZuB0wSsKRCzfJwrwqoEIfPA5rl/EZEQIv1DvD6NlGr0ofmYQmXDs+QDxO/NwTkUukLVGUmr4j6WE2zkB5H2Dse9bzW0T+NIm/upuPMVnNcs55Ro1qR5YswGsM5QTnqsDTZGgftQrQskxbiWUrNfO4jVGo/oGPCc04KeypESf1SCA+q7iJL2vyEjlndYLMrxZflS+oDkp++UnsbQ5QWg3TFPhkxcaI1+8JtEsWGbu8t/i46KQHjUaSCdbgF2vqEPwwAKQYl2eHWwSW6HNvniZNohL42ivURTQYf8P+enUbrlVFodEkeZXSNNSRooYW8rx4IEhobbkrh1jRJvvqFHe1CN/Smw32nJ8cUeN6VsdDTb+hVl3o9O/iBrqszu9H2qHVbe2wT8+OJxbGoCIWBaUHQg1mHSvEvtdaEy1ndeZCQt8TwvynLdvcCuKeowB7YFYhlOl0OftrNwFyj3XiQhevrfC5ZRJqFRwTIPoRrLkCVB5f0Psnkn1qsUfiOx55eiVfkaVHr9UxiG7yR5VqvsX0dwOzMR25GuFWPMoo0EjmBC5FVQm4GJY7IgXPkh8nWnHCFwapdN4QCnRepgqhnN/w5sSY3oSZvzTd9Dle1EBzDK3KOku/T9bNFPkpibY3NN/7Xye0WF2AhX72nqgnJmqsysxNXAELmG+uc8iQ7UjZin3vXPVpdBErA5S5/gFs9+iIybRzaQtgzOCvJ92Vf5A0HMRZNrDMhDwP5fqOtyraUqEZda+Oncd44fGf8vB28liqvyktVKh+PQCvZV0QJpfaBvAb/tpC6LAzDagR7lCjoDoThzjydVsZ1sFn10SEM4mL9xYDPco6I935LP/d+T/EA+C45IiJVCfYVx6zRLwevIhZj81nlPy2fFvsE+1Qk9t0y/Ig39IXI22RJ5jXsd2l0b/HkMqQtMNsUNXWUYefRVNMwWOi91zQoX2RbtHwFHmHeFFxQYW1JBEDTHm5C5AZL6ziY13d7n7U9dO5y5rpa22YTDpX4U8AZaPtTW/THol3VgafI8zyAuhL/LsSoGXWRgBi9CRX0P11/vwg5a/FDgp/060GOMHVCVHFIYgaEMgp6nt9OHARKN1PomcPUTqqhlr0yvOuse7rJMkwSraw5AzgjOjiSgjJy5IXbVIq6X4kBN8f/9wm+XVv4SiMmdWrj/eMmBI9YSLkNS1XC1AChUl0Yhx+lYQfBV5L28ABZ1UhqO/+o2sIpygfIRtt5X0M+nIfBAmrijjb8bnRT5ftLdgMSkmWkHBKk7NXgpNa7ZlKXgQX5NYR+wYE7UO6IxlNWzFn7PIOQ5+VRpYmzHW2wV/rQk/uD1ZfTDfaVPjfdm3U0i8ULkOpHFqpTjxUKl+6dBvbuDfMh1sxFtsinQwMiSvn2Gu8/sPpHJP5rKP3H9I/tRLKSMTtS8q3CwC9p1y1LYMP5qbpkbG4K1525YZhYVa3wHj2M+riE2NHVCj10oNruZg9kOcBrMgDYZUYPjPWydG+c/9NRDzITcNq4xDFfGQweR2GXW6vrVe2LmKzghW4+rgA0CLFgnTQ9E8vRxpt654F0pEtquwzhlKSDEN44Tbxca5dlJX6KeRycaRzkReWINn2vYbRtkLn+wtM2sWhogqXKJ3lrdrvxf0KiuN3nAlNW7FRPWJICW4R63fCkQ29YQPUxE0jRHtXr1mARqB5b4mt2NTG4qwusvwRGohmTtdy7Tye9ao56tKJw98kiRJjbBEqOuUBhnAY0HXXQuvGvX7bipYXYVithH6x6nUG3MzWJ4LKT5jdrnJ6lpFPiqiIKOOANHQP+tw5CmGjeGrj+XPildwvJX2gk+bdWBjmGIeVwfXe2i1IqmndfTVXZIdXGIZerr2zMroDEd/+VCBCPlKskKdDgzY3hX/3+LnKUBTttt9HkJIgiHu7amNxgN0Va/HTpquJ6fe207/hbB4SrU4edAgFxXzY0L4f59LzdTraTONK9kxSpAkGkqfj7Z5CZ/MRoYEoe+9H27v89Fonpyn55YQQauEgPvaAYNC8Htw+TSC8PNVlFXyUtD81RISvLaeyj5y3pIl39YmPf4qlmnFFxRdvEOYVcmhN/4GQETmkWVo7OIJwkbvDJCq7+j0jXFZUqCryQTE0EhTZ31YB+pFbR7tmw93GiqnbZ+Lc1VgMgBvdIaoV1UvF6bwtVikrpnhlYSx+Vzr9yfvTED06Gy0nj8Yjnkenkasoezrw7t2Bd6pZTEw0rMgIYozp+aLvnYHTjx+vHuYUW7xfNJb9dGR3OW8RJI9s3V1vY+c1kkoDqyxaMqe/AFxiOM79GO7gmSbnKUB1GBs4HQKZKXX0ULXT1XCFqgpMjAACscTfVYAilPrhd3V0Md0+tXm0qpO+vd3jGJ0uGwG3lMqvXwE9t7/IAahBlN/66Gqgz4Sr/hrP78KsD5ualFeiqjcDBCRYTKxArF6fagSk03BgA2WQrEI5MjKnRt8j8Hw/gCcHkIrrGX0V7Gk4fduIuqdKwtamwr/OvzcrQwtEFWsedqu34zH569j/wy0nl+l83kzEDm2WjUHiEOOwfz/mcLO4iqlk5chWnm4G/c2BX+jWpoBbcVrK4IJYgUE2xudE+OTs0xV6J6LFO+L7VfhBUzhUStKekrnm2wplO+2wOENtX6sQVB4lHIsanm3lRTkMLpiqgBFprwaq6jJBx8zazE6/NPh5vTPw4lmkIHBE3htjAlvXoEqHnnAKcpCqYG8fzQVAS/q/WrZRnjYOrRuPHxU7Wgp4fVUarkUu/KacPML1Bfk58VLb4et3ysp1xN9uR8/IOTAJQvQeDUsadRNofK+O/usGzzl2+mo6lYeN2fByJdj8ntL0e0TMrFdoyZYww6OrWHWvKfRKk0WqOA10r93+pCv2trpigFrt9mhQ0THpXMVVTrGq7jDVxuQAQiQKr65Kt6evFF/VDOpIfVdMz9aWae7zSTFApnFYauyTaRCeIFMwgka7iHiN6LmE6jf+c9NMitpSlP78WfWXaZu7EQiuVLwSkpKC1FuVh1OqK3MpxipzNivy6ZlXtLLI4wRy2KOV6YjWoiKLtyXm7dVrC0whPqlOS0BdxMDyf8OU97X9N/8Qw51AP6TPJM5TiaXjaUZAUKp1JkTM7Xx4UXPTDvWMEQny7Ll7zfObUbMn9abh/U+cq4/+JJUqsZXWpBmedgJWudI+vaLs3JE+n7SJP8/X7kOZRkDo4V/5oew1fKp0xcKa1CyHr/LzxMUZ7x16sgYLIabpAS4j21B71v/bhuftn7vSrmFp7X8ftBGBBdJNrqWAkZ8RMpmmz7I9am5mQ3aECg3xVkBw+yRpoqlIBWx1amwEt8yvZD7TDCYyQvBeQ6MsOKmJH+L327+tL9u8LLTpLN8N8zGaT2wSLCdo1EzxhqrKnA5wfolTdhVtitqK7nfp6RL5GDtm4Em+YtIkdccxA1kzsrDpcInj1Yknlg6iYnm5de65klpvHPtpFhROcDGGAwTBZsAnScdBp0NAFdKlDmAeZ2DWWEnDwjxX9ZrMn5F7+x8NV3aM9yTP19gkKfTckepaKCA3/5W70CgHp91P7ANDfXf2WYWLIlJ/2NDz0jT6vL4SwF89l558pRQCg9uNjrs+5dhCnYjj3NL3pmpSz7X37gZtXF3QO5iVfL95m5S/G+ShHue3o0I9a0Z5Owg/YDk6P8DSsuUOyHmanYlkUpnrJj7d2hDZl7hql+qo4ThZvGlO7plhQjGCnb4u+U5Oxs31C/hCs0BCxztvPOqEdTlJNeZy/tYCu2kIBUC/t7dsAepx4+3HlS3+Typ9Pq11O6Q87WjPYL6fde7RNGltadUiiNtuDN+BQLP57s/oOGrxe0V6JMHhGHlO1M+UU8WTt0xo8HigFpQpmy3TjfKNLEO5Rvv8RgYXzvK07pzQ6H/MgflknNZyovTwrq9QPy/RjFJkK/74mjUgXrKp7797ROiayddGDLRiA0Gf3H/jt2M0y74j0BRlK2WsiOA07YofeUbOWyKDgjqV1frhxQS6xqGY5k3OnEfu4VlHOYSe1zFbC/WuNwiV8RqmCN2amV0j1h65r5dszzn6CHe8V02RVE4y2wKbjD2DuE0aUSPwKkKEO5+bmP4n5Sdew9iqpii1rN8KwtfM1rioQ9USxEsMwiMxlbkIIUuts+30lSVNs9hhbZwD8lUdrnibL9YWGe0lNmMhIMuDs04dFfwWswih9OdsDXvlex+ETwTVlC1WrbioF+lC7dtqrNcwRZ4xc0FEmPjV1qZitAg/P4T6mACcrJemO6XWeEy9bOOihjxLGvj2oeA+/fA5p1ak6W4zCVq3QMQfo1KgbQWF+S1YYeSpLhT4xx/UZ1hJ12TefV63t/ejLRCz3zhxJlaRcmktA9JcZ8244kMsra+y6R/LzIJYEaxc36VxmBYm4eEUlbLOKX/qGP5KPwNdJPD0wcJ1ewttJTYrq/ZdoHU3BqTamYZO7MyonJD0wYnFy5+y0OwFxQ1YqcZGAqHugdlJtarhRHlZ1exhLA4OLCGzjZ4reDgnJw0jNzjZuq+dAsEooQ8d21NvlGhY3/yV97eU1pQm99zREaBHtcJ2N14Y5+mr7IiqM4JhQenwf1KRxsXpjosyh23NlTwLvcvODvhg3lUUhMI1O6+d3Cy+X/brlA3N9VnUW27RZOd08moRpcek96bVMBmrUO1LhKlDeci84zkm9YEf+ltbH/Dr/MAHGBXk+6zaLMQBH7F19vlNxA8n3HeqG6qbXm6xjn6JxeuZUmvkbrzHf0X0Mw3EHAyl+j2J6CVad2zTFNtQqqWLJNfYVt12IKKe3nl74bjhS2IohGPIAkxJ23YpoUic8zoQDiB0TtHlm9WKab1B0i00GroDbg3kP91I8RjE60w8dz9oBdun201VntrWxAeCEfoE367q/VxFCC1LjQFBFcc+QCh6036G4R2yI0B9DfQ1R+KRZRb3/1rFblVQHdkuFZ0o8xvy5QucvBdDgiRUcX8QcV1kf650qcdQB0lFWgTK+ZzW2heS9KQK/HZ45tDMbr2XnzGY7rmTyt12VmHGC4g4V0Dm4bWjBsdEyDir+jOjpIjd9sgBPeHQV8xBVhzPS81LjzKaxPQEiOd347q6iY6YolviP9gjqlDEK5AFrplxKSp2eCmVb/9grw19pXxUQ3lQ6J/H5IlhHoI4n26dFNvFgxSdhM5A/zLyUhKEbdhWPD+E5c8/3QbLehJwmFe2dcyxAWvJ9XpB4oaRTEXDRhY9kHZRKaw/e0cCKPTj7rjaqE2CFUpA7++rLxaAON6R+iVX+xesNZu3Bm+0o1BNu6C8Ux3UVI2HgxOVyDFzRfV1BzgcXNLcMWKTLtt9KR84hf7lKcG0gxZMnbanfPFBX+N42T5EFO4Ndr6Cp9XYfAPt/rhIPVPffk/byh8DR9zxULulUOmW/QwNmWb+6q6PabFtbTDqDa+dnIMi4kAsAAEVHwZL3oUnlcUo4NzSsmTAwcQQdHqbBm1QN2+GIRmqQiUoCAUN0MSb/hZS0UWhEcOtj8hwBT5qtuH0LtanNhP+IuhnUelaVTIN1XarfqeW+jQtA0A2038RwwcsNiR0X8tvtUUHz1zFxMOZNHLHx1HpykHwQKM/uVLnYJ48N/RfhaGodzRJ2s37iSFBVbxnMb6YWdxJ+DxVFYZG/tW4IrS3ew6/zgR6ccNlM+2Zq0ie/507LwnXQIWsMtxlz9LTOajKeiUdy+hs/RKop9hYwhuIq0++1S4krjrvJwU0ZiZmbXwhkfOD8MKNxLj54fREKGqfT14Jq99ZVXwXf6taA17d1jOmaqMnIeFtqX4dvT7YFSdTXx3R0KpB9HIuj6osTnvzMDIAwFaAm16sxFDxCcmNonIN8aBjI05pdJf2stlXN9PeLxpJLLm1FVT6zB3rBlSN9QInFgFsO1a4N5c7mxfv1+uUPiEu4tkT3GaBJwWnY+2gwizum091lsX+LQAiJufB3ju6aimmWJRwCNvAZg7CLLzY68QOhwTsu2abQkicPLamiom/iRpvqTj/9zkNGfoOFtsdqts5hTi1Uowr6Wg2wTwPl42tY1HTr6K7/6UBokbzgxjrDrWKtL6INaEf8lKkeK7V2irFgzSZ2O/lMUctU9KmIWrq+cOeWgERdU3Gq77BEy3jN6qrRLm6jO2Y5pWSHeE8MznFBvCFKQW94vfCJXI3sEAAsGSbCBhDniYXTSBu5ou8JS0C6FJddBVnDjysd7DVAJfILllB0HTQgvi8KCkHeGe5pjaovGGg5JdQBPp3dp1GV+SYc1zDc3zp67IArMcQP+ZRDeW0InniK4QXkKi0bX+RrXrmDbsH+EOvzmRkf69pBJucWAKGJ1VFpbji6U6IF0jW5ho0I5RtJL2w+fyrFYKfiV1hsTRhNBNobcy75GcYae7ctMxGWodE79WUeo8hnFNSEkB899ntOGBiJZmSiq1bL758QVhD6pAdQPx8iF2Rv1qXF2olqki6WU4LVi8CRHBl8BcVcZi6M1AR+e2SF5GnQo/XBL4UnUANTC58fW+xhDuyUz9dU5YVfrJkUBJctHUA1fR3NkDVp9bilZ3Dd3KalUdCQTxTm/Kt6qTVyJ9ppTtcyYCtpOybsgjfkADndH2PKLIFQa9GMvmRblC+m5qzTZtSJYKD5WsQvpkMqdG6RCoWUQNsf2GtdlZO/3zLkBRZQSATFq3S34It4DLC981bhpTdgcv2g95oMyxLXSOWXygqVe/BgJg65v8AREkZUOsUKUqYbFdGYNHQUuuRRJx8gTgS3Bx6nLVQlQOpvwT/NgaCu4SYhndJ3PpUZp0h0fyFmmgg/hF29gqpZsOx3Wyo9StCSn8PoQlGxZfB/b0D5T8DR453JNiB+OMpUHWm7tT/8owVPiIInU800X5MJ7zpWqW6KBNbaJmAopYzy+yVHBq/NuAVuFY0kNHUJWC5TSqh9Cebl4KNlCvuFljbS+tJiDqTk+MXtbyCVpON+6qiikCBWy8LJ759mM5mUka04CeRJf38Z6LkeI0lUOpA8LhHfbgGhkdoB4jE+PBn7tDvfZCx+swY8/1issk6gQ1sEr7AdW0RSTGE3zb60mM2c+AziWNdUVTS9JG4JAWAwikzrU2AnmQerTbw+UNTfAxtZ2URNzegQWCpd6yk1bCplj7WIMH8l7xOE4TicaXLPxnS9asdhGVeFElthBLEExD+uXS/mzEf3camwfk7dUBxtX3giIe23tDVm6oxzV9w2OcKMi5dDa41p/QBhlmw7SSUwA2IhQb+FxSrmn9zYUlYT2kZaGyD0OBHR+/a8uLMHZImzeAdjHK6PHv+TINxE6CivlXkOwLnBzWJW145UgIMqYpPIaOFcoLV68SXDZXMqmj00MM7GIF4jlmL8yzrGsao5/V3GBwH0XoXCjwChCOzJnYARyqr9X5s6kCdNH7GNl73wj66F5RkmQYME1c3X6dW3jSu0JcVF64e4F0/zD9Nk1SVsyL2NlLtR1zGZIDPYsF8dyYTCfV+et4w9UfM9R5I4JyLN60Aq5wR8UalYD2a8JvRkAbwEevRWf4Z1M0oF1rtQRujncht8BK+Pb5asPYNMFPZ09lma1b+2T5YIpUc0tI5d19NJ23GuVGoLj+wpaKZWnvlm0XQFyn0VN41izBRjXL/41jrB3EephKSRelu/o94yYRPPlMJ7CpRODnkjj1hlT15OCj3rHoKdw7lm201P/CXGwP/5TiBAu4wUuYd+NTucnH54rG/XTrqp6xFsmafKzT1i2L2bB4Jdltlw/YVaLgHmjGhh2fIC0byb4ck6JWVWJtpKoWJPRIDXV0hYRuCjc53OazZ3THwtk4bEIWdB+RKg1t9XI/mmMVh2YGPX8M3mMcOmAbENS7WLSKENhUKFLOMvg0y/sUtu6Piqip736MawMVKC6DsEsDCuPuSsGYkT+682y/R0OchnV3fJQNI+lTt7KCDdJAawMhRQPBwz10hQWgIQPQqLFmGtW3Lz9mbpHUwd074Z0IBJDlwWb4Kn6QhtvvdigoF5A21tB9gCUIF2QjOY5tJngAmLNxLHd2WGtXLoAT9Gy0Nb5ZFduwq05+/9lnoFuNiUrtDkNmnB/H0TsZavu3P4/enNwMchFzSyHrflrZr2GKKxrmfav5NFZ8DjLobQCosAhz8Pq5j1aJEkEelxG0JReiQnvE9z5qxK4pJ/nZB/WoJ1gbYCre7ZwlXRBw3TcJaFepGVYmeAIr0ZOaZdQcdugOPVyc366TDSzppTlgHrZ8ZXdI4qOd3kQ8GdBefVcKMzm3e6McTDacys9MRXdy2eBubCsT6gsWW2GSQ0yMg5bLJYfgE49gxcWy4fgzbNvzK9sD02MjCDsy/vq1fOTNBKuphhiiHw8qk14PihbqH9hwda0xjjmztTuaPaT05sSorniP6zufYstkT97ZGXw+VUNVjvcQVGtd5EsMgFGiQ15uf6ZX2kE8vVw4upUcxFNXjtNPe0Jt6dcq2ROM31OHaQmzhwVekPWQaOCFXg9D+Qkgq0Zsdmzwt7w8/vNWNAFcgirXcwHXNZnMJWueMpaNMb1azDwwwlMF+YlosuwvyKFiu52Z6eXSJDYYG7LvHR3rKLnBaLKga84F16eUXSkkRIdSoiOtHE+YGrxpSeJIILvsVL1wS+yPD8PiHr51hcIwu3Vq6DFfI26KE/bxsiGlwPJaA9uAhucsP6FaypFNMQI61E9QQXKSZQpe5mCsFURwFGmDLOE0s1IuQhpWNUo+sN7sve9vvaVMcJpsoL6Lw24b/0yWFwirE+7sfXz1RngUWGXUWOxHAz12/0erkkNbgGYOKGHQO7eohnuoKeonoBIgpGTPjSxntpmsNS2QgsaSfM0TMFkzQa9NXmyxmnRQgCCkKOJDtQD5E7y3fzgRXpALqJyzzlhPnkfZwJqROoyu6Ksy0XEIp6MV2eaiP99AIWd+WYUBGR0TyCUV6Pmbb+ACJ2+EPtSI2JFjDv6Z63uz1EUpvmTuNkcVUga4uv34Ah5dhw4rfNUWgE9lg2eT96xkNWJdyLmnzrDNXUjRBqYmabd4TIukUb42dkfqOLrQNaWoTKtfOXKTH+69Y2N2F3kpGyhcaEc9Mq85Z/Osbv6rt5QGj777t+MATPOxv0wZZHJynfQtotLOQuyt7OvV7mdmEfb7A3lzRiQXp094aJQIoRMvWNvm8NnBe/T6Q3sqJvdQZWpdnvwZBtMy2HxdcQBloIsuOcqxOsOiN5hags5flRROAPFahTJLqQfZszeRMeW2g+WYKCT7s4wU7vkeFQXgOuVD3BnUsu9Sne9XIKlH5hvl9sZR5AOWwPGffjW+4EnwrsCBmKJJtgnN3qy8cpHbCvW4gYlrQN6RnyDbhPW5UIUPrFIn4xQ//sniekEP13eGVnabxZZA8D3ORFG1KjYZknnmFIT6mmG6P7nfh/a//VMTI4hgcMFNE5Nw3xmpIDf6J1UvaNJwyvx3yG9gpLUSzss1UBdYtABBhmn11yjwLjdbyNUy3bJ1f6N5Fu9piwWtxc3EtoM8UmvNFgzl37UGYxQalITqOKPRvVaATm3+AhYNDhQ5b2vnriDtL00Tu0bpUJSwsQPiwC9ii9Iv8t+cAbksiUMitlkqy8jBwOY7Hrlz++PoGuLzGDHDg0QCGw6+lAplNz38DxQeAd9XpWw+/tBXP90s/5PYDSIb6CHaIY2xdLX0svkRWCVyt2aGd82dW4MOR7nw13wKl7Qtr+zMpwElBtwZ9nkUGzJVAEkX910XPkIVQ7Dzubc07YjHYMqLWid711aTswR57AMvuHJdnQyMkbWbpAJ8opswIWZG96d/Tbzd2gLAOMZmYFxk2KI1StiVqLsw35vOxdHWKY8NJbzV961s+R2uXNYRVIZgqvrypgZVfxrlRDJ2heunFtufFisUJjB7Pe7Fif+6qkR5HAhJxwBa1qthh3wZZWJWLL24dQmm4oE30wfM/xt5gAZyOq6iTkXnTlGHdAk1QmL+nqGO+kOgSmIdnfF1yhI08LlTMd1lozbTiBPA5T/oWXBPTVM4+RMsx1NwwSXMvhnmMGSm8EKP1ElzwSWU0e6/RMP8BA5/ASbMOdsGJolKKtBFu/m/GurE/w5K5DuuRp35YYxP9zidjpiZ2q1n3JIMlN4ps1TABYqDCXQQd55IsvD/QW44ViY7Idb5jZ7ScE9iLlopakD0/RhGgMdq+yCzJ0/CDkPU+wtHmi+EmOFDys2uYftKiImZREgXaCmYBc27jIKAuNa45XEGVx57MVUHheaD8dGCX3uorVtPzArkhtXOVzS8cSWJuD4+2Cnb/Pf04wM+3OYMlpj+eA9jwZCF+ckZeOuQ25Ou17c2T3lMkiG+TRGRG31jffnXPNyY06zCCPcVB2naKDdswy31Te10aU6BzmcfhLNrrJefRBudf6ZNQUk9vrkCJAwmxuGkSp/cYTWg2m24FYAHTJy5fFcGK9u/NnZRdKv7HQtDGGHhdm5vj3cM77rwGDfNZqUSE1CKBj9qv9QXuvgo6qAE2LF1ds6JWD9dxfjS8i3QBBu9ROyl9lk0kgP0t1ep2cIG7fILX66K2uc9TzB2aQh4D/sTsbFQ5nG1/FaJsJevz8TEJcdM0NMb70kInPZgjf9tenL5oQOPo6loAJPAOfwr6xfnXxTkEAaz803gj8O05jj9aZsp8GmcMTPqHUMu2Q2X3Wjj4ZCSOzSWi5n44Fc0efSAZkF4lRUbGAq0pbGojTv9Mjhpjv7Gpbu0zKUl5ql1FOVFKWkCkj2MZfI6QLSrdesc+OCHGmPbVo45G0NhJQX0wPsRhyojuQh2VyOG/B0S4HGnHtICnIxkOOUffvwyZCFySRpVEe1baWKprqqECj50p94dPMaNLAeKiII0OgVYPHLL9kUK/myYZjw0e8QhVHELa9X37Mu3y2t87Secec87mylwa/KwFvHwdXHHr+KfLiJIJhfRoJk1r5zOG5jJDWEwPwwcfFMgwM+BgDNJwFKaGgLjKWJVRe4Ne1Ym/WjuWd/xy4mXj2ZkJ1VKlrWu/zLGzrSLuc2INRLVEpTD21uzqnP7cAAMDYdusrpPyDYZTTBGCh5xcJfyJYJIXhGRfXOvysXcOR+PcWb32iMJMAeu4hTCRkEO6itKfY5bfjmp47u+q/jlS/XdAa1HiEF+qPGFf+swy2oaJF7Jjc7y7o9cdkeDISau6E7QLoqjBH45xxpEJoWwbXeYiQQyIyMymKM8DoQS8nyZO3qejhwm8vEdSdp4VfUWpAyW+udo86I7TM2vyt5ewn2eg5DXxlHGtwYovjvZ60dblQKn14JdbAe4hngCGsgjT7wIvGz4Dmdtd7oep3S7HsRi0XHQ5c22SO1t3QNzpft+HoY2kSzopK0cR0PRHxUGK3UXTHAXUj2NkwZ42FvPAKYQWa9P9PIjBnD2gLKvPS+Rq0TDTjccWRwus0KOgXwSjPFhl3wTR8HUR8X7BfIcW1xNcWmMUCePFawAi2sDiHajqWZnPMk/553zXjo0b3jldHjKba5gCa6KwcxIrW+WWjQ/kDhmujGX4Ai/9rJxiCxtMl9u/OEw8KNBcaF0iYbbLrlaRdB6cW5Vu8NpcujAlFePDI5R/SHuQXi7siR31Uy3x/prwV/7LSGZFyTI8T6BRNB+ybsXgIkPAhDjRs3mjGsMdupWC7bMw+VlArtsw25XJ1pHodKviOO+39gnqucpDrNXdoH1gfmipH1goACDd3fUBIAn+XkBhP0jtmgFJPddUNkUVQkfx/nAl9gf+fL879fEXl6vM4SSvdACasD+tI2rv/o5CFUzOBJcLrjd+9up+SpdNMl25GMHadQPJ4cHizsNOyQWOrp9yvAXegGzyX6M5T/UogsNzPbWDR1sFiIQCeYKDdqjKUUnrcYZWZst2cCw7Pht6TIjujr75DiMIboWLga0AI5qBHfEwu8dLupeJKVeH9eIkZnVfIbuY4WJxlo0m2e1Fte/mml/DEDdKKyjL8aO8ebIKQjoTbl5W963zFRCi1ajuSyXzhzjzB8AmTpQ5cPlZvOdKmBGSciEIaTAGndotzE7fC5OM3WZHGHG6/6POpq9oYHg7JBkK025/YZDRlQHA0r7yiEVAuUgt/H+/Wo5O6OLCKjM8yLZAFwyERgZ+fvU3qKJ3g5VVQ/fp3QkluGoVkV9IyVByEssg/JSikT01LDIquo5mwGsf36mDdOJkRPXcPNGkAZqInT24B3h7l9QTafKIAQ/kYdEBRQ25jDaNQAVAE4BkkHzRIIZf3U81I6mJwfF8BiyNyBGqE4OX3f7kcp97me+ePdrDwc/MzodHP5WHUzGapzcpNcJF1M9JT3dyxdSPEDIMOQexJ/WHIwFG6dQvbJoA9F4F5nIEcWX44Ql4URmSbUMDqQ6U/SzlEflm1y1WyCpgSKZt0CEWsQ2wf8v5LfESzZsdWJLq1ULS4WOfzKgwptAWLSQHbfCkqxv19nbJRXKU8iyLTW+Tj4lCjI+Ne4WWznOA61qjmOTe/iW7Gn0KyCPX8ssCFcWRLWPEuQjYrqSPKV/mMGZ9mftQx7/q8pAlFQqtTp+RPVXMqcktx+Wu7BRyc4E8AItOBwLgIRZM1Q/vCBLW2qyLHKagJW78yyxA0HMaeWTd5qX3AqntXc0uC93dbK3CgoAIeGzIr+VDH8P24RgIN4aRMXo2cvy1gW/yoEtZGf2eAgmSmbQhlS70hZvFUcHDRvmB/SYDsvQVu7n6faDWnVIhXYyUrWLqeDCtx6P8iQbX+PD6Hxyf844JBmIzD91qdL5DxgK0VPD4/m1njfVIZziiOkgaIu6h0iYmtBhIxWkkHKkgydP102EbeRklOQImq0FnUo/K5KbwL5UuX1rDHzlIO80CbmGnumrnY0VXHPUwzV+vIopMKbizXJ5/vyJrO4xsuSMEddPWFhK+Ye8xPkwMbfO/S+HeJpQZUstZSBiDz0NHiIJiIUpWw9VWhWUKJeZ5iN13+u8fuvKYnthtjY9ZEWfnyF3oAQu8Uk3DbCq5v9KO1O/kkUiMQclFCZqFmoGjurLv6xW8mkJCJnbuda6NwLsF5v8uVsaYfm+0nsB2zOIz0saVgxT0C+N0UuRxfHEFKZXsAOo6b+6xJ5qrdgBh24sjdXtnnJsyzN6c7/pot+D/a/+9g8AVQe2dBPbU5UbmKJ+eYXWE7roJyBxnB3swgHLIjjIbHIITXAVmFjvJBQd6t9xasc+0CmF++1q+YgfU0GZwJ1a/5L6Q5EmmHdCyjkCNCIDUzLdbhnJJT0QSnfFGulYmGu21kje/fIgYNjMZwdmDNN+N/9ak7PYzdajzBAoKstgvSiKwzfmQ0FbTSvy9YxxIctDfiWCmdUOt2VIod66D037H9iorzLPbYNJVeZea8TojyzPRDhr27jtrIsW8iJe8WPP2hhSwxy7ATUN09eZ78wQclNUPDNOevU91klsI759UfaFRqkHtz2hc+bSqcyUVrsTIsdCWHvrX/fnCwOQDthU1QPNNYlaSya6Bp15x7qnrFUptLfWnwHjlFwU0NGYyABiBzmnB0LDjtTGGxPOQtLYrFrAItPAFRBSgXh+JpXEn/EW6Z89r7+hMpLl0r63Kpo5WL/WwjF8gm0/NJabnKaQB+CMT/FcM+JexflYBZTqjvcHGJhuiFc0bBRt0/YDYn7vcKKbjoPmqpgrNiBBMzxiOkdRBoshKakkJCUEmFvbe4KZElcrAE3i1GeRvalo8D4Z6Otj7gJVoi4aWwmKqZEr7RUJKuQEEOo4bJb8tlONeV3BNboMOHad4cj3pKERi2dJb/tTejtQqjcZcX34Wurs4nohDnDCx+bKLTeDfBdr4jIYXOA4h1hDItWpU2caqiPYFXJmi0O4L5xpqhH0mJvP79cpknPwWgplBVe8p5uqkllZKydBonKupF6YxQxJcKqR5eaLcTTEhD8cziCX5JMBrCv9jYjKBXIR8qSwfHG3igRGxfpk9XC2P6pNHTq9ez7TW3t5K946pBTqMd5SF8FKyWQIaVnlczpg1Qcgi7MjFOyKV67mqtumYhmgywVtuDn9tu0Fx10RgAw5xcnwPO/64nxx9bfv+9Nu3KK+/KGB03uL0VRjsLXPZChSbrmc6b0DOChmOw769PNlMVi4+kMdUfeoKcrDYw8xSMh4nqhEy1dBJD16rF4AF1iKwEXOvdbNw0rj7+7dQdRhfN08Q+lDbgkkVrvmJBcYaxFXHWwfIEgfL/UNIMJ9MxJVxXytM1erYSD1CbkVbV7N+e/uxUc7ZAWBXpxQ8ziq4Yjl5p6eZwgSvxoAvX4S/Zx58ZqfkqOzTXbJ1joMMZPg2xhOc7OqkAMZ9cEl1+3AmHzpa4E+KPffjnl2P4qTHzpvC2opjmA1LMG3d2Nl4IlvoSSQDQ+lsaEOiB2NPK9w64MbVpky7wzEru2Nj9qdc6ja/7NyyLn9wLfXqi2gOCGeeos+5TdP5B8Qp+PQe3VXhUzNr3lnWvSuF/8piKBGwGgqmqN4gqpAeZlumCh6yhPTVuvQfz0hbOdWTvgcdjbAo3GZ4uq2nn8MRLua9A85/MEERuZWDD9nyuFH8436m24JfxcusKwHLKFkcVU/qdxH/v0KgjWvUvrG2epvHBZuZntziajziy50rp8yLWSakOpd/Nf2/O1w52v+64lk5EihJE+KQ+pweCsHMZCXY1LMmx3VF2mVOYEOFFoKYGMHRPlrcO4shfAgal6JUxVLoT8dw+xVmcxHd+PPrTYoeo96uBuvbX/fkz3rFXfd9MBVSmLjJ7UbaN3Z6zQDsV4ek8bm91EDICkrqQM7BWFnvH3sx8TIRqWQfKyrQNy/XCvstkduAGOEL92mhR9obK/1K5jO6q34QNeD04BHNVO4XxQbmBxhJsyTRPgNQaVQ/yIYdxiX29S+jL1niODSPtJ18ozBZ4sWFVxycQrRST0U2tFHOJyetS7BWA1CU/BYf8ldaYp0OmeIB1seM0xk0rFRpj4gUpTN/jIf+AbASgnSgdgCsOvNwUS4NRh34GRNAnCP46aR3lL4KgrLazNoBDdvXFBO6tUP1ry02FfPRNHLf+DE05TcifqZ/JN4t8JsyuljM/aYyieMb3yddBiRZccoydXK1QZrPQeWJT0/Ig00M7YuZicTtAw8yc2BxMGCLTywhia0zPMUcqy7UoNuXxVi9uCi+0X87iAkDgOtDvau0+ZZRyXREd8D9pVb+s+VCshl2xxZNN12w0W/3CTMZjVXJHoSw7Rg6SpWx+a5A741EjrxLaZ8AXL6f1Y908W61Tl8ipNcsIpJhZM5GE9mWgohODjgKsnRXpPKME7OQF59kUpPqmzSAFv2RrwNuhsFuN1KsYfZGE09EzNKGOtCrwDxC3/9yTTx7OVAhnisGL4Fd1fHxBWKQYyHYwyDizmbPiHgj5Kad0c3z/1I8SPLA/pKmr8SqW0dHtiCpR8u0lqKOs8u8PoB8slY+CNYl6YGHTJzhGRMOHYYSsDTtcXOiK3oWvs9usCrMC12lksQKKfl/WI7gOvH6guAMnOZNCueJBwpuTGSsXlUZSi3E+5iMApp7tgmMMvls+S7p9g3ken+cDCDdmJBUYbr3O5ptstBr1PPb4h/iMoMf+d43NKbOPd2IBVO9XjNB1zDVqeWK4Ez4aRCE2UD7sAkMbkZYCHN+aMmJiXf5k+PHC8MOhZtUEQI6Dca9CCT5Wf3cd3nvRL1HgQymAFBtuvtVaFFSI+k9ZF6fNm9kTYJ4ceHt+S+EKZucecXbMYqH9SuJn8/hF4Q4XafWa1/lKvU4gOPYDmFSS1Gqb10FggdQp7q8cpy7gYlQ+llhSryYuvbnaAXQmaJLeHvxgMEv73pJwAEEhfQJMblFv5/T6iEGfNYUNJbkZiH4fGkO85CK5ov745VN9DUSMnU3AHiykOQf5ClcntrbEmAPQ1vVqPJ78aMUUoURhx9pp2hu0nkPqdhGq8Rg3cfgRZxIb4BD5ejCnIBircKD6VbH1dOmzBrMy0CJXu86eVDepdYoLt12KSbCYw7q0OvS9wseOS5qMo/BeQcwHa140SEQzBtiuQBvTup6O9bukHXcyKe/mC64l5azWRAwaXRWY7xkQgh2hzMDUcFCUHjeY9krdhvJvYz1DJ2q+4kYsI4QTQWU9VJ+3kCKW1/lOXveocDtaezCT0typf3Lyvh7pLzEdf2yJftltAtHxkyxsjYI+akEW4Mct7lpFDgIoJC7aT2Aa4eX1N1WF6nEfPnLoKQuIdfaaQYVecQv52tbhaKkZ7XV69XI+ZqqGQs8y5H3Nf3H3WgUR6FuVaY3dSx/xeffQXA7vRJRRhUmHjcBZyVTGh0X0aoP/yrIkspxfaAi1UUHLONU+FWNAsGEe7IVtMSLrvCtqxG4j4FG82QIjBNKOCcpl4SEngQ4c7tDEjmPGmGjOIQbWJVpSjQ3vO667CFYDMjtWURA9plH3wRAZWnUs/0+QAXHL7bgjpV68dgisEhEKd9kkxFk5B+v2ba2RHuY1r6hNObXcnqPz41nmZbdbjBfZwexKGaqyarHTR+1d3nLrENEh2zc8pl9Ch+zUI6N0yg/t98PJMe2dL/QPLst/d9NAFTHupS5mJRmc4eTFHoftJpYASV8PdKHVyqMR/HFRUQhu0AtSxKoXQo5E58wGICqCLOHbLJB9J9xtFNiGDXF+d6ifhUq+VM1VTEnxL43OzLsl509ewdr1XVQxONrmEbKhQMGBWS4ISA+UhnEaQ8TSb3n69aEgZ4nLrrFYc3iXylANCLyTpKQY9xBJNwjYGbYbtMl2twvvgKLPTnW4/p7AGiazoDF3tPB9x47UjEmHCMbdakpDmpTHsA+/lSbDDYWBxV6CKur1MAcnaMrtbgY3Wq7XURh43QcjgoGNbm6QJwuadcLQkYvUBlM6t9nMgnmWKpVvZ5sfUnEmTNKC96COX0WBYvNdVMrjt4df2I1P+tjzRZqSRepg+0r6MyDN7Hpw+m3j+V7IIILvbY8en3LFKxV7XbGd+6AJJfPKUWMAzsyrqgCxPvWfT9Hc9vc4iNmAiCExL7HKUJSfNfZV/OEDar8bIbYAF+l93m6HXqRII2bnR0K7oiwrmrjccV9gpmsUu2Ln72MkGpaz25Ddijkk114StlVFmdmosvoS2cZWRZdVYumQyiP5z5PKqFEHrUEecVaRiCSXuS6VuPNKNJ1Iq8IhnYFxZho8zoTFczRUUHPvQsM7DgFUWdkEaM7llLs/vGdCNXmdw86phb57CHYra1R9BJH/JTx8gK9a3N4eajUHbBmkgTHpkfMLFtVgy1ia7PhLoSFaR/dQBpF25lFYuc3oYo+SFCsvKpup+4sqWJFvGz4fcz69BkvPPD1Sbp4HyC7ZdfB/WuNNSeSPPB0fkXqB2qxglnRWLFLaDiUyGD4qBukE+Hfl7r3vMEz/lVW1dzHKqBJVppJlohELMf831zOii/I6N9UGnY+SJK8BIATo18U1Nd+EGJk7ndHnA5YJnT/XwpV4QCAqB6mFO03ZVSmW0M4lYWAQRFlwofVhq+SEocewJirlLiydVLv1DSwsIJ8lRR3ni/+teJifbsjhLNrEGwx/Kg/Y0fHfeFo/rsQszaj9Onu553yc5VurcCobhAUM6YAO2hoRm8Ve9rJ4emeQyawhLPhJFcVz9YnJV2Njp1Jdtr2MHG4SYWashCbIQEQUNa8tASjHq+raDYZrDWQ/ZseeSI9GfAbdHvCmfeTh+M011Cig0Zcc0ca8e/liCXT1Q7M3h4QKd3qukP9klZ/rrCmPmvy8NG30tUMjAVghI0+XtTUrTpoYxoVPpTwARBd6Fr/1OhmtXRLqYrQ7mfcXB3JHH83O9H8RvW7eUHxFQ73Ir5XsJGKAHZMQs88rLc0e6uCrIWMtlZM8m7FcuuGy0zvggoR5p4qqVsPLF2vnnSofdVOpE2QuEaIShzwp5dOl8YA9IfM7sOu1/kgpYNiLCb6FFpX/h7pzdHKOO848IorLZEwL5e6Iv9fNWaI0m6JRc7HjpbsTkZbH19dsFBCm5LK+mcEfSRLugWPW6+dq3gN1LoGD/AIiLaJFRyqxglZ2ZeiYZd/hC7QoaR+k9hVYFhvs5FWJ+VJNnkA+SmJWbcNj92TA9U0DvzDWA+fz2hPdhyiASH1LQiUEI8sCrcj+Nkwj0ZlDXdLmHbe7zEwwLZm+AhqcUpmY1nyo0YiV/JZSXvj+baEUiD32JEwtvOshxG2gnSHDFzlrFP11h6cjKZqsRLSOtNA8a2umVe72K6GW5nHfGohI7esfn17vsXHuRVtROX6Ypb4rVc1fGXJQhn3OVREpSMQtO8FSQ5cM58WVukc6Mk22yRDjkxR6lTRDb2IPqBVEjBYr5bl+bkdA6oDDzt4yIOODSYIiKftapsy7XbIcEXWxc1r2EJws/RGNGqxrLCINOIJGMgsbuYA5yFKwKFM2l5eYZ7qZ7Kwltl8i4fkrOiEl7fJrF8iazLj6lcqkWxtjyn76Px8C7zgBxgAoUG5C7w13NpkprXyR+X2c2tsQPoHMmYFbtANMsmtOnFVgWPS0ruHw1+rIc2hsHD4TEEXG4+GkByIWJtzlYgyBCmKvLbvgGJnACYHSgTmt1inCO32Cg/uelm6zT5CyzOkpjshgBFH/mVKmZRHlzD/vC88/atk/IbEbTaJPSmbY/SZkZh6ZaxKXLWEUOJgaRiiaSzHsU1AA9D8bKzcQbHQZLTDARTRBdApLZHuBWQj21UlfDLVuZwaJPJNqG6e588f58KDMz9VZ7ZOtV0IINK3GWO6CFp4nSiadIoF1MBQD/6Lq6crFuv2r58iPcpPvCl/6mnzU2jPLOKzc3kYOdG+2MZQGw2adVLuJr8ig/dbhMIuV+ncwV3BCfUQLHc9EVgL/MRV663Dkn+F6868ZP4MlCLEzhuLzvv5G5QliMKSre5Ykn6yPW33KRQADBAgev1NLJmhA9ISu81tJbPDdw8ZrlszQkQYFhakcsrvAjk+ccgRAydWvRQybU23NgrmZytrQvqErq9hF8i42S+MvwbESE0/CSL7Ha+7SacZRMSzOozLS7iQRwnAuKCjIupYqzFOvY5CCUyWuxjmvMgJy439244ZkNXeHqTPIpMjwUnv2oNXsqO0PeRGNkt3xRwLQVWxyg4BPvUEf1g0ztyOqjT3tDVTmUPj2eIn+BwrbzYcixtJIZaYvKu8w+GgoqgRkPc82oDCoZxV7SDrwdb3YWn1F6v1gA812znmpSd14ryqzZsSf/fjTS8o875zTOoqX32zQRQvUli5GXV1VafoV2MsSNCxErqV1oT6aow/Yv9pZ73nqGlCN9IhTeJy4jHCzqJTA+B3URcwOgV3H8W3xVn4ZraDqDhwOXR/cir8g5UzqQcZ6xTLpqNYfI6qhdydKpYp72oqyVkUjoCmOuR0kN/iAnX1t2Lye8GtEAfNurPOG3OXcXIdV5NRxSpuIoEhodGi4lgsnfS7LXmvrJdz8w5uMfOg9K3cTNue4wAUcYdwI881FhbvnVFY3CRptm1Gy6BJl9A2V9CUn+WUjZsPR3NafJUrR0LAj/kSoUzfqEXq6rV2ewXnqlQ9qKysQOUAjxrz3faucnCUvm+0KaCGswTpfTchag9VeeVfaWIjs5kadKpJaPr1WoNTrS6HGbDsEWkAs8WUKONmsSHKRzKOJDX+tjUSK5GEgPAmv8NpykQp5oXtU/cjvamITuWpsFQpWLHFW5gdO+qUS4gcEFZ0yDmqlwzna48+iU0FJq8mTrJg16tIyK6FMUUiNgt5BABw/GdHwqf5qvUlxFFbRS1NSKRD0aMgnEV8q4PG25N1ryNOm2cGgGDHD1KFgYBiEEK3NJSke56KTkbkyLcJbbNkO8gb5v96Kt04IGoYKPuTN7M0Fu1B54L8PNaegRvCvF06Oxp/d2cmR/oEJSsyK4dCs5qpeUJQG3B1gtydpFe3/XjBwqDZpOziQQOkOZM1O7o1EP5ZTtX2esVRmaedWLD7PnERXwdOtfIUrXlZAuYrxKnr6UjQLno0pLOncUh50HJQ9gSqLEdAgY/+o2QPf1aIjv/GjS1JJ7ZP31FUvmEKvr/m1wbk/i1p2U65SLvTu/o85+UrDaJ1rktj/L/XQeYxPLsZgGMkfvxBDKqGFIFq7dl3CUcuA55vMP7d/ccdzXeXqFWwf9acoDilslJggYGfIWGgxR6FzeaLGZCjNOsE0mRaNT+yzcBkvrKz0jj3pCXedT/qvHOgHQikPiZ5T4eK9C1R+dn5AzWEnw3iAaZhskY37xtM7KyX9H+EzIxXQdb+pPrYqC9AVGRfqZvW5qiWdZSPtzPQOx/mEkIayMnGx0bvicCqLiwZN2jxmqPrVKfupbbJVYB7q5+31V5L4Zb/quTJ42XJKkALSnZ0b2bCG1sBn9oiq2++1wEdgBMQ6FDNMvfJypXXgtqdvJhPrFheI1qEIqd0uO3UQVlz56gLzqXpHtFs3tyDHW4aiCTfKeRvXGY/WyJfGGEPoHmnx0a4TZ/PhNiNJJXSSlR0MfKDQZMsMK8DidL3p0H9kc2yYJoiOdsijHrykrCUW9jAP04W5TzpJiwxcTu0a532tbTeVvVuJXpsEFkEI8Qzx216oladqmbc1h2wHv/Fb84gWTXIrVhjPECAuG9w9WmYxwWcNvW58w/bYi1KggomUeNeMVl3kt/3tgtE66k1GCx+NUW+I+5KM+1x1DfSLLlBsrk93gZKMSuECmrZJKeWDxAMxtyc+VQe+rPOloflhI/IbqaAKxD4fByqztXafyDv/rdhGxulYogxR4SJN4k3IPdWnAxCvYWdj3hDRyW3re3RteMtUU3gL3hp2zHq3sQhS6cSUC4geQe+YtXxua3YDyX3lZ0jMT4Abj1oUp+dpRbN/CCaPp0T6Lxs0UMS+A2zzHF2kCeG05MRVJRUvZCs6otxqicrfyjr/+EzltFHDTGT7cfaeoxCIylgCP7DC/6ReDY36jz6tnrBGt9oE4ycSBsK0hTO1PeVOR+UuvU+sdKFcksJyOaXOZ8HP8fdfE51RCFDcs3zTuvFQsNmMd8gKUu1Y4l3/4jxMOPQfRdzc9J2vR24IJAosY6T5Gr4kzXUVyJVsh24yW9+tPlrmrX0Ii62wtROBbj7Q7GnWhHRy+mHK9CO5GWXH4BziNHt/tKMnUCKzv8YCx3Kk5XnTmSbwnoNi6T3WpIhWLoCn+8seYxq8PbmGnK3ZtF3ecJ4VxCsnX+v/pUpAfw1ZrsbMui8VLoN/DexkzQdXBc1xR6Nrl+CfhduWxKutAhZUqXqFs84ZJVN8G5l8lR3fhHq5FlerZv5qIAH3oBL1Tj7L61SSo/N0JEJy/ViYipWNg1+EST0S4X1gOQgkyIxnv3Bks21qb7Nel24M+ti4JqlCbXUIZCWD5zjvHnUdfgfpWm73JNUWsjb+ompfpoSL5imfsp48/d9j5ZQt2Tqt40CTV1lVSK4eWbxpXE3D5RfCyL10cSagOalZfxL9PG5Uq513+VMYpSWRv4prpniBrhaijZCXnQy7atnDizKq86EEI/zQWmravBrLP2OCX4v/JVu5tym+qOpFqRUAZP3KNh9vrFfl67mLGCCu/vN5HEe6kJw0MW7JCjcPHanvmH8hZasbO24MACtXGmMaSUznIQnMfMCQBN0bIDfX+NqZ9Qsxj6WEEh93IIPAfHAF7D/LuMvJXnys8SjJ17a8ugbEq+YdEIYEP82o0z9MQOM3G0cnHy4zsyiYk3vcUDnv3x/ofvnx2bYwlD/XEKbRi83TCrNHNbzrqv0QascdWn+09OtJDn1NWlVu1z7kMnvVNYYoHFGd1zpbX78FQAB1q/kD/1Oc0/K76+OiPkb899PPDnUAZ/SJ2bZZQohKTL+Oohg+VxOpNEdeYlcmmwsbGLPl7KEa2DKRc5h6hOp0zYcsL7ivtSRh5qi0LykGmBgXZlAyiva2J/fwzyUM5WVMYDalR7kkfk3SgFRvkdSU/61cF8NCwqssvFQpceJ2G7Fy3IMKLACYBfcB6Uniop3F9/UInkCQjRZvNh3j51g7fxKbMAxUj9MMtbrAo4Dn4OqrYCT+/AlVKkvFnZoG4yuVMewhLSvoxul70KpXUCyjDjaNiLnCAozuVTmyWbnVAIxr5/7t7eNQnBvoJ/ICJhOtN3SlQQAvRzJ7vATeO2hxEp3QGoUjNz5ibXPEUMUxob3GRXylxnhiw9KI925lmI0TBRw7dWE+QkmY/Xt2qRSPNi9YI7yWcYEQQ7iCZMvBawrOD42MUMvBZ0gxv6aXBM0xgP4c2lQUHGtw8VhHSSt2vV8RtTRYzcQ2fWH8u+N0j0O0DIPGH9v0fw7JPVKXNHYYZuzvj29Vfx7hGeNZoZqgXFK5OxgkVx9QAqIl2h6rWrhzdPPRhgFOjZ1x+RzY81fxL28uGv6ekUN34XloFCugkK36oCevtCKIvpIGAPLH2CGJRKRdsJIdkbp/Yl+qjW9X7ZlY3JYG2kIWPQMQfdxJxYbbcEzbQguROpz42cYFC+8TP4xEOrJzMbRMYGYeB8mBxp++rDmgZwbcTSAjugFKqPgn47C+f/i7C/8C/iaLulDgEI7Ea3rwQZrut1EfMUVXxz1dQUXs1A9tVYve7kdRMjLJDIAnjJ427LxGBOTQ2e14H/kPGkPDc8C0GNFNNXsxD11EGNGl7Vx9iTqp2/r61jM0KGSlbFZ/z1LenQPBnWB7Cpum3RpKflDn3cKhUXwv7dq/O5zKiJJRK9MsjvC7oljf50wFAY4gj5y6JUt4x+Djq+gaPXEvAMxsEJIIHWCv/KUBn1R/xGJH0CElhle3ghQqVRjv7GGNX8Ft1PQAPdDm0y2VBu5D8QX/KU3APD1mqSn4ljsS37Es0XW/zbPugQFOlw86bKVDEyWI0QHgQi69qOLQjw0pAnVfKJ/FN8jXQJjKn3Th5QSrVdS3OypDLyE/I/FUQ7ps01VVUT46/S258g1TpiOHc3vUqnPa9WYg6oZ5NRPKiCSfWEox17By/1LWSEmUKjPDyXUMoCbPRujvyJ+1ASBquQGX4wsDGZBtu7jGGVFmqIdpsintKbBX+aNAHoozppfvw70EFS6Sb6vrS+ARkOIvrhEwnzth+Ki1KRPw3YrUKxh4YcxJUVGOvKGTph/ldpgz8GyjhLgP7lypE4CTNGHCQeQxOY04iOJLQ0xi+4d+Fs9cQtKAXizANHM6d4TWzTXCnL4Bxc8DCi2U9jCFbKkG5kqzsk5oElEhb4sl8GMbPx+lN1xxDFmuvxYfkySm1Iq8BmOsWvxJTqnp860ghNVDEg2kmtmTOZ35eSONDMKXLmi/R7YJ+6hVWMzta6dqRe2+vouHix5xop/avpViv9JzYTRlwyaNCSV6SJSUYJvQZReu7oCqOEbYrArof3IboH+1ipxkR44obY2NKW0zTMXpw5vmoFXsxz0lVlTp8hguXCWcedewXg/gAfXD5ndOuKKOUUM8F4VzZ38r02RorXqzMAdjc56Qwvb6jJMK+zB95bLwTyeGv2ySKpZAsXAQQu0UEpjV7Q6hQW8XQF5M+guz5XmTFYExOsxUVe8lkE5CY1FStmdK9+s4KWRa44ija5kAjvxPM+YpEKSD4/yqXtIgbxggWJuPTSWaBuXj9dGfjPp/MvSgmtMJo4ioinJfJxoz0bW0M14HfZziLRrcwnVdHh+sJAeeVQH0klAlWwFzK8v7aPmCdZ3MCVfN0CgH1Rp/6GXvKyi3s2omfawZBjDhJJiXr8y+3GT3FJskm5EVraLz9uT0HwDs+WkzYkfRWRzUoCXlTWryH1B1YvTI9hOnlD90DMJcdkE5op6q/N3EajunSTdazg/hBLj7bGo7hktFAWrSPHu+FZGkc0+pvgTiYabkZME6/2iqiU7Yk3/xwsvodjA6G/aLz09Urnz2WgJ7cFN9e0F2fAUuE1GvInR2S6c30wgJ6Pjqh6triklYs3uHhqnbWt0XgTlMEVHPRufIJM3ryciMZcv43N6iXEntWwxboh1LokpC05hhLctjNTHBB9vG2yx/s6p6isUfBK+GbxRnkZqadpmzp8GU5WSK50ZjFV15w6cgd98W3pZFrbaM3YgawCEoDul1jFgJlpe3FQYhKdebbWh8OTEByxLxlTRmOnxLxaR11Z0SDCe51Ph5X9dJtbN1e/s93RpIglfwWEbUGKmcolQXNXDkgomAKDSCTvKdEe5PScB5OZQHcl6tIUzIZCyQs7lAFmUIFhhVPAfbc8S5HFFjeAsLHEqW4c4rYHcUuDIVHUpESsLROwMMzWb5nU1+mCRqbr46YgU87vm0EwpNsF3FyIrNRRJa7pFFrAKdQNvdJ8lhf2JmJTetV/E3wrAjyquf1Rl/QSWg9dvwtL3JYbqlrzzS+TYn62Pmoz/UUop8CF/es2uM3zd6yiSXidlUS7W4r8WhUhyOR/xgL0g9PqGikGI1X7TgCpL5f0MAEk7p5+GSR8aUTKR65xQTD+xNZyqNTM3MjzRmBuCis+lnYhxTMmYh33qoLQV8VEtKsEXcHXoNOHfSEC2NZtqj2foBzRHyLp+sol7Bw3EiQxrKbNi934Tv9BQ3Tv8Cs+AzwMJBJkbuyUNJDYqf5fpgEq6F/gQmZOTbCtaBMpwEBSdHWWvVsa4vy9Cc48fRflFU+3pnQQzq2Zi3vOj+SC5CyefH/i/ZQcn2JPKTw09yfoM/PlatVYSNmReY2X6znn/uad/VdpN5wcKEFTTumM6HIlyRgGF19o3xf/Y0hpP8le3lbMqmjMFB4oJUqdQqCL4xArwyVj6ED/WXaPLrKz18TYF2KEB6YmM6xCGUyu9fVvQ5eAGFaKu52+2nity0TuCBdHg+QTb6ev1EcK5yRGKTHY5G7Ebm9LnvlsDeOQQoGX4yllKbC7P2+JuKLyFX+4HKGl8gugriPYlSFF6Fh44IfIKdFWr41BV6T8rUxMlytpCi0jHyi1YBqCKqikzE2F0Eojwlx67kTcYMWTJe7vuQvDxajRwSfgBqoQ72eVp0PeuayoLL0LQTMbYZyH+6p26neINusAs00NqhhoW+tTrZhcKeaXGJ9Ce+umogDCpkkV/2wQTx8PYtJu/s22SD3TcOMudZmAGRQA2EmAbLq8ImcUBuAPbLcw4Xg3dnseHn0gzxan8pjf7VvsIgbgoBP0VMPyXPTsIXJqJk3tcaNSufANcunP1CaD53BCZ2wW6uZH56NEaypEe+sX/MUj0Hiz0/0/P02DBpRVxJKxRjV9Jljd0d7orijAs1gXkCd96mfnOULh1M4+qjIAxfOgWICk3LG468mJSCuiiD4XJR6iH0P5KMSlg2U3D9I7gSE6fyft5Z61YMidHVfE/XuYJTW4lLaKhu7hRddxFt300riLdJbU4m9opi3lbBApVuzAubA9AooUcSWLbs25jVj08Ff7nsEmI0snkDQYsLf45eRy0vEj/vQAPmLZhuXuFhCE5D95s62n5ubNUtmwazRd7ZcIZKR5o/vtyOOMHZ4nGKAapstL8NEs9ILsAYBdV+FgD4hegb15xwx0NNEH2JlgnH0yK63w33PJG5p1pS/XFqTyQ756Pq1piuFq052HOtquSqGpBpmVd54pRObc1F28J7cnOh7U+HyEmzDZC2fl/h8QqZC4SkIX3cYeifgrH3z2IB6zirueOQsLCsLJ9vSi8u+DToXoy0PhtFJPGGdRIupNgitn8ggcVkfr7hQmcogi/dm/7qlSPDDSOk3XIy319cJcukXeKfQemKgnJvtStCFYXUx4ZcTVkL2RQBqnEXRE82GHPeu1OxyVw/27UDBXiXohrF9LFUuTuHCe/obY0Ihc5PrfmtYb55xGqIWlwutZrVuEv7Byo81EhWoTumMm6XN/Y9rZPVD2rUwceSdrBoRFGABPMOgOnlg8CI1rHmHmqtxCmAxb92Otq9zdzuiWXQQOwn4uo7ev1x+sfDWIK+bQux4gpzPN1vvvGgPQHNXxGGtQsbVErE3O4cti1rn03XmHAhjII4Xdh7YIECAN6SgAcgd7jsS62iexZv1K74hFDj78WMAsDx1PI1g5L5dbVAQFdB4+llv7Q2pJjsuecwGNns1+37Jm36ev9VxqexeL1Ma9zyhmW8M7VjJfU2xaGDUHmwtKTOKfB/ZmxYybliIwj6Ucpbc+LFlOZaGvgfEWjA6F5rZ3/hg=="/>
  <p:tag name="MEKKOXMLTAGS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r0lg9IPP9y8umrse/9AoLT5R0GKq+XM9pr/aTyOTf0wptcuHbHxeyqBm9svU01qeeEM1v0hpSHUgirOnAK/wukkRwkDcp+/igEYEdfT5g1hiCTa/4vblDh4TfRbgovM78rTILTQL0tFZUKffyzIT0PAvgszZF/RXENwUi3yLepH5WY0PybXn7gXKsk69/e2KUJ+hnzDSkuz3uU12pij9s7XZi6CKgcEKv3kQhtFrDVjpOhqNUlpSec3wbNVwdfiAgUzVYtXeffjxmUwZWBOMxzYjIxIQIP/RWIU+z4fdx3oOo3KBZGdlW9qXpcGkwnq4/28D0RsIZVF6+yKeIm+gBUBBQnYOGkfyL9377FL+lRWJLt/nXh5DkWgK0voAA8cYwwdCmfmsuPhfNZhbObyrv+mdaFDu9WJT2tdMNdVXrmMFTMr98KKucUmH1Q/WNsFa8KDmOHrEAyPOBggbR9RH7cNBCjllPDPiq7vK2yPhuKHyc0QKw0fcC1EuMriGdDwqxm0EV6LSr6/7K1QD52fu1VqS3c5MnMouhUjJYiGffKDWdfNpD9SymB9DtsQtYP3jWRqostK+5CiSTiRTVcSUFtNz9iynQ2kcCypKD5LhCWz+PPCHmBl8MkA/2U/P/+U6uOk2qAh28hZFqbUgJn9pPstsPqjnMBft2jlajectrJX52e/lgMeLMwmHCzLksoKfy5wopIS8fB25D2ngUICMjtk4OYVn8vz8qD4sBcJ33jMOsjKe/abfazyVYELhKJcSP4H7gYJr/LiO4ENHpSJTF5iOnC5R+gfl4J4Ss3vHHMXwhhA0+IQOqchYm729zfHkDMEXZz3h4JLBlz9cbWbt25tS9bITlsOM9aZEJjV/4OdBoc8CliVuDgaOtozlwIHyTdWJaOTpoEsbIbODSE4BlNmfvwf6OIHIGOgLXbRDDCsWcNB2+3qIGUWodte9xaqpaisLeFhXrdpED7gZPXA2m957qLxcZeCoYc3HgQ5vyGD79yuAqVZhiZuUAOrH0OXs8ykAbwQHlbLiivWXQgO335Hhn/JF3bCdsPC4MpZK+4b97XRNiOHYpGLJRKQo8dRKoM3p6VGXbxts7QGlIhVwL96XGIz0ra0jliZnj4dMRJQv5LpZNe6xSzsRL4P+4r/lV5L27RIqoNHmQyfqlzVixg8e8rXWEciOKkFl/J3mWUR/6dLizdtPLtTeCeBhhE1/V6aiMhG4m1TzUkkbJBN3M7zIBE5nAfkzeXejNMLjN9M1xpAV9FVypbyIPxWEL524ua3AlY5tLJCR2VyCgohQkhINvNTXrpcQq4K07tpo4yg200ZVZVYDvfOF8W7w53c9KhwrKcnGbioM1iQlY1Db5lEuef6jkdpj8jeK7La5VWE1wGnLWupo7qFAu0CU6nhUOt3zBqvA/C4WipvaoxVRi0zlbRJWaHvYPi2SFiS4zME+c+X1/fbonnBDC4uYjtWTeiq40DcA3EgdJkGxAl3ETCWKE0qrquq5UfcKVWntDS8mkkmCbSNrBMNko8rYPZarKsN0WM2nPK78DI4dxtLPHjpg6i+3VNLXAcEGc57Etzg2H1PnbCxjYLk5X3vUnRoSl5GGTAHY2LEy0OoF+LoRu0rTVRrrnk6MdyZMvSI61U0CFudAkyBzMlIm9pWtlbwKLU/9QJmZcSuTdkWYDpStt6Z34SfGGJa+HFStFEpiQm7Ud9giDar3D/D9fKsNf6dszE9almPaVDYmPErWll+glTt/158HrIKy5Pz3He6BTYTzdPsNL9KxCEMkM7C/2dpBxTxSF8IjqSEZfTf10B49h9U2j9suhjlRMDHxoTLEiW0P00wyjBtH2Mq4ZF3x+qmi5cH6TitHkj+fC/+rz7p/rYEXDdoVmeU04yFaap5uWzXB4nbVMRr7Q570ZIybDnv3Ez+B2wZ+C6xER/N+jXYEoYRZuYGApQaRp10KAWKPOO8txlhAbU+bmLPRQ+u93q3sRP02rreXWofYO/u5YrV9TJqT9AWJn8qYMH08Cj3hg2FT+2xFhGwQ55HjoQ/aLQUvxM4YjPZimZ4KbsJYndC4fwMt/Wl3BjoUiBj2IEEFHPwKPAUfZUdybGJVssZHvnuN9ted7onsJRNUA4zVGyz0AWo6/gEDKmx1m74+9IEOgryZ3RXuIiYOJ4dimbA5yGh+THA1p9GgGk7dzPhT95LBzY4nBvkZqs5npFlQGG9AyS/gdsRsa0gqwuqfJ7gQfjxN6DoTcwao/s5eGJrYfaq4Sxqxd6AOattNPip4pFk69egf/oAKfMK+2W69V7Tv/onoaJkpLzD5L+9dEVRSNhLzyyaax3hq+AitAngW91oiBzTkNfGLVoPzrWn/seu28UVSoANXQFrVMGfvgm/aca3y3rsevffZhd6R0ax0vQFKj/lQcu2dn4Zokk6b3cX85dVMAVwFseWRANom3VvF4Li8duqSDgOaTFs7AmVRkNl05M3OOawxfOAuwpMX4U70FNa31MsSiuK56SqN6fvW1aNY830Q/WEanmeZZzRgmxMRx/xfzVQVyPmf6EUkpRa030CVDNGtEh3E75NZlzFu+YvZR3SIpsVqWQ/fU34HEC7ciHi4A/XYxX3iVohFbb2F0GycRlgK7rHqGRrkUPBnwuLPJSq51oMVSy4kKEPgijBdqGWct3izG515y9x3iOAn1S2wdf4v+Bkeq1l5BCMMSoLRm2JqEBCq/Pc5UHP325SKY5iwnvJruixsODAh4hOm1TDJjXUS2hHQwJHltJNRGy7Exc8pAhtafw8EOQW6mlVjwI7PLGx1VaEU5kQvVWN+IeOy9YZVcNMXUNvti47HyUWVnMff8QKFyV4/NBlqCJmHKz80LjZil3XZ0d4ZNLCMMWfa+WQu+1SmxFGO5nRtLzKf/RvIqazGs4R9wTYjD7ZuN+Fgp/uySdkIrItqCP9Y927cHQUo+sG6DkOCtTS5s/73oWafAdQ48T6LhVQHS6NV8FOumFfO4gUeRNcdAjKFxP0SnlQQ/tgyFYzX1Bo/X6jV3IyWfzpbXlinP3oO4kbkHEA2qGDPqphY4jbzCF220rGXjZZwoXvqyXWCDTadkOyE2s3i3nZh/1FgS/BYpu3MLTyv+DoXahZHnemO656zV5u1goe8Fvz9K200Dqw7YE4YQz6Wx2v2SgpsERoLB9QVzro2Gbf4KiMXjbKbhAS86fTYoGx372DxAzwqd95YIv3wM/twg2H7vY12244MW+lDw2SXxArxYFe5Au2YknXhyqN6xY/sE/H+AYh4pk6QC27hc+CkZ24T37ofYePQMr6QCK/XjGgJ6Evcbe4GgnJb17SBqaxuX+LqQAznqrD4pNuFfcAL5HCLtvWSDMg/Rh+fGcZmoV2JE17UdTlifXvVUlqwwgiuYgnps9fUNPeY8hq19Mks1dJCSAjTlTg36XRhXPJDfccZdSqdTbJg4jPpxoAAn6G7/d/hFyjPde+2FZOosbVReTQDc7eZ43Jag+dEtJIhKw10dRFk5v/bUhyn3e7oabQfGakCgT7F0FpEljyVhNFb2FcOuTzDJR91qv53PVN9/BHIHrs2ywjYUB90T9J7yEAQ9qaBw/JO98ZKUkGniA27uWGMw0lesz4RyNVzgLBJEatRONdIMqEVLw9BK67Lci8wYceGgTipN2kpD/ZbI0NZyu5Y7vlHLixvssjjVmildGRdCIepUnth0ZMZgcdhgkOr0Np9ljzW0kuaOF1Qglg6T0DAo1/c5wFB+jLM9eMG9UkIDHjhXu2LSPvrLMZkpnz3bxAf9F9LMWv78+vQqpHYMdum5RvPr7oA6cy77KYb/tFrD+jYwt5eSHm5OMouO607vU/+t7q2LfeDnEGEeFVjzE/uiaJ/DiEs/MMZ2S72OPed2q1+WxzxATK4fn5DEdQn5iP4wvLYgO+LdCJHko7zpKjumsa8aQGdsI0gyIHqCK6q1YpGUqAIrTPoVYBLLgxXTMLVrtqvo/hL0gAU+oq9LdOqC3UhdoXKb/85XHWaktCWwD9WE9TzF+TeJn4U8HeYd/2E1B0nq/f764TvXoKS0s1/yuaKsXmpJymao8K6qE/CSMxGZ0N2l1IhjucjuhrgotOT6cTl6lyWsblVWETpCUuUmpo16RwARUnlMJCPfdvHgkB8CbJIweCLVoomfQdvZ2WEbbHtq+MWM2TjZH4KzyMhfH4PuJj8Yp70gRBPSHDJqOZCidP9NVcif+6gvs32CwaB/tc5SZRNz7xqdwNAS10UpWJ02xJLAGKS0G+3Z/VdcDXk4L1Aey4nLr97/9FgcRUKW35rAcUiEqqJ0jPZIuxOkuvcvbVmhcHUfk9GNzHQxzhsVe4M697tkoUFYfM3/EE8aWQ7aW3tdyz6tHmp1KRtGYMGilVLV89zS/3s6YQAYr1XR5jtN/R8FkJJ8FShuqAaZe40bazyanTrKxPMV6mliZUrXZMvbwF5TnB129cypd42wBQtrYf3fA+BYZ3IR96YJZBBSsEQ+ptCUc4oBV5jzFbg+xZalUAgfvNa64uUoKBj5r3cvxg0DX0cqqQnwUUZl11BcRLVC6Y24VSXHocdnHUojXs1/Y7v1aVPAGxowu+07NvUbmZxvRNlJKO76PSJOkdqsq6u72bSVZOJWX00D3ijHQF3AtXPoDgmWtE0vY1Ov8/o7V1bbnECa0+GiUjUudq/m0DL4dwOt4oMKGm1mfXjnVCMWFOD6u1sBIa03RqsyYLD2mnooSOSIEo2svdwXqPy/308BpvOWRe595lpobzKY0erkOP6Hvm2HlunISd8z4y9mrMHC4cfOLuuiE8a5q1Ihe3q3Td0CMu3Fq575heSXyH7e1Fv68Ti/Smf6nT+Q5O7cAI8LVjaXgRpX30YhOKU7XTYOm9zsLDWinIz48XZHpFfF8zTRZRZ+9lkhv+qp+1Z/MSGjK3dscdKWVHPPL8cb0KsJC2XCkqnV0e6OyDT/YMoZbWtb885w21cNpDM3ScxsNIQlar75bUONgucu/vU7W+vks2f4YgMXarQintHQ1XavVJl41CNtzGWd/ekuktnwGGMA4EcP0ZB4k7xGwcTC4spi90fIgnAWZmvplPdTJ09sjS+Gt0m4EIau1TqWlRZaqtfyVB4v5MXdPJEJE5VCh3F14InvpmV/UnoUypzMWmRpWRiUSwgx001o+jPaVkunaA1zLp1285qEeG4w6rYxgbEiJqYauNuFCoELv7dsOYz5ehIDaBptY2kMeJurCfQWHUR2wLq/GE6o3lqtq/ft0UFzsWixGzsb3eEUBRkWuWaKRgSIBYWI02bbbMeERv3hyrFXNut7wGtcwkovVKWzqgCgYuD/UpQK0EjZNVP7scR+3hAWltpL06GpSuMXzhVJIxq3IVxDkhyHgeqiHs5o2TRgnxtV6rt/6mo8P9Gu1yP5gWOdzWdwVZwap5nSkFft5BChLPY+nAjvk7KlzxiKMxD8lwKt/ob2YumGyOjYlFlyEtt3NVB+LPsUEd+pLFQrypTYL7Kmou+7nsL6U2hgS1rNp9tdeIJWcZmQk699JT2hFsYFNCzu2MyppIp5BrMptacGL7dqwwGxUg2XTOiEPQCNi39qdzLTa8MI6geyjmy1eopq8QA0TdPAlcOcvdfEPetSjOPmp7oAj5TXSrNRa5pE7QcY0QsBjNIoBH6b+mNC2ajYlcJUTT/ZJrDzillxI8jDXK0lXWlVinsLQ4+BjLlvujoVhLn7VR8F3V/kfCU6K093bwsP1r703Jl6h+RKTnrP+gUBcGe8ZB3b2imWDeV3WgAWQLL5R4tvuEOvp5g7FmnQVRSQuCdQZS6M+5wfQLBugu0wCenRZozFglqFiF0n4RhgJ+EDKQQQ0rnkWGl9nDihfOOiUIk6I9+SSTlNmdM0DQcVKUqlGTbB9S4Zf0dj5xXeoI0xitUOjWaU+JpEW5xbkNqFPmamW8e3u4ySVxcICFyhPKRxFIYC/nxE6i+fdfEO4dEwg00H7Fv3V6I9trGw5ulaUJ+VcswdkkLv95rrb3buE632PSzjsPftb9F51d+BgK6yL9UOtum1oMf2Ujyn//vvEX63gen/vbeD+chOQgkXvwXKNQfiF5mBBZV0QNnUdhdU8CoPcfUfubRMFyYmejFr1Ayt+Rzl6kLx9l9X6FvsHBHxe+Mwy0ewiu0LPzzul2JwliZ+8Z4mwF3Vm+9HWd3zmarEWk+TMk6OlbEg1jiEL7kKFrHDSvIDec/EcDKjjK4S4E7QHFqWl+OoAnQItxeIRWqSipElIn74n5d/hPpiy+DZhHIPqDkcUwzjPwKU01MWbOclIkQbav3GJ1JEidVoYwPgzJyGdLhZlYkN52iB/FOFWRGwGErSU/8XEe3qnfDNg62o86RaJMdDQcgzeUqSosyMrypFZjTg7Ec2QnuS8Z9+SPhEX1hhVr7sBg4IVpnYXqV1+J8ZUfKxKNwUAnON5dUQo+8/ASa6ofuwGSR+hx9pcvvWBLd1Z45VZvs6vI5/XYXbYR8Ek0FvfQo9bmvCEmbfNnxKYs6RG9Fhg9fz214sgraTF9R94F7aF5icxspRejdisLabMRsnWZ+Q2Za5RteGrcTuF259SCKOMsApgHV9xCjLEUA9NcIHJ5ESo/u/zmKmhRm79+6Tc30xpWsqV52ICujW2FL9oWL7OCWg+mV3ZMAcmF/leCb2Vq3q3Q7T/oRR2okaSiWgs7Ucxx66xuTjKkXTjIp3e1zo6GN91+n9+/KRZ5BH+Mt8NABTgWirf+wLbW/OMTqjkXpTShX+nuoag84fhxwhx+l5sOMpJ49DW/g3jxH8H/7fLH+86iwVc2pLt9MMhTL4i39DJYexJS2LlbXNmnrKO4zhKoNzKAAbMgLWHCnXYLVz8k2FxkYV+OX5T1F3v5cb8tgxt+cQVOmxM9rT/TAKwsUlg0vgWEkclcuqBkr6wU40fR40JUshewQexfDpTgGpV8hZalZ7oMAx8N2/zaetRotixUbbmB1SVxLoLr/y5f1OrbPEkYQ0skRVm9fLex+jZqyxIbP6zK5yk0ZNLk8K2FEY4uKu4l5BwuQYRDDFBpQYJZ4cGWhUaTNcWl0f8uMvVXYZ+Vio95mPveer3R9CifGyw6s6d74s9c4VWOJK4LRVHf6lU8v/J3IBx5zX5Z0ybwSOpiFQo6+Z1OFiI0XYD1WDvrwgBKyI2KeFrTRxnmRZeuuPHE1fer3EEM9kfMiw9di1sVtUTBjFzrZCijvoT7p2nDVsgmt2LdO5r2FXsA6R8ksw8H7TcexvZ0AQFDo9R23UiCsXzzYKHdHsV2Lh6ItX4SQPeA5OEVSCs/x7wjcHosWKZhajeBy1reB9EUCZhGQetp8hkoR0vAhjaPO612rPltsicPgC69TB/E1qvGgS/uBKpe4wBUbWz5wVhKYHO6vt23Mh64PEqr6ij1L38E2oxKGAARXEIhQLmK/zPwFVVWYKfHbxC+UNFRSt7HbD4t3V1I8akvkySkb/v7MScHKPpm+thhmLKjRXLHCo9WdNUnm7v9jDujELTtBdaZtenPIMfRUEA399/0P/YBwuGFCl9cpq+hBKYH12YT1ltkr7DTV2JZkiBYRuan5NW9UPzhdJC2waiAiWevNc2iux1h2Mpbm2ukR+gmMu1EAlPKvvPkNqfhIuYDpNOqewdgA8uCDOiw/nDc7lf3PK+APAZKRth0qvFckQPN2AVNXK9SJWfNa5UmGK6J3HKaSbl5MzPiy5yxXCZYnrBoauA0zWQ8GhfQIi/jW0qO2/dc8v3YLQBDTjFfaPyvF6zO5hNe0DbBkO9akKXLr4VB7XV45kfdwXowHnMNfBVB9jjw1gtINvekLdwR344au45ZSsbc0CimNAUQjgsOkvfk33VidSE57H0+grajwSAI1enSbO4SEUiFZhjsSYmKFqAHPUy2k1uEceKibOTLOZtsqt7nVl2L6vKO4v5ZgjP+aku3GtLu6g05HgJwW08xHBkyVck1jbJQV4Ypp66S6UClwnTzMox0iChlQX5loef3Jps3SKav9lFo/OlTEJif23AAfn7AVEUDjvnSUI37a6m+ItWdgV3Ckf2GCbbmjBt/5MF1lAFS3xxQmfL1QXIP9SMEcTgLeLGXBrOpVGLCZyLAEIvvatUbb1jM46c8VcAalpihnTuLh7cFphYlZ8S/xd4JsG5mHlHuMrgiN8HS0Z2cptbxa2146Dgqb7xM8MRZcUDVRSqRzkrnjnmbutTA5nW5YXCFJXOhYGiVsD+CZs7rc69HuOfcQFc2d5zrKUDPQluvTLeTHxftequrm8BiXO5aG/TBOdUAnruyt9Go4SbCeXwb8FsR1EkCgJN5p1ZcmymkLDk9rlBhK4H5sCaoJnxJOzKIdzARbAygsA2OH5f8tD7ueXXbh2pIaYM+hNm+ZA/dvSjYZ2snb3s/TMPOM+UiJHeu2WXiOYOIrNv3D8gFNww3NFqYx4ovXVQbFGrOx5BJsdDdd2DMVsh5MYr0wGuvpaNGx3QVpeAoCBEPV5Gd94oVKWMvXyZ1pqtEzO72SCyDwvImcmxli/txjSeBsdL2DscBpglH77JBlf5y6fmFJBlCybc8u0+rNwgYl7UL/lKNmkC18uWzxHbocn2nqSAZLDZVBDS0XmxS3OROC4ENCjSvFtDkTrkmewVU/vyKKwe6sfhN4sWtR5iU9swSZxoaELTPqvpSLbrXu+A1kEMB4rTwfNZZ23HjOnmymPH/i/oWQX46FTgXCm6O1PTJsP76B5/+IK8VEuz6QzphMN+X82OjcutZS3G3cNmm6XCWfcvceSHdUFTyIsF975EjSDQUczGcvwLqxwVMm2XyqhZJPIj/vCtC7IS9mbEu2xKF4glff5PfLAh+ga36azQ6qn8CZBCJwy0sKu6ZsRf9Jvoh8+zbXQ8QrNj5255yel0cWtN8BNpmj2ZO+m+F+IsRekl4kaxQ2/mQvdboXKs0Tm0efKslWn8uAW4WgZUspjJ5lwEpF63z6qfU+ver7RZ6tPEfbSvzvu2hbwnPq53OG+3cpgYlDb05AOGMI2mYnKZqIexJepg/RpzgELKBftD9kO5u/99kgbMTD2a+OnaSa7hqLW5HZmFI/h3FmCr+UO7gb+fNy40NxhQld6fWxKcjoPsQD+dk5bIWZC0AAbLQ1HOhMJa6jvsZQoHCswEYw0mBXAUGkIHHd/Q3GjksM1uv9iLS7fe/KoVoVf3SmNQqg5KcGnllvvJa10wGDKiIpWXssUYo50des12VENlWFJ92z4raY6vh8HFlztHYF5HRGXIgZkV/Z/pPgLY+p+b8TVX9fDwsGRhoSpbzzbD+OfSzonLizzv+MXr5RCbtANCBPzdR2JY3VtxKjZs9I/YBRIv3qgwzcbeitzXdTrl9Tww1EXwcU3nhWGxfqRhRGiKHS7aP6MRPBFzimqVCDbXCbrLBbgwWltiPuJI5a8vdVgjEoR0NpVib4sqYeAx9pGSDnVFX7iBdCJR7dmrQYQ1kwzfIH0QdYgdfFXnLjom8GwK/H4b4RAvVtcXaujymCuadaS1kYOkjBzuswncKKVfD6LvA558QkTgQcZvAiaa5b6LepQY01VIvF4HAitwfTu7LhqnJNWpUvYxNYwz6Z2JDexV3iTAB5Jqno8EpFy5gEM+7tFQ1daLtf2bmB7++eJh+oCGD9I78qNV1ApcAw+HgSl6Ngtnu3zuUh26hEVxxhf7feVgn+aUTD6prn0eQaqHenp7eedVwDH/+WRcECb9R7ch4jd2K+Icar6zBFFu51sl85uu7r9FJrTkzoIkLGXZMhej0QoFQPJ/tzQ9GhYaASVCuxY7/YwGtp6jozTtlCxxiMjLS1fkBlHL26xIaYUwqaizTwCEcCoeI77SOvoRSSVTxuAoRIsI0Y1RVc1B4tcReXJvb6FhIOUl1exuyw2cgah/WGdsKxCXsj5Pn6ItvtOEd/wgBVSPwaQmsq/6M6f/DuDUSidW9E48uyvEmlLkwupuXRjouOBj5wWPF/bjWV9q1tBT1L68Aw8proWo9LjoBY6tRo0Msdew5a1bjKZOOb0/lk3fXqLJE80Oisw5F1d9HorGvMcqe+8bGpU3QirwDpx0JSpLZ9pVXtDwwhwqBV+7MO7bIS8rVDWlpJEhSDA6Kn2oCDVz1rsQ6xXPUEF7OE3tOXqSwvXn59Zer5gh6yZFdz0z6xKJFAF5jV7CJ5dUQlC//CHQsaimCNK5T4RTwllVTYUTMXZywnQNCQPIT2yYvIRIqfUZQ2mM6wIIs6oWReiujKLzzo5hEjn03LgK9t+CEQpYYt78XkYVw6YiLLvrok10y1tGJLQl5QGeXTAQZV7Fgk6DmtasIlLkguZirbN/J9pLzENrn1lRldJHcI/1RbtU2KYGEGfUjn687jR1KJd/M2i9f9x7sthPO4BTtDbwn2+jS+JfyvF7Fjt4en8TCentp5zNyYHpdbZb9huu9/UYsOWhWDVUcwHRoirOANC3NdkgNIvvSkHeX91l+Ea+7d+jnc9KF1Om2VL35scu2SPAWFFhcvm4Hw/NzjZRG4/dP9o/aXwwoJBYeomqzCGK5wiMNWftSkp9rKQ7jPVjj+anIUeevCfq4r+iN/OE1mzSgWJAGuFju6tp8lGV75go+RkEoi2xBow0v27ryIQDDCU8ouYeFjqFkmV2+mHAYAL05w8Gb5TtDS9UaKeoiAQsmV/6iMhU3p8CMAnps03ZiHj8y04bPdy1PaRKJoRDWwu7cDNU14swXIGi6D5ABtX6lF2BF5lQAvlQEs1okpzFcca33waE6warSqEbSSjIao9o7ZJXatjNMQq2JylWiX1Hu6ZXOAbReuBKT5jRd/0FLTV3S3nMk4v4qilDk6FpkYwQJbwUezMhB5FkjhqQVFPPs6e6Q8OjvUwzezn95mxiatXpc1QopZiP7eV9Sh4jtccSaqbOuZ1Ix/yNr6QbYG8hONFyooXw3vldZwnkA85ezy5pOI89mJLW4ggxw9z1QaMwaGiEGS00SGWUiFm4nKMsjm0Wlg/7Rsxf1untA6wvh0EhD8B2mRIRxy56gkyMJXzy8v01F2eg73M1aqjBrJyKFeNM0rPwy8YB0U3bOfx8UMPGUxLYz5LuW6WEtd9dGnSkp1zF+f1MrULMfBbeemrmDnC5fuyySf5EmLosWwCVKJwlanXQ2FY2yeaiMJQ9I8b0OxVAvlMPzEQ4uHXI3cDBGtMu2urgs88hLqcFNzuuojHKNnBat4hDet+VcclWIzDH6S1EGJL/pNUngXB+qZkw8eSWSE1Q7L5Iac52O/+VRbFXpw7YrbypQ39pF6kNF8+zoXLLG9I3KnTSt5CjSnsJ2l9tqoJtc0lQzRRnic3ZgNAvRb/3+37u0RLLrLxUUPXscOW2i7weXBlC5GQmR9sOuEBVos3Y8ZS+t197ffmxPaXlFlxcJIS4gfr4vEltjgqpgrptkVZFd5mv3PZDxUs3nJZB0aNqpuZnGSwRydysrS9RS7T+lu+cJLVfauzu5i8P2aK+1suWCJJC+gMz1PHlxxoEktkrSjMlH9Yx4+qM+DC4WOZySZ7CUJNlZ3KZ6WyFG+fzfvZ/+dwQU0jZpTz8Ebhb4eH3P2e0qUJXmzvPT3MsYWZee2nm5XdMa7yLuBxBDzDYCwPy1YgO4tcTBCc+33tG/zTlG0AOqr/TxXPcJbZKARdbjADA0PkvT7gnHyiFieNeyX335sFzDaEURRNrpU049CMHEHKmiDB+fkzr/qFkpoZFRoKMyER1C7sI1xtVECnJitW3l8OR+harODbIncS9lVMuH4WiUChqO+cl81rPXVvNU9qbPardHEQSN44D3MO+PvF7bhQHuYjzF2kkRpxVGWxOdzttwV+rLb+MJ5aD1MWnAUdkHosHGjZPMmfFl2MQ7GJDHm7afV+xHFYaXEWYnvGKcIBC9i0jsy/Gc6n2pukH/GJ4fJHxzFenHbn0exJ9Ax203Srd+EvMEzJq+t2oXTZQgKCMjPlozRHnJRPL5vSqB+2EAYQyh90r4Y19hEFMYyNvkVHsjmigI3a/SdZ+ADJh7kU4cRdr+VfPALVd5j4SA7DF+vlEtEJxFNz9E5nnxx88VnVdrV2mCMgQttQXQml3f7U7x1WD5KnlDiY21ztP0Q7CIo751/S7p8fgFaidu//fXYaETrIJPI4zeKw4CKr9Rnep/FZ8ziS55rzIt3IIixK8b8V+weD5DUFOCXnHqQn8VFKjElt4d9FnbRsUSmVvTAvInZ10qyiJU3V3pmWOFJ2vrU/Q9GIaZ5/cBFwXJHByQlWdyT7RbhVI2aXJ8TwTrpGYeEeAoHNUIYUAZYQV7J3Pm+W/C0BgDlPlk67lDu4+8VCkrPtZ1795SAuxIoQNovGFbDrTQ9oFppfyezas4/okuF+/axBG7RuS0jjhA0uA7dUJv9W0phkl/EfBbDbAWKVUMKCbzW4AyHL+Z4CWGbtt2rLCE8I5ep1w/ttdbAJ7D5hO51DfcV7FHsHxacz5QSqqDhJ4B4YuTTdnxkvIDKmzOlAybfu88ru0S06Wf32UZyeDmcM0vagaPwprVi5Qgl1USmzupLNGUrwpQC9fcP9T+N6+CVaNX/wE/T31yr1SuOEVClGI/v9V/nzwp3SnntsXDsZNAQlNabcCn/KYZvK5w8GHlqdxyB/8orhvI+IZhFyOIrTPNsWCi9KcTfg3fWtSsl+FGG+b47rmcV/vNgZn6HHCqayjtF0Ly8C305NVQ/GKkkCbbR+UUUjObTqy2W+zM/KTeMXVOVQ2Y9utbjMRGYyXC2ysLT804+maBw5XXuT/sRFzANJNy73kDm/cOFuO5n1phNtIV8DvDbNPHiPZ+gyL7PBziVQnf+TxPaXU1GGKhvuYxgQoSSE35om5fwmetvbuxo1U3SNuWd3PSksGJ4FrU/Hw+pdAASqKdmKXhVdS9JJZtbHojoJroUrjiFaoI30hZSAshY3NkHlUo1preKPedF3eE+dgJPIdTL+gET0wzSoQpmFZMJgf0SO97h7Pp74NymfyBBXw/bps9x8muPpQ6iUtzXw/IRhMzzisd9H4ymk6cUC3W56yci6+n6nBTAASfO0UqN9DzdzF6AEay1CQhn4ZuSlOQaXt6p7kwiIzyfBYmxuNDPB9kcD07D/DXH/Ddeug4+89gIPTJyAHIKS0ZTXcbEmtQNXkuTD5WEURkY3rwC0JnHqnHMUSNEHc6Q5uPD1DjoLK+3mmGXtqszHGGGMOhRFt4vDoA5Wi7KIRSYExRkVvg2w0c/tVU8iZ5Qk2F8Kci0UjR8Qz9bmHOb65e3sOhEG00BQINTsy2KfjQe32IemNbpIhEdnaZLzj6H0g2CKTTT37SPquJldip98X89S6LEMjwGLWyBLGWNUExkAxL2/5M9YX0wGNbDnMd031I5h5VhjQlAe+aS3uYc+mz0qfahUVo9mRiw198jQ/LGh89/U5PkTyemhXtxZmYWUzLKngEMB4rGDwQcYOUd2dj9C3p8c3TtE5Duc3TQwlOHDeWleH1N6qbEKJoHtwTlv7zpw+Gq3QOsLBuJ2jvjnI/iZUI/1qk2Ty5zOrxiygluzmejzB1wPMVNxxdgn66XayLu7QePhORoWVnNwl840geHgwlz5rn8Cr+1A4ESg85Asy2z5POmI9QFuCaJdcd00yiHyatqboIA6ZU7BZclmjhh6ud+QQdlvOuSR8L//Pp+VaGQwJnGwOzJ3IwA5+xFabeMii4bKPtUO2b9UgkhVAdc0LEMi3+oSKXxNgxkOJMuR8Br5Hj5yAHVPLp/QHIyOtu6JphwW4PbqWZdPXcBkabMp3npHNqnr5pTwjuIb68RVs+4OXDLQbFnH2OoiWm3C0LUczMxR/rDsMMaMR5JJ3JVWOE8+u4wTY7bPI3wNxCQju1XHcnUT8I1YwuondNR388JMMpobk0nac/v/J6DaI7d86pLqEQZm7AJBhF5dEY2L8epy6pPZ4qb8FKy73Azxe7IVNnm0b6Ic0X/WJa53ZtTIqXpZr4GCBmmtr7EsZzfrns+DSsAOimFLEhIP+B1plkvzgVkHipbQEprtZ9oaqtRmhiCOmyyDnC2BY1MBPGDgg7z9TTOfUCcCXZSkg3Vz14WdNo3n/uotuJxA6hMp6VBfuHIfJtBrdsaXbyiA8M5kCg3QwLU3ObobrvEO73l4RnCsgVdSW4fdPIWPcLXbxgTY9T6c1MAdGQzucDph5oy2Ns3L9GwAI5a4X/50lKLE+eWJHizreezLYegZYh0D3ReaiFRMiQY73zCjxxSAt00H7GpBLLc1SxBw3Y//j/PXmFPT1i6hzKpidteVnuqFO5grRhL5tpj8lEG4xA5EIJjzbE5D/jrAsPt17g5sLDsW0qMOp4N1rBQQZsiMCOVwjnZRFIZBWcDTrmA9dveZONK+JeEmq+itSKOXh3QFWZZbdwAboUxr0AmeT/KG5Kiul5iO4v4uMn/RAzuO9Pv3LkIZ9t9utYkiRVXPC32LhgcgqoHXVXMim2LbuP3dQrfMR7zZygqQJch1gutWG9vmyk5Jj4QJzdIO4cvRbGgzB2uRtwcS7+vHXpvWJukCxHKE1WvNHlMHhmichPmcEieMNlDhVh5lHBYLZIfnOFhvxY/BrkNl5Ev7yEx84i1Xq8DeNdcsER5Hxn1+GI9lLT3gSeP/rwtWOShG/hNg9VNqAAv9HkocC17w8rXjJOE1C6JN7X+dbvbwSOT345FAbxxBok9vSJhPmgqkZKVOq4HjwD9JJtWL9YfLGnTIrQBNhy0Ui7ZjwE9lJPauxawzT3VaL5RqMKk5BvBDxmSa9saG59kAmB9dRvJAou+dNjYqU4sfWDSqakSX/aSJB9gc9tVSLz98f6rY1Ug68e+11MnHu7d1Xeb6uGba9I5iU1H/OauF0trGZNVJannMpR8sqmxD0rKSxOWYVRfpjcsbtu8ACJG74Iv4IXd2Y3DBbCxb2/0E0d0SrZh1FOukcllZqTS5f9M02F8K6Dg0K70Ix2dk6pqVDoV6mKdtGMlDaLhE0EAeTfubwh9s6d6MVhiC5fPOb0fOnbxLraFOelj5NnlOn9GolMM87rBp6vHN5awDtngmhYK3XfacS7xd0pwLit0Ac4DqdWdDZlBEnfgK5A3clk/ND6Zbi3UUaPDGKFFfzWmyQOFg4uF6euKy9CJU2lC+lHkj8TiXFzvr4mSzH0OnFBEluhFFkofLX+0zvS3yZ/LOUa5R97AqyhNBD8OC9x1M0vvYR5pYEiMoHo5kuEG68RlxkoNESnBEi6hnU86PIb4bjx665tzjAgrhSE05AEyXVNBwT1UURehVKJpBekTANMDuPwtpUX6V8y1lsBVjKWdVWGVcnXZJWVRD/DQBukExmMIly08jw1qGW+lXh3VwH8DNAKbQSC/CjuWaAMogCF9AhqlUmSnqiyRYAHhZHNHcZUNw0VY2ZRXYRhuGLDZ1bEtSBCr3b6g+YCWuX3Idb9WfR6NhTOo6F4SBtuyE61zk1zGDtjgXLAxcw1mdOcEr3i6004hR2VupSI++ptnFOHSJNK+IjpixM33BKOdfwPLRnvrRmghYby56ZnbWg1p4Iu57+g4Z867JLv7ybxtIraz+d4BMO7WDQz9UpUo+eZHsQfX8Bfg9ynwAtTjq6FVIcFoTBvcF2amQSKCcPMWDr3CMSuY/xEs+t2udByAizeXuWBtJkfEKgb5jdWto805g0SBZhGBCTLvK4cCHjkNC2p28Hhs8b24hANATywgwRruuF1WP6v1U4pLjEqI/o/Pld/0dJTQoULhEDkW2/LOTKbXB0Q2jq7cFzIP2rWVaCaLw6QsnZyPzxC1C0uBVMq6jZv/IVT4GwMbRzT3z2tlvbdTotKtny7Qkjlht4kUZKe4Fq74tLlPRnZ8Et9Ys9VAQ/1M678mj6zXD5jqhD6sjhKQeGOk2VXL+PUmdgCx+aFFPJILWgDcjjSse3L8fC7sDmwKopvwgwZ6NDh/fmKmYy0cTBY++aqgMyLS9nHt4U23Gf2BN/U9pnGIMCC8pZUMi7lFABQ8qc7QvOQdiculdyYd9rH/FLyiANho5xo3w3ravHnIX9193FrqvPAhA+ywSQQ0iQNoOqUBSmAs7Bp8r6jsN9/mOc/Ciq+aLFY6fMojaBo3n1+IdE2N8Pa3Xd5qs8Q0EoLJRTg072LcymbOJJzxmINCluz0JbKQ84Faw/Ysia/pJxvm8mQzMRDwdB+gpU3sIeoqMD4v/x3yS1hNNkxV6a0wW1pb5dAKF4F66X5VuSpUDldxLF4AXnqjZQUgOsV6kuUTcbTiYV7BJrY0b2sp3pFn3ef/2ZRwNtbDBW2nHbKYNsJpSSPBRQtAwSGZr0WH0tbNifjbYN83ougUqa+vMa2h1knI5dJ0WcMkSUjHItHZFucopizNgxeZZekmZnC4DKkPTeeCTWE/sUIwl799d6xBu5VCH1/fzC/QdOeiW/S5OzdSnMdW8mctM7u6y5SnPSeH2TvIR9kxd2lCHT5IvSuqVlZFUSSBkmEccaX0B5vClRKZdIhj3pQ9L4h5+kO1a+QV4TqrljndSxjpW7H9S9ORMLlTAReOIXK8mrZoZi8jlIwTRCtJpbFzN+8DScvszyW00Ixe1uaDLQYVQ3+Prvmns8GbMQ/KLkVJywl+2VOSWrwyCW765fWP+XiIrmNhsJY+YTtN/MJkA+XUUu4rQQA/P0Kezm92EEVlR8OjOeFGHH9lFWkGrdaCDjUk+5TXXwKlT7nG/akaZiue1pjJjnHijBxr1covBGf7LLUnFgDzXO9OCT5UPDk8h9G+EyJR+d/tSfLCRdQSLiXxB38zwhmNKHChASYymMFSetjPPSyfahYCFjuiyOgMUAZQJ/2HeYkN9s7+ELNpd8Ln3QsRIdYvqGG8jgZKyDrnKmKk4lbIUkfxTiVnNRGSM6aPA3mfPDmBuP7+eM4Tv5kDYLY0VGo9ifRXg3qcZGfj+MiZTzMWK/l+xR+9wzxJTS1smNmzGsgi39QmKyvElt8OXH50n3Fo8KSXjg0hPQ8aLCuNcCPyzoh2GvGjzhoQMhXqM/4oxhoXw1McMOIR28/sQymrM7NGKItiUB8cG8wWPCWO1NRfw8VCEI6EdOW/g7yWSnCyKTyMBPmrgmpTw8/MzeJzhRzTw1p76ANDSMK3ng4vXKuhfV6NY1WHw/t3n5uctJuzVQvVNReAfBA/RuBpHM/HEk7z+W/NKN9BV1dwELFD6G9k3hxUxWZDvYfpEwlh9lVIgedHFW4DC30l74tXH3JALT6PsKCfjkP3McUu8PvAGe06m0cRJB0JPwxOFd1hWaW+T0qygnuXtgZaL2D8uuvnjT3NMG0bxJwtjkDBDTC8a7a4SRlnqUPJJ1+tT4FHwGC2jvxnuOsqDBkMmXCcDtTQXjeb7pj252FxixGUcIqOV7lRB2yvXYETfgyIWkTA+aV5ea/BPIA6yCT+oTD5jwNcp275lEkkGi20FiBLjIJTQwcEqENk0eDOEQzOfy8jCpwoXV5qdHWwzmNMKtrCeszlZf789ZMS3JeeqruR0qkK/GOkUnpHE/kqskbta1T3YL+SREAXCVQVzpN/O04jtsgRSmyavMpoBylWKskogjSMzfygRUGhJ0zL5A7mvx4IMAus6srjmgajJM19mcbtGxUOTOKttteLTEjLO+RbacreVaFTjIePNMC/Eys0DoMxCsNfKullHGwx9cA7mlm0flsR/s3xB7epqMu7ZE6ADDkg0P5GBeZJoOgh/HF03mkrH/vmyBdIoX2/45O7HquEsZqXuGMaQgcOqtpKLPJ9PL9FGQtJ4G5kYJvdXyWPe85thY67YH3jUBQFklcTzLk4VJITxVZ8x1TNU462OpK+wTktIuwMsjX+LUz/Zazoi69KiIhe8vLrgz3D7mtBQBWDHHNu+mi7Txmia1e+/D6aZRkWqX2XvgWYdYF3sKObgUaYkOXwiSkkiMYd7yR7oX+tbMC9va5vDnU+EI5nmXnjrij5AXBKpUiJjtrQuEqVzdHYnxVNXACmQk9mRz03nRnqM+UXyI09ZytxVBNGvKh626+7tSxyyYQTS/9TI/s7deqSeBToT4kIFr7hoO//+qbXpSF97LXI4ApfB0N6TGNNJwCyER/iNc7wR/vGk7vsc9RhxUn4pLweS+XFz66RR+rBBoT31DfHczD5NX6xrN8XRpcU9hebQrvSmdUdLms/edGZkli52iSMr+SzvTjozz2Hipzm1QAQ4TRQCCJv2Ndcbam/H9+C3+EjhiNGDEvCcPn/V1emy/1NWfFT01mhlCa1E79Z2RjMWDEkOJsU5yvuSt469LPYFWPnqk9XpdbbQWD1clnONHDjxihXqT8Ea7y+3lboeODnfl47B3ju+NSuZnwYK18TlBVFVvi8RQQrOaRRFgiN5CyZbWYb/uSoKPFUpxaGZnSlh1WjBZN2s6iWIg0yf5cj2AmnwusBPh9uEr7S9joC9eohcSTjWjuda/D9gCWsIf8UBiC6YIFjMuLnWYT4QzRXgDWQnVcS72bmO70ZX4zelai9Kl+LOFssxsrNKB36b3jwaq9b8L0hjVg1KLtsC1rkkmuoNERtn4/O3mD117EqtLR3OjW0VL3le8lIw/koOBw4ZcnuWBW3IHiXBKlrz1k4rpeL6TZRmj3LTDpYfI7iwEdHQE1SaQjLlqVJwDH1zvZBN4kSfHnKj72tRVYBq3tGPAc0ObtNv6urwQL65/6jq//fzIFjstl4uUDrl2tvlx5Of8WwdybziLKAPBOgIkleZSM80mmBA16vkmPHQG8jqIukMd2EtrFgoWHK2Iubd4tyoiHKwpvv7i84ChOmxNUXNRsn76qoeo7+w8Lv9Xq8C01Ed/6zWyKNOcbvQidaHwefkrE4jT2J10sCKtd4Fb8g3wjfgX9YSInh9fQ7Tr+j3RKpKo/1IIFlYDMLI2dZt5OIkfJUsGd6O7d1e9RJpI4egM6CKMxG9Gw2ccQbY5StU81gwqxufCh+J/evh5ilSVzRvEB259c760tUy4Nynyc0Hsbpjl7MTm31y//8JeJiwtaSBZZ63Kl7vtK4UCm4IF1GNv1LBv7Mq61cSX1KgmyeGcGBrxatVqHbHDO+hscRoxgFY0L7zKbKHddqqQfXJRKdokMlIFqOpUfJ5Blpx6oB6TUadDVR7jv5Cl9P8cp6SW4649LshOltigZnW14NuTQU9ARQSBxBhYTsO2hKumIzprU22uAPCCkQtvRcweWDtMGGjszzJRPD8ZMxTF6BK0RidIn1Ll0JKOIvRaGX9v4YCfG+/LtyKKxX0qs6bYRcyFaYTPubekviyvHGgxy3RIwReaxzk/9eAzZVKd8+VyruhAUtK6+AkhuNvdulB9WwncEHTEvG1Z3Xf4pZeba3rk58DXHhci7mp80Awc7hvwJJ9z1PGGg3HwfdhKpmIvZoeefspW152DM2hOqujBmKVMOvmOvbBTshG5Yzs64c0pqy6ObvY/7v+IIfwcamVR+7GYO4CMuV2qXrjYMsBXNfnlRof0SDLkwiuDU9WiHeqTK0pyjzwqcC65GHNdg4otjFhz/C46cEHE1ZV9UTZ4GK+NieLL5CPCFwbPWaq9n6cMZm8+l1kTpCAqOAUXhjF6sjNmugEmPr7dsoE8D3RXf/PvDPkWB4mCs94a2Yzi0GC4FW0Bt6eLkWq0cwEpQOTPjL4jWG/yd5uvFueorlXd+Kk3f1WVvrzX6AE5B4uCv6YldGnjPtpGyyBwRcQzhfJ7AYUZbGqSt12wc4yxCThDWen8heLiweGuA3yEn0P/KTC+G1iaJ0Tbhdqf3Plwwokk8MJEno4ymbGv2mTSLiyLBx4AUAWDrooMUhLHqVGRG46tZLzjFpuV7/Z1g2k4qadTyKF132Q5+p5F8k5JNQLFyzhM9RcacwcbbgxQG/a2C3IHkb8WBvW+OHHRxt9Pnh1ahLUPEjIcDhKzGgH8pg28rkp2pvlDwfblrmJ1tUvY9sDH4BmK3PJj+ro1FnH/ZfaTg0fo4Zah1ottkqVOjR38am7JTr24zwN8AlskPvWHRGFhGGFyRLJfOkTHozKgZGOwvZXhaotCz2pS3BO2X1uF5bbcoiXRajCJ07oPiTSZ7uuU8vhiqCC97WIR90bCsbMFHYcLakeRAVO5VL0BT7nb8kpHX3I0l4Eu61OgP2xjoBS4dBttG0oycyD7Ulbp6dycwxTrV48eWX6fU1Y+9XnK8VVlUUSuEjvuylaIzoBqouK8ybAnoVNPhR6703CEqh8xgrIR8CmKQ7kaheBUxgKpFNO0/1tZuzeUAz++vi1pGOroRK/fERb7CNh2uXQVIdWuysALky/dlW7aX15UWKs2JLZtJTxvM/v7oiMKqgrE6kcUujOhteW9f6R7SxpnmY8Lu1x5P59rwmxHXl8LrR7R2zCJWpfuox/3PeXzIRul6PhO+ib3yATP0kERmKrm2d4bgTqtgnhUD5pfzqg50zrBYRe7Iv0shqnrzc4xSfsV2Yy7SZJthHa+LblZTSgkml/K5txbeT5TWIWzMhUCPAyplY0jETIWkF7e9J/uoPfEwaZ/GFDhDCr4vaykcNx9Drpi2M6c9blk823gs7qCuBmps2t+BikS0K4r7uB3Yye4WTTlFfkqvndmDhkP5sjiYCwsJamYa5hwB135W+2AB3H9vihOeCVH/bfb95AjuIUnXWX84PLLvJO/eKCaiOY4A3iqY3JV1RvcrJtQG5HNr40EWvq1XuqAqQb7JIztc44uXG1nvsHnNZd/JD8bk6AvP13KoHgkM98ZarLRYjxmrF7CQroKwyEkhPsGK0idESHR8HpaLlE4cmysjowVPbyzNNVapI+p+YBmTIeYHCvA+wOvcws2QnOhHIUz8P1Slv3mzsliXPVX4e+xPibcrh63pIJchoFhBgGB77bOjUYgzZTn3aes1kkpPUDmZPE0TK7Pkeo3q1BaJci4uNDzz4nMy4ZVk8IDTb0ci+w0606CsNkmuRqQpohIO5W2+R3TREu2GX8dxOTOYeTswxuZS6Nv4bgDVXO8VOeaA82OHnLE7P2QJKF/vvrh721swR6LYtgeF2TaFaCFiFLB6Z/oBHxF83lzCbdJtZx8/sNdy007vN/oMjMiSiBLIzUoNzEDxaIQbe/9uYeuufqY4bnk+evIdAcVUE/ofOfBePRxjkSPAVFG7t9fdd3rqFq2S1Auubcac6gn4LI8Vyf1nViZUOND8hVjsLaxVGX358XW0cZ/bO847/l8Iy1SK+HK3GrhnkevXWMkFSnQE0VodOU1vCIxr2XVfyT0mYWS4ragl5hE06Qv0kHfVF16lcBVO1oL1gpsqG4TQYsOBgr6gAM4QjMzk8Xgy22UKBcjkkaVd59rA/XDysqXdIRQUiZfbQ18eq2rT1ep2lJZutoUIY2uw0HwRdXQALITWMbbUcn/YqXl6iDZStBuCJM0zrRWmw/NjWm4plyVd2o9oNYPFGXbKaB0XBKGWDS3HkP9DNg3khc3cr2iKGLb5RZmY9Wz3JYhUBolhG8CqZuPswV9fpkdZAgL4FizGL5+rdmmEERy/OLrMTokeJp2yq/ht9BP++oaOrUQWI9pgxZ10LB5VA3L22Iik/vmDOJZ/ToMQ1OFmBmZ539wRqWkMPSJYaffnsxkhfxIzvg3Wi0MKtLqFyHjuSathN+hTafCaIZO9kiyqAaDp8l6xA6ifJC1l6C0UNKIZQciQpKlmbq8/cn8KkeoRMYf+oPrwqLWIGK6adebkI89PZ49nuOQCosB9xP+J1veAMW0DvvgbYqXXryLS1Eg/1DRUljAOu8uH7zoIxvTKWJXRqKtJx1rlIhFC9vZ1BCZPOXo1vY87sS42AlTHBil6Kr9bj/VJ2J9gr77AoQc9RSuwELsi9pufYBed3xJ4hCZ9nKUQczsWxWvPsmszJ4qCpD4qRk2eFvWy9sIVV7lGb0WESdX1jO8CuGnQU5m9xf512RwK80839qQY1ZJaAMWGL/zE89R9sKck3kI8aZKkVhzSYC26HAvbsx0bEW06FddVB80jfQ8g2h+Q427rps+5RayUisW9VNQylHhyiKuaJlGmppiki2XR8Xj73aN1FUM7wK36k61RyBe14ygLVQLvsbzn8Cn3CvA4pEQJ3AkJR5QD1xYyNZR4cfQnMENROTGeV9cfKLqi1/RN0SE2xvZYJEwzonOAeyLsvp2U/qMnJTa/sbYaVIOZe/mXjlVi9dQb5Qci4CzbOElkCsZKa4aQHXLGP9nwQiwtUXLzWh7hFDZcFKF5hk8W44ObLcvVtZNCDHsiV2Xez59PGItQsLHR3jnF/5a2wa9ml9IcV9+laklhZ4iOZlN5a6GyhLHyszLZgi5IagjXwJejyArRnL+sEdNE997+z9jT2mPuOjbb476IgqcWGtVo8YWoALbw4K0S4ASJcj/w94isOcAtAOGAPjJBICbpyqDD6WRxV4GqMxBE/GQO8r5X+FJPGHV9oJgYVd0N4lQvYlb+yuHKYZ6Q+QA7FLSvew9P/HayTT8OiIApj1skhoM4VCe/lZbe3OvU7vVv0Y4lZKcJwhrHvdXwRobBaLVwv9FdETuONuvJ5lYXw3Pafc0xWVJP+JeM87b0tFk9H20t/gaLAxM1XwkB7xW5aMhoUsYydrs/oEucbv0iTRTgbhrVO3avRNPpF4mFhDpJpMMsrenr/13tj4EeclD+JUcQMD5zMSbiom1XOypED+Sk5zhvcTXg/cfXZAySsGHOFcE2NXEBB/GBF1X0GIdxcjI4kbaduvhIYDYYV6BaWhV9WtGzE00LtnmQ3ja++RcU1ZL9eD8bJh5cqnGUWwxyhx3IfHemeHlHUjVvjH8rRu9qPEN0M0V7Dxq4vyrPmJrDYE8teFxYqMKPz8bbPRvA+voTl+5Oks7TgDmZcCKsHahQBwAfOlh3vKjkNciq7jiWpwFRE6ZTYUThTdh5AGYurQEMldfac2YP+1uL23WaX1782kOi1X3cmA+uKpHvVlP3hDhcmCd47aAv+H8ZNFdcFzbnuP6JjuBioUh9UC7Q4sHk9YVvIoe0wHRPx24kQjn41z0iKg0JrBWjEcNF9Wnqed9p/AF2vMFZGOSfaeB5TUPECyR1kI3hm62BvK7wYb1Xc07FObtjKk7+6j0WbPSnH7Kw175XaW8FCNZCxKRhjqr9u4tvuqMMTu48LewXzSI8Kce939SYAoU9j5SgwkeGSGghCmy8UcgL130SNoJ4ZXo8pR71K3wC0sEHiRLIgNg3yauIwkXjSn26VATrgezGnAwysYsAmlfZhqCXej6uecz97qlH9Qev+TQxjvQeUHRShkwcSoZbcI6ZOH7GNjFNC0X4RzFTpq+ITdeBGrlAkxV9A2RiEwS0JP7nwxUBU1ke8Cj4ekVaVIMsr0Fk8FoVWMERG+m4rvnLjR9WWx3v+3vA5ZWeJRzkUtvu9BhNE0d41ZGDjeSBBLZFGqqAyMDTeR8nkfT78irIQJjlI7nNrjA1MZ4kFYSsyHT8koodnicTvDMjf0zUm6DiR4BMrUZYXmkyvJWpahbJ9LHdKNgUCDpvnfePNSVn4ckDHXxAQEtx89U0krXPqd0piBU6Fi10zk0F9IooT+3VNKs/UsB57pJjB0uBaJiiJGJZ/vJMf+ygsbdvAPiUtgitZzPlXkTO4DQK1+BknljYYE0mh4W0qVeLgvjumwkrmrETmsyly/EGt1K5CLUD2pXqbuLR8sj+b6uc6pGkE6QcdPIwDAxPvY/e8EsRJEnr+8Ike6qun9DgDb2pSi7Lm1AAbNJ3GomBMBG3AeeaKBB4Sw3Oz0xasJZeIkPUpMod7od0W3it5U1SOMCeOuJUefKzM7g08NckxcvypQxVkmJxV6s8Uj9zX1gvxp4SurTzQ1J/K0FZpXFwLWgXVObMQKvGdHttIY4y77uacAVeIRs9HYoxh9vBVzRfi3lhqan0DfIRchtlpN43LJmA+q5DamXRBFsGHkhWPDN4LIdl90gzdprN0U15c6lQsQ67TBU6kTkGEFGZAl4vTVVGf2oXEQfN+ZBkkOpi+tQYR9H4BtmTQVLC613TKLEXBlba2Rz7/cM8QB4Z7yazF8N8vaVnTC6yg6qUC214Q8k2G1I4zxI6K6EdNb7lPxTefvVPsU0OE5ZknuPqPhisVcGZeSqR3aJg9mqM+066Ip3zVSMsDHh6dy4wRDZAxDeLfpCFioVSjNdjjdrySOpjVb9ddR+MRPvawAynP5wNnmxykaU4oBB9oF29EnaiFDHns5fJxKwuVoo4uff0iyYXGwDkZHeb/xBoGRTgueD4KYCSRC0aa44iuEbwXEjw6bFpzNw3QAY08WlIw+JCMRpyUWNFye1/L9Kys4tMyE7mpB/D3IOKu6h2fir2A/Bzu+gKDdlB1Mk3E7uf4Ouayu9D2lnkm4wjpAhCGDlFwooSLE1DFaca1U9nNxjD/WrULSuBQ1lGMxuXuFe8N2RaikuP/+nu5pOjivI1WEJ+FTdRRP8KSXZ3p/NabjGMpfr/WsmYMdGyJPzcw9/lIOAYsq1rr8xkq2fj6CZeFarx8V8tQ6UytFm8drH6WrBw1M7X6WxByEOrPVIQv7MyJ0VkcCeiH83Z0ZOT/B2DESCp96Y1VPtc/IKqnlwd1Px+EqCpUn41vjaByhSeo58px45oQmilS/Mn0P4xUHYSj4X5NC3P0kxykt8jQREJm4o+Bwt7HHhkF6G/FWNM/egZBvrm9ors+DA4zxXQY9L7ekF6X+nmI9KFuI0mnZaBwSCP13WR6jThWkm8qmkz9h9btJ+zeppmA+rV5z6XjFOCakumMXfEJwJZXwplyLpRrgsqTXwy4MYYmqi/qhe1Lgg4pjYHSaDVWdC76Wo7FdB159ZPt0ipot9umQn8C70vv3VWmdwtehgQkv+y0jGtPZmn+Njsn++3Z49p+rA23fOze817th2JaZC75dC34HgY+MTQSNcZhtOsSeRwNNQXKp+JbeV0FsbUJNz0HOLMYEjcAJBE0bnva721j5+n2NaBDaXsxZvNVrQQC0V5ULYEbNL270rOATV5Iwl1Ee+HCaUSF6WPCTu4Gxqa3qzI1oQTlLoH/3bsbexgTZex9J6OA74GWle83CdPl2IsfedkCXeDnlZE9IH5eeDr0q7IJP+5DT6kOro+roS/LgmNaHetRaOPNS91Fw0aBXGGIFyJqaKcNFmlsagaDIaPz7HuJCSfWzS3/2gEd31Ssv7fPfOHfFPwv3PlZ5PxUKDuuHid82aud4YZgFZtNK+Oc0pvPBBaRa96z7aHYvQ1GmWAae83AgYePD/PyzTrUE9jSozyCJMHQudr07AWa8KkFXgPXEfDdxksaciRs9H48Fa8pbAcoEBKQ2ZnrT6/Y5CnsMp3/uc0XW5blHuyItUOHoyseElXexC31DhD1X/FEUwbLqKMPMBoj15zb/XU6XGNl9iEh7mE0d9qEu2d3cBzI4ef55POegSSHEFEO8WNDL1FwXBXvxoJsz+pVp3e68nS5Z9iibNc+913pjvOSVDSOtYFHMrkgz11mJ8eyufPSo6Pqk0gHbUfgbMYGlgpZpRbPGsaG2shrZPLc1zPC9wGMHDAUeoHTQS6I48mt7o/bJE8Vdgl/pitdfsquuB5nDLlOrQ+LgcZnctqXOFtb4ry+Gi2T4j8H2vz7eUtOpHOSO0k8b3ZppJpgWNcKYB4lbQlinhBtKGgt8V7fy3tUNf/HFoDOh7/Yl6DHhDAACLg/54VbixMdgmOb4abC5erLwlAa2qVmOYClIiTkeWwaVw7rU8Gd/K/hpNZOA/eDpQR+bwWgtX3pfuzj7MtdKGgJRWbDowyzdSY7sMkjD3nYczbXt4K/wCMwU7Gc8oqmAhNv6N+BmOKfKlE042SAnm26vytvxz/hEXININa8qYP28x8lq3YJcRcZ+gP4ggKRc7pxRQF9pzKqXAnSOTXOREyRtP1cNH+agDHr/XZJtRWc/Vb7FzMSSYzIezEGGKnXEwzvO+pNTVC2YKAOqfPXYnGJeut/2snbmdKlA6jPcowRo4QLRdsgerV63mtVJLUg1PX+Y/pV5v4R7uZ5rpa33xAVUCT+ouIVZUVUcm4FiApiS+jJy/116ujGZs/pm0eNgxY3vyfWcAZnmeBP7fQwlZw6KxU5PDWPH2fBM2+BliJoXprlDc1P4t16rgJi1BW2TYC2olt2Niw4CsgN/bknz/u8gHILYGZ49Y2R7CPXP0yploaybzN3JATUV2nEHaDMD8Tz2247kzxN3WjFgQ1hEcH2Y2ClMkn5i4I/+D0wOkL1gD4Pa/HIJ3PVthEbwnEtz8InmNEajfJcV8+HyD2T41glBp/zY5h9/YZXNmAsJYYJaspuZMXqMnRu4YMVzZCnrPNxNUBHRm4iHSCqtAWHy+4GETTE9dwAB77BJy1LiOJmvtaPDt+ou8nuJuHh2Za/+uolHt7JXc17qE04u+gFmxkY+eSh45T9YKAamp9HPij146b0al7BWJPlycl2At7zXekHH3lLQMNqm4qopo+jVW0P+ZKxzXYclpUuyexy8pU0Ur9VyeTZE7uL8JEiaie4heciSULUcq8BIee9TI8+8M/8hqsLKQCP9foqBvtFTnrOLUx3SKclgF0sUGbCWneLuTEW128esiIKJxAardsTqCBJIDraVX3j4zYO4JGVtamIUt7njA+xLPV9k/wMZBsP7nKNlmrIl+HmgPJB+TwX6UG3oBkpzjeYFXSbSplrA+wMA8mlFDw9GqTaaBXHO4gGzZAlVLRmDco5j4gVv0iMbIX7xiFCq4/pggjkQXI6tAB265XfQWFS833Zz0IC0HBRDj690WAGI094QsytPaj/j2xV5yXr407ePIcDeowTv4/n01k3GodloOD3KzIayM5cssT5KyAlCDKZt6gyk/f4L1m5ECYj1wvQODS7YnYkLqGzoZQEKW0gJ2oLVACJdUVNi/uUxCgMzA2hmo13WHsBSz+8bBJjzuwZs8FeNZ74KkD9a8hcdbEfUut7a327EhP3XkxFbvCunjklyjFDtd8vPmb9oqSPOaEZr6Wnih8YZZTiwU2ZiVWlacJabWUNIrQr+lh2rUEkS68H2XTr8wuQCwsCikVP7q4X5aRBMsBgFV7hw7d74psrbGT9ew9sQbiqoUuA0Em3g+pYfo00Na1x2MXnKtBd0DWgkOfeMeSV0kBj0WLslg6Van9Uj8hlAbvdBsmfzXiM2KZxZy/j3Gln0vI3ozKJjbO33h8a11Fu7/TeSmxb8un024Uef1ClNCF8n0ujZPIzxrU/LbgarK73pWzXZU4yUtvL1BH63cpPaKjBkUVA6/YjGWth60p7FXWOMN1ZZmgW2vQ6vas0jpBJ/TcnzIfxJORtULOVQCYYulKW7XWwfjCBolrgN/Svy2m8Qe+hSubIuOB4++F/XEcWSXHqOplUb6B+ADyQYcMKwlJcKyBwWrdPDPD0MrWo3iC0LlEDxis0nLEJizaYdgrCDy+EkPj/DgL5P8ODOCiaflz7JVAgVf/TNpUw8Qa1zMZAqh6r9iNaD4u5p3OhVODS9uOWBtfNNTqLNpHt2VriinkKFH9AM4vZu3L7j0eyAdXsWJknJyjx8q8ROp/z5xFtID94EBJnPfwC2U3pDbQYOFGo0mZqL60SOP4eLFCDnlFWCy08KBuDXVG1mLr9tc6TuAD8nMWRcWEe0ytDil2vDXMnLwQaInQSSjnxDq0GMkFPx3LS4sT7QcZVmDDICaiOitfryJoc+hw129hvivJgu9gntydFiewvvHfh3kK7aAUnVJi6q2NjmHbiBAZDROcXk+wh1dH8dHme8C/88ovWX3rdMEjqmvmHAawg5hguZTZitjzNCK0auNJX17DbXOksT9x2jTxcFMBl/WfkTbCwjLGCvKY/Qnkis+yAai6rg9Vp+Y8BrnXEKG22VA9f5BM8jcXD4KUhBpgNML/ubM3fUphjIdgM5npqpRjdB/blxE60fFj1CQtE8khzjc2M5zmiMbU2zArD+KFSx3H++24DZlO7RE/XnVgLwwtXbhL5D2VYJPzB2lkebb7zHbO3LfUWNnDDryUCcODv5PxQYWowzYdQnfKpMU9bkgWuHnqodFKRL8NF78pZLyPaw+510a1+nQ4PP++2TsIgMJPmj8R02LLBgLzHb6OhboqHLJddPO4mxsPc8kicEtg1Zz8I2Tjr5l5Wz9fXMLqoOxvclx6qoq5hEUmWyVtqXx5XkDnIyFrgEDXRCO/Gr0T9ONy23eKHARxPT7PxqvvfuN2gUvu22lpAWRztklEnpvdc1R6dYhhpOkwHEIII95qr03GyMuVZQNkAXTvMZNTneiInUKUF+1XE6hjzMtYldMydDq+JWgdWPCAsqAWyevhm8ZtDvmQx8M4pNPvRQHME/JH0esQkzv0f2DNKVDzEgW1eTDu4y5yoMxgWm7E+slt8FyMISMsKzG23ZDzs04OlaBuRbtQtUnactmYq05qXAMjpAFD5Chvquh8pieTrHNk2LmmfFRlYLJwrGSJ0qIi8Z8ANeh0dMl41uWYfsClwPQLZflg2Re94PBRaZM3qrVLfNo1a1LGJWDcv/JIUxQrpeeqlCoXQnBKaWmwCtqgtbAIWn1SBSvwg7Z3Ox3onqceEWgWVjGjDVP5rbV+H7PjiHJpEfPNcP+yRnKvN00iY6jcueulQ38eP+JOEaMNN1oklUzERAHpwLzUdnpNiJ5yFUPLUTbEnjoejMfwqmydscgoXMU2JB/Sjc62s+oWNk8GshslqA2NMyP6wM8+pA92pH8Vmby9YNdpehQ+SbsBRZ3AsIR7br5n9U/z2eSB/v+kUTCn3prr3qhszLktIbojWhso1A5FmXrGs6Z5hLHqUQOhuOtc+ve+EXHDVEjHdKxdVV0MCyGtJOOlzV1KCZcj1cwd2NyzSIMC0hax/sFLAt8A0Dng5/LdqWHPMzkXJs2M2uRYsGk/pJna2D8B6poR+/CKpd2L0shf8nUwQf9D6nc0XJ9PJUkf0jnFbSg3wfNOInp6T4o+rmNt+gqaRpHtz9FR7pgANkpOYLUGlxxur8Kn4etLWLxGv6E+FCmmWOTXCU+sXbD0mdTrJDXVxTwRiyWpPKPEhG53mjOtLlBe3Oglao+9cBmDwDGTOw/QC8XnF0hqZYqsskf4OV4ZDh3Np13wtfCkk/ksowAQPuOc7iMrHkzUlocZLf7VfVoPPGQ80xAW5a2YJI6So8TT5mV66DF6AxR+ox4mWXD+yIhc6K00iRykaJPmyr511I0gO2QpEQ72uVYqwogW0Cz4PSISbRD8fboAT8N53FHhEr0zB1qxzdjZfHyL1q66Y6YhK89k28c4C4EdoNUgohKoxfXGncI35usvGNLlBx3Pgr8tT0W2qo7qG4jyZjNN8FkSqefKi1s8a8A6cMlLMNp8pyMoXK/RW4N0/Nog9YTZtZLUjDPlQU47JCQ7NY43XmVzOrPnyQVaihts3NYlL/jt329MIVRQ16ac1lPIR8dp54hRKi9Ib9/hYzs69J3GGAy3l3p1guaSqt1q9f+ns1mLnki2KKMwvI1aX+IYT550HzAG36rhDWagQ9+sFivhewwDHt90zyy2ROC3mDNKJ9ECYv3cR5elbA9JeUF2esEwBYhZLC6X7y55kA+1Y8LPoMbD23p42BIQYkY37isWwYvr7YmoOSHcedvR5IuzAkAi8c8MQLPo6kKbpg1AQ29JvhF0j+PSjGyC+LumqOh+tZ7HjLpLKCLHbOQZUiMH5w6gjy1kIZHzvpDT2zVqZD8lQX2a8zYb/Vua+TYTn9Jm87wvD88LGgZqNk4csA6K1dPDQgWm+BuDborAe5I7UOKLALtYeMMZ59dBmlANi3Ku+oETPiM1+sKNs8tlYSxclevJe5LudBdSBR1mZ+igFo29fd4/Q2xRS4YowEPv735yg0BYCKHGfXLy7reovm8swVm4WGmV4LDRbbqeGG4zc32/Y1bcCC6u+3sVk5P4MbTeeG3ZoUcKBMvrHhIbAz8XlXU8OZulN1ZnPLWNLE8xZemBox+9Nt+bcq6RqjDP+4w7uYyeTzDbsFMB1iUHK97jAD5X5DS7ZhnTZKtaQKDdEAgcNy+P0Mi+9cKhflKnSepvh6kyWPG9Q0JIN0fSrKglrmVc1vsYz20RoOZfK8VBPYjKn/RP+mSutf0R0LO4Aew05nWHq2mEifT6wBwkN1JIJLXH0s8yP0Ka/XtLRbQU62IRDlXHW4+RbFHlYNn2FyBOCXeeLUJ+LzutsplEA86FpDUha1/v1bD0pSutTgCHJha4IPwCuL6c2gCbq7YWpUdqXiOTLfvZHgYxbsG7KI9TdGNFYRjBHemiErZFk0BWwkSwRI5rhHsNUMxmN46BrcGKmSajC+PIY/HSt0dEHHCPQWTr9pAKxHsMc5bqLLr7JeVQ1AUr6FnWeg4sZ78eTaZiirbWp5AZxODNk+vlqWIGiTQInov5PdDyWEnRzIUvFMaUntoazHKRUJEZZDEmuDy9A0aWfkLGdwTZRgPNmaWacbWdU0IY3ItFIiLAKzdDlh4uar6tPj3i69BeV0Ee3CHvT3RSiUogaQ0hvCLnzQUqimWSPcFTo5RHeFUKStZH4lPMbxnDjDB+iqZntyMz5yaYh5oYfsKQ4rMR8rvFC6WRrRJLZl77UcW723a+jDEBQcKaqhjdYXM8M87zqXxWkONoHBjya1EqtfEwrXrefE3pxFcXFHt+YsYUxJHUkvr+wV3Sw+OsekmMel2QeNAxu84k+q/iWg8nVja/fTEeWykkbGVBH5n05T7ZWjMgUvN3jbfuJuXiPIv6wyRPjWTRsVRuOGwr/4ltA3gt7mSEd+BSfEcYnPFPmpmN4j6UA3auu5YXSZNJrPcbvHf47BP2zlq7v/Q0joC9jhEKJ7NjXdNuuI7PPRLEYYVzPoeoI1rSW76z4XWEgyPX9n3RY0+hSMKUn9Nsq9ojGYrDlWYuomIT+jUpTsghc6Hd/TSn0uKFmG9yswZ0bGbSRSzoYBpcD1KKKCCEi44jGq80fGMPjYwbEB/tCk+jGkTyqR+Gr/xVCD7pv9+Jwcpm8jFf/w/R+72p8xyN1GQJYiYQb0U2XqHkRGvgYkt1HhqKbN6j6bh1ys9Wwfd28IhvuPow4Q/ucSe1lakk4u1AX57uVd+zlrFvgv0wwg9H37E4fnr+eF1NYfeAzvshjAIJZGklz/x0WC5gmslG7jqg+UWJGXKqFHVE/iOJkG+Aijr7p5KXrrljHje8IOJxABro2AxPg0T+t46Si2st0mmUbU2gaxXFEjD204tL+Zp521lzAMTEeSa+cVA0rjIoaBH2dY44fDyzxVCoCrM0OXFeSHcFvMjefGT0clGO6TQp98278j043/0o5kA77cELcV6itxLO9BTVebFCM4sme2sUfu7PnsPzgoS8TOYO7AZP8ZfqXX6zoCiIWXZ2CB3QyJyKMzyJYXfGADM6XzyEV9kyjDXM7i/IzjymwRgGqrGG1Xf0iHA7OdQsrra/Cjm0O+vxFkjoepWEuSe0V90W6KocDIqKsZc0vcQiEIHL8c/cdCzr5wk2loPQ0cjCdrDhu9vppB98aYcOPQqGDXuQ345KEM9+ztRh9KQEvuoM+TM6Ehx4oLxJTv71DHdcuSVVvUIGUjqgsw6NPKZSRvFGyJ7QfD3DJv++yDwvzSwh5DZhRKIGvDDYB951xHZNQAp47Pzs59MmvfxD4L12fF+eulIBRonx+crWWNQixh61PHvDE8ADB3y1O+IAVuoAJi+ABwNGfNF1BO9drxyDeAwOtn9+RF5SoeqSDcD2piZ+vlE4gtRRNqb00lFIUZRakP9kNagz265mVuGVVhp0qYjQ9WrsPNt7XUp5MPJRdF/cpTeH5vJQmt68vZeDDbgggYFsl8Hc7+68ajhKWUDE4WtziQcFOLnARVNDAQgr94jAUy8oa1QXoBlUsqjdZSffYmYfK88VQN2QF66urx5fLqU89sTs6s860PHx/hQ2XowSeETvXf+Uis+8gNah77wNJ6FTIXQajdr3LegamDEkOj1VxltP8kMZpWytgmaoWMnXYY0Cm/H+DNOLZXX5Cdy+lA8D/dTsrQYgT+WrKDGP7e+dWJ5A+pYPl1f4cbBEFtPOfjtENXkx1MOmBQh0hVbllGvG0zrdsfdw4VP1/WwVsOV5XOExTI3FqN05iEYi50A+qeCPUwksXrvAr0gIqdzPf+yW/yp8OmDpAIRtWz7S8RTxys0g5qdw1r+YkAJZxVDZiy4xUNdHFjAjUqN6BAXE6AH8zpkptZqBvQ5+rJWw34eTwvw48zmPJ/M9V085ADEe4VmGJUkb/EtXMJpTPJwrvugOUkcBvlp/SJoDcQ5cBwcBZoMyP+UnAAJ8b/y69h1X2nwDqTLzPR8xfkfb1fT5Zi4uafAwUGy3oC8wLeqDnA5lsP3C2wenY+CMa9usdRUJchC6/AtKnVfesEEbeLm1AsjVLHwsD8vQf4cgpW4vXbVFA0j71WQjCzjASiqmeTaPil8E5KNs+A6oBujVtPBg8EQuEiJEWPyrF80Ie+5WtWNzg4dny+QPamvvxznhLMsRAsxE2mvbk4d68RPDXh+Oae5oL2M+SWeMg/1p/vW7fttZSkmCxmyL/z1hRN449v0zXeZ5RdiMNZ6N06lp4LMkTa9GwGx9JvErKyUyNvTCL4eiSDrHpagOfficgYZT0JNClne546uPJ1yNkmmF30a96LgD705ecdkG2xQyBZRExuudsDchVPOnrVAGJcOSKyIg993R2eztjIShoKLaA0kLHjlk+/DrJdKLA72URJMPlaYoBji943QLHj7ea/HFw8/hRYy5Wjvb1vnGA1+C7gt0aUzHbA9DfPrigrCN04zCHZOlllou4WwZCHKK0OgKY9xvc9o1yYI/dqmMggmO7DPsdNErFj2dzI2NdLtUXCPz9okHzPFBlYF6ppdzZGu6hIGpOJP2aSTiAhCBXwNMP/WSzNOb5Z5Q95ZrsMDoDjRYuojYGFlyR09u0pgXcMLacZ68FzxK2qC8DuSvpmZLLOjsLm2zjGrwD5DDKWZQiQU74jBf6+b8Dabux3VsjxceNL1n5qFnEqfUxHjsD+NwIHHPHoJSE0X2gSVweYSVxEOaUO9Au1yN4pN1W4b6ycGVtqhVsvpBzhmUUPTvf/JyDbMADTnpFpyWTC1dN+ut1r7e3OhlTd1DfyvCuvrZZl60bcvXoXlYcsF8wctMv7xQlIvTxR1HQpW/YIqeRgpp5zTcpHfT3FZmcmBDa3CRroA2FGtcns7eS5iPfEnFPjKuTK+zXHDo3jgbiMrx2fRc6KVxLh/6mbWl2RFFw5q/KSmYJN73SdYbsvLR06qAUF8tDBU+cHqUbaT3QK7VVkwMwzorbHeImY4HcFX6S/Tde25Afy/NRwkLQopH53Iy9dOvSTKLI69BYZPPKoXfy82SE4k9iG2WpszQpkifUOhiarPnF+t/G+InouE6CApCtWcNHAx8ZlwUciD7fIhOmEAQM3K8KqciQqZQTHKLf5up/y5ad7lDcPCKsCVt3nHPc2f+12rWVrSHGL5wH6E8Y/I+AM+XkY0DBG79coq40Tw6o1dR6qY0ccfM55eLnySOQSGImvwoWE6Sa2D6Dd96ZpqnjmHPrniLgjHb7c3z21yEAE56lAi9PKgoyhQ9xHtegxWCENAA8r1sfbi1Wzsu9+TpLy0/EvjSjLBVXGLjKEMI1JZUIaFPqzqytakdyc0bAcOvbUYj9KQh8LmSVX7erIZ/++1nRjQXRbisiwerLJdobRSEDyhGs9Kk1/cXXXv0B73h/yBMIZTLBy7J+zkKM0Wh6eAnq9fRwz4WCSlJajeIHMbhOqUAubBuNJ/dbhBHkRBpm768cLC/yXdDjdcm1B/xLSIf00gZLwm63cfKoHSGGGMMqNtaeQ1rOcqhlX8HfPREcQbZqIimi6E/ktaWOimz5LZy+wj7Z4tkx5rISJWGguL+03ulj4J4cwH8OxXYa0hGScFu0zQHmnQKT9TvJYaW6j6j/rJkyxfSssJxaaGLswsXbLnPkdsMaFEyRmlxiMGZ5PxDcpeA4dmL1Q4K0+uUn58asV9WZdrx/iQ3m15zXWZoiehQ7dPQkvtjKzvDeD8KGF82HiYfiq+lKbdtxyjhQZB50VsRzy+Lw7opggfZZDvZqJlsCz/AaXb2hUhH8rKqLs1Iicas2aAA//jpwjgvbt3FG0jhdQbjaAVg/cLgGA9Qx3hZjOigbVXh9rUJaiE0jloQrRNN1j/dWz0VjT0023lulwONv5UTyJ/Stu3M2xRmLEbQVAAgjWQsNuJmWmzwLxS3MGkcr+TgQm4TaK1QYf6ojMR58/YOK9X6asRUgYKonda+Et71Nak6UEkLHBxz+VJFCrsSBUC3bSROQFmsrLDJ+jQZwGiskV5fEUiQ0rKD2RZHeedsQI5HDSatbqW7m1fBijL7mQwJPTRXEwiNXHNcTqbnNrtMZwYqeYHU6Y5TNtW3U/R0AnaT8/pPxPsGuytTcB08mc1yAv3GWsuzkbUFtZOQxWkmo8zCJ+6gJzFuZTjbNFEbcJqR2CeOfFVFoTHVEkqJ97fLWYfk7tY/w7Q/hPARrkqg152wsaBmyafAyAZswTjdBJqRBZ44muyPmJwoJElsVtmHYQtRc28dFXLP9HixxBYj72t1MAVmcOvYwp7GHV/EUYqkrVzPcEwS+GGehluWcvVyLkTuTdcFERaoFebAHX9qR9L/w7hsp7hUFFW3El9QBX2bFw99ot0Sxehyddyi4e7UZ9gPfmFRvuvO/TQ0DAIJEWexoD/1ysDi+dKgPWTnS36XjN2FhgMHeIcm6lMJLMhL0mfVgtCEBlIq5OqNHz4VQyrtaHtSPOvXkqVkrG+vsYTjNQpYIM5SADxJdP8o5OoVCzmo2R4oO26Kw0TcY6lJp2zqMo/e1EUwh05q0OConZeSPXboIfZenXrLMa/1PZiZUFu/ndBY/6+MvhFxVX08W7UeEUeyFOvswJUnNZ2Y2Iz0MVKbXPHe/o9jnLMJ2u8ApmJH8wqDL/MsWurIQd796cHipB0W7cKBwACbAWhQKoNYThce5o1F23H/z/kc3BKo8PIaR1u4It/Qyi43P29l3jg9GQR9fk/6I9vVEtZss5Rhw4HD+HADdVuLCncvL7pbK2UlU55gfa9a1xctMNLG6I6Uj14SN8Ujy47nwAghLV6v5/QYGT0zSXevFIVs8ZjSHUXFR7ajZ38Ar1VPwT/g54hYhrqtq0lP1sHevhqzOrnJaljsNGuv+QI8DgQoKUOjYqtgVn4dxEwAIm54DR7QRfEB0vaM4DVHn0qaj8odqixRb/Ctw2rwslCoble6bhNOQpPx2TuYfXoEndIBVOQV81t++rQDSJ8B04RewZFqfUc1Z82sLEOPpmcSuuoHLCXaKC2HjNMFQeSagxlGIrsrrzQGq9mY2Bf736j9QlIoR915wLRugsiChsZeeXg+Tp3pZnwVIag60xYMguzqJRA4wPxWtbjeQkj0zjZvkvcPFvtZZvfniaPfyqMpun/Ts3JpHvGEhXv02KWe7zSzsWTEETevHZuhl1Fu3SAQzGBwEJdO+DxM9yLZ1VaDMq3+5VVzPf5NkHjSWcJBB5+7qM/CChII6TnnkhyXJ8z7+jCuvhzLkhsMfoDe7+WoNFd23sk96INn1QTpn/Px3bPFVKGVrvwJi4yY6cg95SK2QDjrHSb6qR0VD2gPcSKBnO5GXXh8WvFqrtwx9VikOn9/AzC4UtEh3aAk7SaKnU1au/za7D0nP62UEgBGVn15wq901CFaMzfuSuV67XYs25ounx+RzRS6wuoz/dtbTKNX4YSnj1q8t8TvwGO1gbPL9iACvfPWGB5H5cA/drBvCMfHQDNY8rmyYWEac8N9g5dznbtOssgxaQk7BofzPBa165zhLBW6Qycn/+4pK2z0iTWmY8EjkNCGAnJCtz9vP+nv+eMwvgryMsTpUlmzpePsL6YOTAIoCwSBtJBIY6DjS0ittPLfGt0HIpjZsBVzQXv0zAvAzMKqNSBzaCSu956MBMx0IuhqDhuvx6ykzA18AFuBidbXsYmvTdhNiTMxY680DmfTpJh9LLwjdheVdYbsLL5kbPTIMRNjdJmWrwo69OAhorSY5ZXIOE3GeJeWlQG49zndGqZgMjGMHkYseyuHne0jqzUcQ/omsltbIHErhkC54GeX2psMkmGerVReaDnZH2YEwLUsPAJG68MbR0h5F9pmshaPIKcYNTiKiC4bepn2My0yvleu2ldAw7tS5YSBPOL6y6DHoIRWd5x1Gcw+8OVkeBcT1qidG5MhfnNQuoptRaQ9CDi5CUnC42Ntmv7g3e7a3uxYWlwImrTLEckBlr3m9ZfW+lGJRgcdoOohK8rp6Sf0iA8SrrzbYlTztm2hsB0/7i9D+Qa1BvBnSRMYN91qJiid2qaALGQaGWmH6lG1y3kJPN1+T37iIO2K1fKrsHoA28lyivi8/3zUd/o5T+XutLPFJ9wr7MST0Ds8k3VTgZtJqYfHEywASXcFEgaNETH1a5UTkCBbnh83mFzgzVV8g8y5b7gPmC5UBe/MCxe1Gaq2at/7NqLFZWXpUqxlPOOsQD7T6zHNPz8D7JOSr/u+BSuyll5QzuffveEjGPxuwodT83Pi6Ox69sN1JAvNbLLXatql1Om8CsrMaKdfTXO3kgrGYYUeXX9qwmNBL4KiWwg+JWjeT8EnM1xOkG8VkDmXZVcmb96lZJ+dIRBdyPI6ElP4X39wXNXZJe8xookZ61F3ZlFp7HXC1l04XWUnrRx2KbH2fXLLy2g7DL1LzXzRBXqnxLdqpsRDAfCPhQHOyKKqU76qIoAlkptWQ79LgH9pptIMDqFrv/7LIP3Mw1QwO2Ay8pcE+KnqMVC2p2sUrol6sS09m0dUclbgYAU8m32oEq1EJy8FRVZZnxP1rktWDZ6AOyPkEui0E8N5DO8zmnyT+KEcgytsQhlqWBWno8FBd1Ryv/uKfIKTLz7qZx43lx1SqbF9b2hpjDH5x/JQE3YGIWwBr5RYIfDUzIiv3QjKJBaU3RYWdvbloBTLDGNHTV7Cgx4+0S5wFvTzU1hzyXQ41pZxqMiiiev0FWe9Pm2g2CSksWvS6/LwUcqT8btJLao3X0Qt4vTdDMlmSvK+ntw+DjjaKRxKF4+RSdBqcnys725a+XObxyi9qsfLak+SGGOpDP9GHF6sFXM0LKO6vgL/GOsElXlZHhYFpPlzzIzHjLsm9l9Dfydx1EgL+moatkEhrtjj5/a8c7Xl8Q8HmAiuOuPfUNt/FoA2R1ozoJAclOjdCP0xTe5kFOReJ1ByoPdeIigQRuY+LZNL4JbPBqLFumnsXexKfnun2SoZNcG9iOBw0ZhavXyegyZHnpgGpqxKI27dZ+K7nTEfCqtH/tCQgXWA+tIkyBY4hGEteN6YECrRsVqvvsuNCvaAIqo5DIy3kn29vSQi3KBlEYsXHOfRLE/w9UfvMLXgNNaKXMOD8JYECO5tnTQdfLDIBwH7osSQMIi/k925rpcowoEXGMZs//+8FJkZsHMmKR9w7ZdwSiiD4CjkP+D14HXD4Yc+q2C/q9H16FpZtZFEG6lP20Auz0Uuvh9zvOYyFvt4SpmU1XyVyXcZ8/PvCzuO0Lo95L9KR4P9+jeuqX787vGSHEg33RQGa2MuGCESfzgODWSMo6jRXdNYcueWu4J81cU7e84gaCwzeBu+pABnFrKxOhU1YwJ4jMqYq8/MCbLaeoU3fhfegoAcen4iLEiajuTFU0dERniaQRkkE2VQCRM79FtHR+tp6YF/xh3le1Jmvnp0xmKsJODpKLbTF39q/A8O7v7U6uNTypCVH3uIOL5sjE7fZnaARjo0wNBhxUnNb/TjxcTx34Swo6gMTcadOpJzUyqnmr4Fgs7UKRHuZWwCRCl6QDZJbGP8I+18Sbt+o6u3lo7DH+ulns3HRljoYJBrx3I4NoQuA6E/2O1NFSClATr8wu+SR5bRZiQYcSnWN64wkkJ4706Pr+eZlUfud8LsqkYjlyKALkw4nmKczSGJnPIMrb08d5POC0xirmN3Xokan7TkDT3TghAjEWoa8SW3opMYcNUtut1T3J1b8+UIqo8Uyc8jTjbN2V5s+ulTDVZvIMG8HMey1m+YJwOH+U0AH8grML4KY2rswNOyv3DXc336EmuM3BEG5XQuqjxnw9mAqrsEEd98dL/wSGILtyyJetKiSKnEJNDOnTnidjHvFUE8Juot2ofYOQgiT3salsMPTntBUNox2IlZpYGzMYxVAp6g5HbBP+lDmgGNCgNT0hKXpMBc9CSjn0cebmB52ZH9EudJpWoaeHYMXFrKYHVU1As1PQ+gG70dzWFS0AqDH5N1dtBZK8XGdFYBlkwZTG0AtPmVyc8Y9+/qR6p+Mq5pV31iOEzSNolbRG79SnjPUgvwKIdTNn0pLjU5xjduVHB9fO7QqguE+K06sbNstOEOWLUE+dp3fJ6LA6+DrVu4vbyNPazrp0xGpsx30t3rmsgT6Pvc/NwM7+24d8lHCyYqlhAchC1e2wuQ0rRdY/zyABp2HimGpDwGaBhMtJ9o7d99ORHz/y9St/Xrka9ZzAgXUXPBJbllb7lFYR+s7iI13I6zgwpyvCkxqTaJefhWSCHg4eLaSTWIF5d6wH8ubw9+DJ0FBwCxY+D5pgFVe9Rtv1l1xjDAvOFrUmFj1dJ3USaPZKsEeJEgtTxHc4PB0d+pi2FCIBbWPNIR6Ysatj50f+aoJPUwR7JToRprF1JLaTyHe9Rt8IERUmER8x7IW1j9Iecl4En2tdpG4EO5Ez+G6sgl1G1UbvIZB3hY3KCmkm6PhQ7Dzo1Z+05lJqUBePeXKKff6YZF791KTJjfxC73jAsdsutJIQDJrF4sj8WE82zRxy+yxtiMGEDYUajjVUM9QLrQpdV921IvEYnNzkf4rh41YkUjVuT8Ta+Wm1HZZ/jDMIvtdlmlZRyM+r3ay6ucGRZFTS1bs/IuZhWFBvvpRqFrSzVrnZBh0oyF7rgefHEUB2nqKfObUSlYilH3EXxPdzfuOzXejvid+F8WQVRqjRnqpzjVE2TQ/yUSj0A0+70zP96jepwZxRaqj2yLb3CYqpX6dP8+OgXexDMY+8gcJRSLpHiKZ8htYiJFotO+wrKUVtW+G3Qqt9PB/O4lV/Xg4w+z3buDppYitE5whgyfwWMalCgLNxbCHN+ayWO5laewckILulXjDFDzPlJeHCe8iJwjneLz44kz96Afuejm6aLqbHOXjqT7UJKUG51Sl6NbM/K23lX3GDvgv7///NrYeBFRjPQwIahk33DINg+00YXI/OdNqzRBcoeDZIxG0jJeOYlK1W51tBaYifFjPK7EauqDaSLYeXwc43hjfOrytOGJZY08UzRCCJO/5BI5bwMWVw5f+zUm0Kyl4XxnU0N7yYcUTjMDYstnm5RILibZP1qEiOB9TghS+x1Tk9EnLNRDhR4M0gDCMU+/OVp2yMdOnxPqJebsUH/sO5gNIE1AQzHyIG8zwcxDKbn5y2w1espmNrq1ckbWsTp+BBR86zaTX/GnjA4IOQqUU8kwXZQZHdhlWSuTAdKjYfcIFOAHPULWvqwIOIFVx8o5O8xmt1IGpwLY4g3fSaMtEg61QTbXlTXXn14RwPQbbAH92E8rsHvDJlO4NAEskzWeAkoDa2nhSynH3IKYS/1UlCG6gfTRcQLna8Qm4bE+gVIxM/ct5D3uSXsAZdPQ/akfIjYOaqdIamcXqLC9U+NCx6wLJejNfJl6v0phJxrZFqKV5l2w7VYekL4MTjA+ILdLcP6QUKSGLwxda9Hy4juRxX8axhv133ZNj0rza8un4fHAOp0uIvf8ZGe+3nySwE4c7VuTi6DUFBMIsXFi9lh80W2iIqVQgrMvC/+86Z73Vfbj+tt9IcJThM5oMJSrLuWDrhQchH0u0TXfSqN32STsXsXV++s1ukd8JjmpoODbr5JK4Mh6g3NREhUB/IohVT9SE8hH88KwiZ5EOTdQ64QNnM/Y7hlpdYnrAjBy/XZlKZ7LZVAJwBXmz5civjFIzf5ntSf1TAS5VFU0IA+jSNo5qKCcrsdc0ihaY9ppJEHSCB7l+dYHWibCVD6NEOJIxgmmh23zzPn+OrcGatEpKQgqiLW6fnSqJ1IrqtECLBfaafIZ3dPHPT9aiJi2YIh+KtHy1TARmWZVd6RBLczp3qDIVEd1XtS9vTDCXWBhqJeRKlWkzQwGKMT0D+H/h+L4lVrCpJ7usRrr7WLM6sX0fGWdhZl5zW5G7Gl2oK9GShFRT/KXzJvCqNRaElW+m273TnLHNJhMIyMo5nC96n6FcEqoiYkk/mdbQQsArnjwANV2aOYChOdBlEPqHStVfSqrY/1eeU8/hvt9/z7yFXPxtdPKQKKK8wE+JURFOG4hYW8E+4PXg3PdqLT+cixuLC+ndDFAAAeTHxUMbdalOGRf3AA3Z8mKPUBAazMEca+R8BoQ+8KTwo/7BsTlT7A1hIHgUa9col3+9z6Nd844uEEEWKDg9HoOfDtnCJzqcKK2RaNDFcqHuC0aJtvPg7ict9WaJwLzpRXBoAUA8W6wtg0J6TDvyEYwmO51I3eOiv6wml/7+FGH3n/eXNMtGxHrvJLTBPI15FtDRziLjlkpk5yr0tKKE4BU7yYsXeESwJgiMF8/R5o6aPlS39L40rQjyFwjWCfpR9MGHof64YxOWNdgi6jLwKSAMfsHfMNjTUAOOUHcxg1L3/mYzxFRsOpwki2nkShcxD8wC8JhaxigLJKFnVmVg6lrkqtu/Jf4O2E82q38UM8bSoI/RVsay0MB/AELVIzT/Qdfidxyj6xyNJ7e0RIhswEwEBVdpG+82xA3zayKGpZuS26vNOEJTi8PmK74MWW+YAVKT/NxjUNB5QlnBp3caIkOE4M5tcTa5LU0p6AGHGAh6UCl012kGHaX8+vBNOxoC0ClwY/SpK3ywTW+WLYffSLPSP6QZ4zB52WTO7+DcZtm5yJE4vJI+5bj3ErPnj0ArIHKFSjW+q2W+V2+mH/LvAxG6fQZ1/ToumjBiENZw9liham6uHvTSYz5nFDVsjQNuXIr2FfrKtMFWB3hZ1szbEI31DiJMShYNWnFfvJRsMjjnmISXkrqmoGCppCCwlGD+8gRXsI7y+CZwxKpVjYucE7eTdvjBg2OMb5vwYDb+jm+DknavgOMBDxiwHAAX5rPv2zXcHKHx252dT+fSj0SXq9iqzBnTiXoa/YhWMpLjreRkYORjoyxA52DmmowS/o9qjmoDeVu2Xd6Ww08PvGx/zRwe5EKNN26V0ZdXnJ/UIILPv219zCamerOnGOIFJrnXxnIRNJ5MoHojryM7b8pRsufsNJbcT8XadW9arXKSm3B5K9+uqEZJz31QZlgznuOuPtqfMNBfF9J+x5Ma3IaVTfM1tWIUano/wqljFHQpngu8bUtZr1k8PDhgndy10fqKAOfkQPGRtQftaKA1/Yh8Igxd03CucHUlFgBpXT8dIjPdTKa17Xa2pEfxerNamaGEsWNRmm0qTBPXeT89KYc5L1vlbbrGkGY6VrzvlrWaZw10koZh76oHEjYgkAMQgDed42CuqiGJXPEDV0bEyTcODx+Lu3vmrCGQDFiZfdtOEBzpgqYE2AZ2bkel8jF1tY/D+f5YhbedTrdlLuhqElxhS6XtQkKBzKZXXUFy7RY0NxI2EQTz+24+IIipRaKHqe4t+85vBnH+8ujd9e67U19hwnjopJynLgUbJDlhqMlt6eI/6iAgq1lSt8sspC+gAof21K8vln6GloKgb0NnlZMClRzdpjaCtecUeMGIYrCKKKuxTsTDGwT4hINAq6Ygzpvo7644OOGoKTTIB5hqln8sB0pE5o/JCOYMa7RBLb34j0iNC2SwATM0MmOKd71gssRqBIjlikg/GZ7ENFGsEOALcuRSaP3QfN47MkEhMnZvkumc3q1mHmb+bd6oLq31o14x1qkKnHIjtKeQGYxRVo1beX1Hx1rKXjMcnTru3kgf+KuEgCZiRgI5HqzpOGTEyKR6PfwWZi3LFWFj28Kc6Ll3S8hXpXdBWCwDergq4tf+qTeV0PgBI6MC9AnE05A6yNQVVkd4hQNfaDPZYgltHld3xic4WVEdT246f93L+l5EdKx0/BjO/ua0z9mg1joqGH+QkFxNjIy764ItaTo2xwYqNpE1FekUNsqqmKVZTSbqt4AoQwrH/7NRoPS4gpB85erm1D9OOcjAS6pkxeRu0p10Q/XxVS27iv2vJ/rJXtNRcDyXjgG5lP9wbiNctLToNsILgqKY3NcFHdcRrok6dvqwyWIQ7D3Mi5FD9kF7xIQ4udQdLeqm+1pKGsk4SzUL8YNCstKbYiBby4TJln3hi3RhsIfKFLUVAJ8kaVr9weVVPUXm8KJx+yVb5UNSNWjytnA2XjQw1l/x7hyyc9sjaD/4nFzQa0VA/Ba8py8kdco+Zm/w6SBa4CD4000EF5SD5Dal4zoh9WR/AyK3Ula6p543XNmBOfL3xycvYXgVGYQgCzvM0vtoKKJDRuwH0dAMEuyPrBoMqLMzUbSOFbgnSQSB4Jzdp2wwMB/wp5ofhQcX0Zd1L3tAyu2KxQ9rfjeRQIW4msbn0qds4TN4H+0u9TW/KNMc37nDOzGcaoFDqIcmEKvbtsnHqw9A1XUXr4DzZdbgSSGlT01PLVbboqV6E0lo75n8UJ+yNdm8i7VERx6ig5wS8emdSotAiEui7mqCw9D0Iyk/5+Q/p4uUH/7noaCD8TogyQDEzO7Im3dr+IymaVA1lqAX8EUazLKMO94Euc/0tSghT8e9A4ePgjXzyjoaBIosKWi7CclhP5p/Cjezt6yTDDYLR3nvxWUuvowgTk27kts5tgZ8czhtfgG0NSI3VGnkHFdY36O2leLhuSoTlpM/eBoD2xD1kVIKlwDiRpgEt1UaEYz77rdzjaUsKTFyD8nGKBQnhf23kREO7p+13r7eYn6Q8oY2x79DuxCi4YUoDEm7GR3VjDZmhXB48N0nuT1Bd/mQKJiu7wPfaH8/DtnuMIS62GKbECtPIL8wkBJUsZ3RXv2lxNic6CpjavQPdJNvqurQOAkVnGQpsgcFvHHvG+rVzlaTbtbHw1wYw5wCTRJyBN8xgGg35bOx9U6fyajFh/qWNsfdz44ndY6u9XivV2gQ3QK/wfbKpnLuszxR4t6/ATAwxdrgSdzTgjUa9lZhHaLkPlnbx8c88tRH5PcAw20UmyMJFrkQuJ3TXnlsxaW7hXuoJoMzz96xhwWMNypsp0usAbNtDkujHAJCo9cOAIo7F9IzNmiYY3qxQr1FtGofNTx6HQsGKCHzWvVx+4NbkKxAYJ943uVEcnHCvaj5irIMtHUrqCe/EycbDPLWIsI/C9H7GTAWyvHYGJbyggtXFLp80RKl639pjTL61KTTUGWzQtQRXsqY0nGePElbEBbvPuqQBAMMgJBkeTW8uvCxuy3mHRV9DhALR3LR10nQ8UAyS6reHUFC4vkk18AL+e+gCrwbezPke2fkXldxrX1VqHkrawG13l0w+D0GUrru2YbnnFvtRlzygEfCigPbKGpg/d+hmbu2l19OAiU3LzjcI0poCzbEWt6N0gIR/ybKGiqCJkiPVh1llCF0M0t+sDT8yAuVRxU6q0eJELamnE888BAkKYOSq8R7rpS0xdjZywt3qPUb1umwJryYhFpQuuyd98tS0SxwaQ+emI6vbY9FVmN5Duag+RqFx0omih4d8sbk+HLval8gOHUPh0BOaFpBZo6XmZTxQtbzOu4sqQOmy//pd4t7apBR8FxBftPNYLzBRx18m2juZBW3dYuWZvpxJr/cyq2zaAF9BbY0SeIJc7s/xl36shxKHtvOT8T1+p7fJGj1ubziQ+RHcv2bcnKzZlzxykwoak9HLQyWGuJWgUy80xifOxP/RixbIrYPZPjeKZmE75wWzDZiYKwpoN//Gh5oB90msvuWTd0Ew5p/ztm+SXNYJcFRcHH25LGosoupUf9FeubZqrzkP9xzzBY7pfiznD7erwbxHVt5A/YWJBIFTBXbNJjBMSQOG3LaZa74sjBN3jFLtPrmyjbjXeDEHaBz2gfx4bpqaDe7Y3+tsDNZqmK/8vwSeAGWaH3eoTBzU2uQc8S21Fx90ESLE8OIJ2Ix+FqmWxUVPaSWHwqokUBxiTSrZl6BEjNpugkquAmU+mktUTzpIz5knHiZ7mUdDNIZLWG59jThGb9BVyteZOQ9ArZ/2eyjSQ5oyt6WKo64YeUyTvlRLaEvXGUsC7eTE/TqQskUQp1Snlfv7iB8qnPz+nmztTnOE9MOZLdWjF51Ez4obYCeZqV9cvscIbdxjFPzclvT0t+/zdIL6s5ckLlffDZgf1lEmtlpvjFz+PASzAR7+SYJr8VKGfZodiIi5dIgH4XBARCkIXxBzMLn6kApKDT+ui4qngx06bGl4uI9XgWEHJqEolzoVqol5vd0tabFFb0Td/bhCPibhcm8mi181/HuRMtQ/oHupZR81OMiFXv+TLneCUqvto+zpH57pG8fnGG9KWlUrIi//KOZ30TWlxg3fzg4Dfl5eltrUmZfwQmieJ2MoLtm+8ZiL1md37DU2czLh/1IFjT/7EzC3NXDPKWSUmDuIecXmJZMJ89Y/WdGc3629qK5vcfAZRpFQFZTWf8s9IGlC8Kmg6d0lVG39GbSsEJzsDS/O4tkBUQhkaAMyo5c/vMQJb7din3IYPWcCzSBHadTlcXhF+bXpptDqZkRiGRWvKGPRcl11NF8XT08yyHJkaMzCfIBHW6dUIwLKfA+RvM+eGzr1t9YsNd6fOkayxDVHcR6iIXaOtuTJgWnpVLXaEwA+vLtx9XY4fv7R3noGCr92no8OPB1yxqjWExk04XVsgUtRf2qMMvjwwMfTDwJw9xTIm387YsA16i0X2G6W4vXefRCqHUIOIhXK1Fvd+QNRWerf65KTkQp8TTkDtAJtOkp0tRhYL8CK0Wz+R6ASafL1R5k5bAjDNkWOrHvU2OdefvdXc7puJ5PjAryQ/tEy6Xie57shbjS3YoVF/U0SRwBrajUTD8mdNFeiX0HtkdgQc28LWNb76N2agQyrf38Zapx6UZxi+RGt8OmsLHal2X9dYDHBaWQbu790eYd/g4b9QYK5Ov6CkWZzQTxsFHyqY3cs05xFo77r5fE5X1Pk1iv4YNlP7pKQYqe5PjLvi9W9oQ6+/BgJN13B2jghYaxn2SYcAt9pTAiURSG0m+VWLYoEbTYVFH14kcgkIj5zAqZnIHwjM/j7XXLS3RnTNd2ts6t6L8PCSx8vKkB1P/eQJL0mjY+nzjHMVrbtHPCrPeOAkADXGm17basGVCjjMFDVnBDRUjlJzWfQcfO9O0lbPoZcpI32SkPu8/LNm1x3ymiWxSvgVkn6bWJ1sh+xnLTlDUS+jDNEAjSnvF4jTRfaHVubJsDeaazgHs="/>
  <p:tag name="MEKKOXMLTAGS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3"/>
</p:tagLst>
</file>

<file path=ppt/theme/theme1.xml><?xml version="1.0" encoding="utf-8"?>
<a:theme xmlns:a="http://schemas.openxmlformats.org/drawingml/2006/main" name="Bain Core">
  <a:themeElements>
    <a:clrScheme name="Bain">
      <a:dk1>
        <a:srgbClr val="000000"/>
      </a:dk1>
      <a:lt1>
        <a:srgbClr val="FFFFFF"/>
      </a:lt1>
      <a:dk2>
        <a:srgbClr val="D6D6D6"/>
      </a:dk2>
      <a:lt2>
        <a:srgbClr val="5C5C5C"/>
      </a:lt2>
      <a:accent1>
        <a:srgbClr val="B4B4B4"/>
      </a:accent1>
      <a:accent2>
        <a:srgbClr val="D6D6D6"/>
      </a:accent2>
      <a:accent3>
        <a:srgbClr val="CC0000"/>
      </a:accent3>
      <a:accent4>
        <a:srgbClr val="46647B"/>
      </a:accent4>
      <a:accent5>
        <a:srgbClr val="507867"/>
      </a:accent5>
      <a:accent6>
        <a:srgbClr val="973B74"/>
      </a:accent6>
      <a:hlink>
        <a:srgbClr val="46647B"/>
      </a:hlink>
      <a:folHlink>
        <a:srgbClr val="7891AA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indent="0" algn="ctr">
          <a:buNone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 cap="flat">
          <a:solidFill>
            <a:schemeClr val="tx1"/>
          </a:solidFill>
          <a:miter lim="800000"/>
          <a:tailEnd type="none" w="med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36000" tIns="36000" rIns="36000" bIns="36000" rtlCol="0">
        <a:spAutoFit/>
      </a:bodyPr>
      <a:lstStyle>
        <a:defPPr marL="0" indent="0">
          <a:buNone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ain Core On Screen Show (16_9).potx" id="{56CF97D2-A744-43CA-AE15-0214FF29DAC4}" vid="{A64E784E-EE2A-4031-BBD4-3B52B2D870F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CE28C1D2031CE49B65EB9398B6665A4" ma:contentTypeVersion="16" ma:contentTypeDescription="Ein neues Dokument erstellen." ma:contentTypeScope="" ma:versionID="915be8ddf9203496dff81045837c2095">
  <xsd:schema xmlns:xsd="http://www.w3.org/2001/XMLSchema" xmlns:xs="http://www.w3.org/2001/XMLSchema" xmlns:p="http://schemas.microsoft.com/office/2006/metadata/properties" xmlns:ns2="024ef72b-9a44-443b-86c7-2b9b89248177" xmlns:ns3="df6b8441-aa16-4692-b757-547843ef6d58" xmlns:ns4="0e427f73-0d6a-4740-aee4-eea3ddf9cfe2" targetNamespace="http://schemas.microsoft.com/office/2006/metadata/properties" ma:root="true" ma:fieldsID="93e82e7d94d6100c07791c5c9fddab0b" ns2:_="" ns3:_="" ns4:_="">
    <xsd:import namespace="024ef72b-9a44-443b-86c7-2b9b89248177"/>
    <xsd:import namespace="df6b8441-aa16-4692-b757-547843ef6d58"/>
    <xsd:import namespace="0e427f73-0d6a-4740-aee4-eea3ddf9cfe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Location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4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24ef72b-9a44-443b-86c7-2b9b8924817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Location" ma:index="12" nillable="true" ma:displayName="Location" ma:internalName="MediaServiceLocation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Bildmarkierungen" ma:readOnly="false" ma:fieldId="{5cf76f15-5ced-4ddc-b409-7134ff3c332f}" ma:taxonomyMulti="true" ma:sspId="4b166abb-7d38-406f-9233-2f33b10aef2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f6b8441-aa16-4692-b757-547843ef6d58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e427f73-0d6a-4740-aee4-eea3ddf9cfe2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a85ec8ad-9b94-48bf-98e4-b3da507f3f23}" ma:internalName="TaxCatchAll" ma:showField="CatchAllData" ma:web="df6b8441-aa16-4692-b757-547843ef6d5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D835C2C-3CD2-40BE-BE8B-84BB9926EAC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38E3FDD-F0A4-4844-9D40-FD90550EE82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24ef72b-9a44-443b-86c7-2b9b89248177"/>
    <ds:schemaRef ds:uri="df6b8441-aa16-4692-b757-547843ef6d58"/>
    <ds:schemaRef ds:uri="0e427f73-0d6a-4740-aee4-eea3ddf9cfe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</TotalTime>
  <Words>2157</Words>
  <Application>Microsoft Office PowerPoint</Application>
  <PresentationFormat>Widescreen</PresentationFormat>
  <Paragraphs>362</Paragraphs>
  <Slides>7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2" baseType="lpstr">
      <vt:lpstr>Aptos</vt:lpstr>
      <vt:lpstr>Arial</vt:lpstr>
      <vt:lpstr>Calibri</vt:lpstr>
      <vt:lpstr>Bain Core</vt:lpstr>
      <vt:lpstr>think-cell Slide</vt:lpstr>
      <vt:lpstr>Market sizing: US data backup and recovery software’s TAM estimated at ~$5.7B; currently served market is ~$4.3B, implying ~75% penetration of TAM</vt:lpstr>
      <vt:lpstr>Potential disruptors in the IIoT software space</vt:lpstr>
      <vt:lpstr>Target performs well across functional requirements given its highly accurate invoice processing and approvals</vt:lpstr>
      <vt:lpstr>While Target performs above benchmark on Revenue and ACV, there is scope for improvement across multiple cost metrics </vt:lpstr>
      <vt:lpstr>Competitor 5 leads the peer-set of Business &amp; IT consulting with average employee satisfaction (~4.6) across L5Y; Competitor 4 is a close second</vt:lpstr>
      <vt:lpstr>Significant proportion of patents filed in the last five years supporting increasing innovation in the SIEM market</vt:lpstr>
      <vt:lpstr>Target outperforms its peer set as 95% of its users are quite satisfied with the app and cite ease of use and convenience as key drivers (1/2)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Abhishek Kumar</dc:creator>
  <cp:lastModifiedBy>Singh, Ujjwal</cp:lastModifiedBy>
  <cp:revision>2</cp:revision>
  <cp:lastPrinted>2017-02-15T14:23:56Z</cp:lastPrinted>
  <dcterms:created xsi:type="dcterms:W3CDTF">2025-06-02T15:04:25Z</dcterms:created>
  <dcterms:modified xsi:type="dcterms:W3CDTF">2025-06-13T06:55:55Z</dcterms:modified>
</cp:coreProperties>
</file>